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tags/tag159.xml" ContentType="application/vnd.openxmlformats-officedocument.presentationml.tags+xml"/>
  <Override PartName="/ppt/notesSlides/notesSlide2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3.xml" ContentType="application/vnd.openxmlformats-officedocument.presentationml.notesSlide+xml"/>
  <Override PartName="/ppt/tags/tag19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7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10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3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8.xml" ContentType="application/vnd.openxmlformats-officedocument.presentationml.notesSlide+xml"/>
  <Override PartName="/ppt/tags/tag231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omments/comment1.xml" ContentType="application/vnd.openxmlformats-officedocument.presentationml.comment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715" r:id="rId5"/>
  </p:sldMasterIdLst>
  <p:notesMasterIdLst>
    <p:notesMasterId r:id="rId38"/>
  </p:notesMasterIdLst>
  <p:handoutMasterIdLst>
    <p:handoutMasterId r:id="rId39"/>
  </p:handoutMasterIdLst>
  <p:sldIdLst>
    <p:sldId id="256" r:id="rId6"/>
    <p:sldId id="399" r:id="rId7"/>
    <p:sldId id="450" r:id="rId8"/>
    <p:sldId id="447" r:id="rId9"/>
    <p:sldId id="262" r:id="rId10"/>
    <p:sldId id="273" r:id="rId11"/>
    <p:sldId id="418" r:id="rId12"/>
    <p:sldId id="448" r:id="rId13"/>
    <p:sldId id="451" r:id="rId14"/>
    <p:sldId id="421" r:id="rId15"/>
    <p:sldId id="420" r:id="rId16"/>
    <p:sldId id="259" r:id="rId17"/>
    <p:sldId id="419" r:id="rId18"/>
    <p:sldId id="453" r:id="rId19"/>
    <p:sldId id="455" r:id="rId20"/>
    <p:sldId id="438" r:id="rId21"/>
    <p:sldId id="430" r:id="rId22"/>
    <p:sldId id="432" r:id="rId23"/>
    <p:sldId id="449" r:id="rId24"/>
    <p:sldId id="437" r:id="rId25"/>
    <p:sldId id="283" r:id="rId26"/>
    <p:sldId id="285" r:id="rId27"/>
    <p:sldId id="452" r:id="rId28"/>
    <p:sldId id="436" r:id="rId29"/>
    <p:sldId id="417" r:id="rId30"/>
    <p:sldId id="258" r:id="rId31"/>
    <p:sldId id="405" r:id="rId32"/>
    <p:sldId id="310" r:id="rId33"/>
    <p:sldId id="406" r:id="rId34"/>
    <p:sldId id="331" r:id="rId35"/>
    <p:sldId id="441" r:id="rId36"/>
    <p:sldId id="454" r:id="rId37"/>
  </p:sldIdLst>
  <p:sldSz cx="12192000" cy="6858000"/>
  <p:notesSz cx="7099300" cy="10234613"/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9EB0B73-6D02-408C-85B2-44DAD472AC0C}">
          <p14:sldIdLst>
            <p14:sldId id="256"/>
            <p14:sldId id="399"/>
            <p14:sldId id="450"/>
          </p14:sldIdLst>
        </p14:section>
        <p14:section name="Presentation of the company, division and department" id="{8A76A2BD-BCC5-4E3D-840E-CA7C5624A451}">
          <p14:sldIdLst>
            <p14:sldId id="447"/>
            <p14:sldId id="262"/>
            <p14:sldId id="273"/>
            <p14:sldId id="418"/>
          </p14:sldIdLst>
        </p14:section>
        <p14:section name="Main Projects, Objectives and Achievements" id="{408BB78D-E8F6-4474-A1F9-650AEC9F6928}">
          <p14:sldIdLst>
            <p14:sldId id="448"/>
            <p14:sldId id="451"/>
            <p14:sldId id="421"/>
            <p14:sldId id="420"/>
            <p14:sldId id="259"/>
            <p14:sldId id="419"/>
            <p14:sldId id="453"/>
            <p14:sldId id="455"/>
            <p14:sldId id="438"/>
            <p14:sldId id="430"/>
            <p14:sldId id="432"/>
          </p14:sldIdLst>
        </p14:section>
        <p14:section name="Conclusion and internship added-value" id="{0075D6B0-E34B-42B0-BFE0-0F3D441AB791}">
          <p14:sldIdLst>
            <p14:sldId id="449"/>
            <p14:sldId id="437"/>
            <p14:sldId id="283"/>
            <p14:sldId id="285"/>
            <p14:sldId id="452"/>
            <p14:sldId id="436"/>
            <p14:sldId id="417"/>
            <p14:sldId id="258"/>
            <p14:sldId id="405"/>
            <p14:sldId id="310"/>
            <p14:sldId id="406"/>
            <p14:sldId id="331"/>
            <p14:sldId id="441"/>
            <p14:sldId id="45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32" autoAdjust="0"/>
    <p:restoredTop sz="84526" autoAdjust="0"/>
  </p:normalViewPr>
  <p:slideViewPr>
    <p:cSldViewPr snapToObjects="1" showGuides="1">
      <p:cViewPr>
        <p:scale>
          <a:sx n="49" d="100"/>
          <a:sy n="49" d="100"/>
        </p:scale>
        <p:origin x="1220" y="1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CE0-401E-A741-4B75D46613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CE0-401E-A741-4B75D46613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CE0-401E-A741-4B75D46613D4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4CE0-401E-A741-4B75D46613D4}"/>
              </c:ext>
            </c:extLst>
          </c:dPt>
          <c:dPt>
            <c:idx val="4"/>
            <c:bubble3D val="0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4CE0-401E-A741-4B75D46613D4}"/>
              </c:ext>
            </c:extLst>
          </c:dPt>
          <c:cat>
            <c:strRef>
              <c:f>Sheet1!$A$2:$A$6</c:f>
              <c:strCache>
                <c:ptCount val="5"/>
                <c:pt idx="0">
                  <c:v>ATV</c:v>
                </c:pt>
                <c:pt idx="1">
                  <c:v>IPC</c:v>
                </c:pt>
                <c:pt idx="2">
                  <c:v>PSS</c:v>
                </c:pt>
                <c:pt idx="3">
                  <c:v>DSS</c:v>
                </c:pt>
                <c:pt idx="4">
                  <c:v>OOS+C&amp;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508</c:v>
                </c:pt>
                <c:pt idx="1">
                  <c:v>1411</c:v>
                </c:pt>
                <c:pt idx="2">
                  <c:v>2636</c:v>
                </c:pt>
                <c:pt idx="3">
                  <c:v>1354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CE0-401E-A741-4B75D4661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001988258189563E-2"/>
          <c:y val="9.2552165823767185E-2"/>
          <c:w val="0.93220782081154152"/>
          <c:h val="0.695567797748351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gmentergebnis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022-4224-AA63-3A2E561C1F70}"/>
              </c:ext>
            </c:extLst>
          </c:dPt>
          <c:dLbls>
            <c:dLbl>
              <c:idx val="0"/>
              <c:layout>
                <c:manualLayout>
                  <c:x val="0"/>
                  <c:y val="7.8414330448503145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8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22-4224-AA63-3A2E561C1F70}"/>
                </c:ext>
              </c:extLst>
            </c:dLbl>
            <c:dLbl>
              <c:idx val="1"/>
              <c:layout>
                <c:manualLayout>
                  <c:x val="6.8861299786855297E-3"/>
                  <c:y val="-1.5644031856399562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,20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022-4224-AA63-3A2E561C1F70}"/>
                </c:ext>
              </c:extLst>
            </c:dLbl>
            <c:dLbl>
              <c:idx val="2"/>
              <c:layout>
                <c:manualLayout>
                  <c:x val="0"/>
                  <c:y val="-7.8242151449697695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,35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022-4224-AA63-3A2E561C1F7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,31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022-4224-AA63-3A2E561C1F7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,17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022-4224-AA63-3A2E561C1F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7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  <c:pt idx="3">
                  <c:v>FY 19</c:v>
                </c:pt>
                <c:pt idx="4">
                  <c:v>FY 20</c:v>
                </c:pt>
              </c:strCache>
            </c:strRef>
          </c:cat>
          <c:val>
            <c:numRef>
              <c:f>Tabelle1!$B$2:$B$6</c:f>
              <c:numCache>
                <c:formatCode>#,##0</c:formatCode>
                <c:ptCount val="5"/>
                <c:pt idx="0" formatCode="General">
                  <c:v>982</c:v>
                </c:pt>
                <c:pt idx="1">
                  <c:v>1208</c:v>
                </c:pt>
                <c:pt idx="2">
                  <c:v>1353</c:v>
                </c:pt>
                <c:pt idx="3">
                  <c:v>1319</c:v>
                </c:pt>
                <c:pt idx="4">
                  <c:v>1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022-4224-AA63-3A2E561C1F7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msatz-Anteil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022-4224-AA63-3A2E561C1F70}"/>
              </c:ext>
            </c:extLst>
          </c:dPt>
          <c:cat>
            <c:strRef>
              <c:f>Tabelle1!$A$2:$A$6</c:f>
              <c:strCache>
                <c:ptCount val="5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  <c:pt idx="3">
                  <c:v>FY 19</c:v>
                </c:pt>
                <c:pt idx="4">
                  <c:v>FY 20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898</c:v>
                </c:pt>
                <c:pt idx="1">
                  <c:v>6081</c:v>
                </c:pt>
                <c:pt idx="2">
                  <c:v>6391</c:v>
                </c:pt>
                <c:pt idx="3">
                  <c:v>6676</c:v>
                </c:pt>
                <c:pt idx="4">
                  <c:v>7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022-4224-AA63-3A2E561C1F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100"/>
        <c:axId val="316708352"/>
        <c:axId val="316710272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Mar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strRef>
              <c:f>Tabelle1!$A$2:$A$6</c:f>
              <c:strCache>
                <c:ptCount val="5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  <c:pt idx="3">
                  <c:v>FY 19</c:v>
                </c:pt>
                <c:pt idx="4">
                  <c:v>FY 20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15.2</c:v>
                </c:pt>
                <c:pt idx="1">
                  <c:v>17.100000000000001</c:v>
                </c:pt>
                <c:pt idx="2">
                  <c:v>17.8</c:v>
                </c:pt>
                <c:pt idx="3">
                  <c:v>16.399999999999999</c:v>
                </c:pt>
                <c:pt idx="4">
                  <c:v>13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022-4224-AA63-3A2E561C1F7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Umsatz</c:v>
                </c:pt>
              </c:strCache>
            </c:strRef>
          </c:tx>
          <c:cat>
            <c:strRef>
              <c:f>Tabelle1!$A$2:$A$6</c:f>
              <c:strCache>
                <c:ptCount val="5"/>
                <c:pt idx="0">
                  <c:v>FY 16</c:v>
                </c:pt>
                <c:pt idx="1">
                  <c:v>FY 17</c:v>
                </c:pt>
                <c:pt idx="2">
                  <c:v>FY 18</c:v>
                </c:pt>
                <c:pt idx="3">
                  <c:v>FY 19</c:v>
                </c:pt>
                <c:pt idx="4">
                  <c:v>FY 20</c:v>
                </c:pt>
              </c:strCache>
            </c:strRef>
          </c:cat>
          <c:val>
            <c:numRef>
              <c:f>Tabelle1!$E$2:$E$6</c:f>
              <c:numCache>
                <c:formatCode>General</c:formatCode>
                <c:ptCount val="5"/>
                <c:pt idx="0">
                  <c:v>6473</c:v>
                </c:pt>
                <c:pt idx="1">
                  <c:v>7063</c:v>
                </c:pt>
                <c:pt idx="2">
                  <c:v>7599</c:v>
                </c:pt>
                <c:pt idx="3">
                  <c:v>8029</c:v>
                </c:pt>
                <c:pt idx="4">
                  <c:v>8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022-4224-AA63-3A2E561C1F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6725888"/>
        <c:axId val="316724352"/>
      </c:lineChart>
      <c:catAx>
        <c:axId val="31670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rgbClr val="928285"/>
            </a:solidFill>
            <a:prstDash val="solid"/>
          </a:ln>
        </c:spPr>
        <c:txPr>
          <a:bodyPr/>
          <a:lstStyle/>
          <a:p>
            <a:pPr>
              <a:defRPr sz="1470" baseline="0"/>
            </a:pPr>
            <a:endParaRPr lang="de-DE"/>
          </a:p>
        </c:txPr>
        <c:crossAx val="316710272"/>
        <c:crosses val="autoZero"/>
        <c:auto val="1"/>
        <c:lblAlgn val="ctr"/>
        <c:lblOffset val="100"/>
        <c:noMultiLvlLbl val="0"/>
      </c:catAx>
      <c:valAx>
        <c:axId val="316710272"/>
        <c:scaling>
          <c:orientation val="minMax"/>
          <c:max val="82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16708352"/>
        <c:crosses val="autoZero"/>
        <c:crossBetween val="between"/>
        <c:majorUnit val="2000"/>
        <c:minorUnit val="500"/>
      </c:valAx>
      <c:valAx>
        <c:axId val="316724352"/>
        <c:scaling>
          <c:orientation val="minMax"/>
          <c:max val="30"/>
        </c:scaling>
        <c:delete val="0"/>
        <c:axPos val="r"/>
        <c:numFmt formatCode="General" sourceLinked="1"/>
        <c:majorTickMark val="out"/>
        <c:minorTickMark val="none"/>
        <c:tickLblPos val="none"/>
        <c:spPr>
          <a:ln>
            <a:noFill/>
          </a:ln>
        </c:spPr>
        <c:crossAx val="316725888"/>
        <c:crosses val="max"/>
        <c:crossBetween val="between"/>
      </c:valAx>
      <c:catAx>
        <c:axId val="3167258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672435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AL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cat>
            <c:strRef>
              <c:f>Tabelle1!$A$2:$A$6</c:f>
              <c:strCache>
                <c:ptCount val="5"/>
                <c:pt idx="0">
                  <c:v>Mars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75</c:v>
                </c:pt>
                <c:pt idx="4">
                  <c:v>9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0-BE7B-4576-95DA-A113DCF38D1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SS Task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cat>
            <c:strRef>
              <c:f>Tabelle1!$A$2:$A$6</c:f>
              <c:strCache>
                <c:ptCount val="5"/>
                <c:pt idx="0">
                  <c:v>Mars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30</c:v>
                </c:pt>
                <c:pt idx="1">
                  <c:v>25</c:v>
                </c:pt>
                <c:pt idx="2">
                  <c:v>2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1-BE7B-4576-95DA-A113DCF38D1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2 Emission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cat>
            <c:strRef>
              <c:f>Tabelle1!$A$2:$A$6</c:f>
              <c:strCache>
                <c:ptCount val="5"/>
                <c:pt idx="0">
                  <c:v>Mars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2-BE7B-4576-95DA-A113DCF38D1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Tableau &amp; RoboScript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cat>
            <c:strRef>
              <c:f>Tabelle1!$A$2:$A$6</c:f>
              <c:strCache>
                <c:ptCount val="5"/>
                <c:pt idx="0">
                  <c:v>Mars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Tabelle1!$E$2:$E$6</c:f>
              <c:numCache>
                <c:formatCode>General</c:formatCode>
                <c:ptCount val="5"/>
                <c:pt idx="0">
                  <c:v>10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3-BE7B-4576-95DA-A113DCF38D1F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Machine Learning classe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cat>
            <c:strRef>
              <c:f>Tabelle1!$A$2:$A$6</c:f>
              <c:strCache>
                <c:ptCount val="5"/>
                <c:pt idx="0">
                  <c:v>Mars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</c:strCache>
            </c:strRef>
          </c:cat>
          <c:val>
            <c:numRef>
              <c:f>Tabelle1!$F$2:$F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1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4-BE7B-4576-95DA-A113DCF38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2451135"/>
        <c:axId val="325513455"/>
      </c:areaChart>
      <c:catAx>
        <c:axId val="3224511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928285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5513455"/>
        <c:crosses val="autoZero"/>
        <c:auto val="1"/>
        <c:lblAlgn val="ctr"/>
        <c:lblOffset val="100"/>
        <c:noMultiLvlLbl val="0"/>
      </c:catAx>
      <c:valAx>
        <c:axId val="325513455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rgbClr val="928285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245113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aseline="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001988258189563E-2"/>
          <c:y val="0.31394938262370031"/>
          <c:w val="0.93220782081154152"/>
          <c:h val="0.474170545210658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gmentergebnis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12C-4DE3-AF0B-5619C75FFB2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Q2 FY20</c:v>
                </c:pt>
                <c:pt idx="1">
                  <c:v>Q3 FY20</c:v>
                </c:pt>
                <c:pt idx="2">
                  <c:v>Q4 FY20</c:v>
                </c:pt>
                <c:pt idx="3">
                  <c:v>Q1 FY21</c:v>
                </c:pt>
                <c:pt idx="4">
                  <c:v>Q2 FY21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38</c:v>
                </c:pt>
                <c:pt idx="1">
                  <c:v>143</c:v>
                </c:pt>
                <c:pt idx="2">
                  <c:v>209</c:v>
                </c:pt>
                <c:pt idx="3">
                  <c:v>197</c:v>
                </c:pt>
                <c:pt idx="4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C-4DE3-AF0B-5619C75FFB2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msatz-SE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12C-4DE3-AF0B-5619C75FFB2F}"/>
              </c:ext>
            </c:extLst>
          </c:dPt>
          <c:cat>
            <c:strRef>
              <c:f>Tabelle1!$A$2:$A$6</c:f>
              <c:strCache>
                <c:ptCount val="5"/>
                <c:pt idx="0">
                  <c:v>Q2 FY20</c:v>
                </c:pt>
                <c:pt idx="1">
                  <c:v>Q3 FY20</c:v>
                </c:pt>
                <c:pt idx="2">
                  <c:v>Q4 FY20</c:v>
                </c:pt>
                <c:pt idx="3">
                  <c:v>Q1 FY21</c:v>
                </c:pt>
                <c:pt idx="4">
                  <c:v>Q2 FY21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79</c:v>
                </c:pt>
                <c:pt idx="1">
                  <c:v>538</c:v>
                </c:pt>
                <c:pt idx="2">
                  <c:v>550</c:v>
                </c:pt>
                <c:pt idx="3">
                  <c:v>582</c:v>
                </c:pt>
                <c:pt idx="4">
                  <c:v>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2C-4DE3-AF0B-5619C75FF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100"/>
        <c:axId val="893357056"/>
        <c:axId val="89299641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Marg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strRef>
              <c:f>Tabelle1!$A$2:$A$6</c:f>
              <c:strCache>
                <c:ptCount val="5"/>
                <c:pt idx="0">
                  <c:v>Q2 FY20</c:v>
                </c:pt>
                <c:pt idx="1">
                  <c:v>Q3 FY20</c:v>
                </c:pt>
                <c:pt idx="2">
                  <c:v>Q4 FY20</c:v>
                </c:pt>
                <c:pt idx="3">
                  <c:v>Q1 FY21</c:v>
                </c:pt>
                <c:pt idx="4">
                  <c:v>Q2 FY21</c:v>
                </c:pt>
              </c:strCache>
            </c:strRef>
          </c:cat>
          <c:val>
            <c:numRef>
              <c:f>Tabelle1!$D$2:$D$6</c:f>
              <c:numCache>
                <c:formatCode>0.0</c:formatCode>
                <c:ptCount val="5"/>
                <c:pt idx="0">
                  <c:v>22.4</c:v>
                </c:pt>
                <c:pt idx="1">
                  <c:v>21</c:v>
                </c:pt>
                <c:pt idx="2">
                  <c:v>27.5</c:v>
                </c:pt>
                <c:pt idx="3">
                  <c:v>25.3</c:v>
                </c:pt>
                <c:pt idx="4">
                  <c:v>2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2C-4DE3-AF0B-5619C75FF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4160896"/>
        <c:axId val="887095872"/>
      </c:lineChart>
      <c:catAx>
        <c:axId val="89335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rgbClr val="928285"/>
            </a:solidFill>
            <a:prstDash val="solid"/>
          </a:ln>
        </c:spPr>
        <c:txPr>
          <a:bodyPr/>
          <a:lstStyle/>
          <a:p>
            <a:pPr>
              <a:defRPr sz="1200" baseline="0"/>
            </a:pPr>
            <a:endParaRPr lang="de-DE"/>
          </a:p>
        </c:txPr>
        <c:crossAx val="892996416"/>
        <c:crosses val="autoZero"/>
        <c:auto val="1"/>
        <c:lblAlgn val="ctr"/>
        <c:lblOffset val="100"/>
        <c:noMultiLvlLbl val="0"/>
      </c:catAx>
      <c:valAx>
        <c:axId val="892996416"/>
        <c:scaling>
          <c:orientation val="minMax"/>
          <c:max val="7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893357056"/>
        <c:crosses val="autoZero"/>
        <c:crossBetween val="between"/>
        <c:majorUnit val="2000"/>
        <c:minorUnit val="500"/>
      </c:valAx>
      <c:valAx>
        <c:axId val="887095872"/>
        <c:scaling>
          <c:orientation val="minMax"/>
          <c:max val="30"/>
        </c:scaling>
        <c:delete val="0"/>
        <c:axPos val="r"/>
        <c:numFmt formatCode="0.0" sourceLinked="1"/>
        <c:majorTickMark val="out"/>
        <c:minorTickMark val="none"/>
        <c:tickLblPos val="none"/>
        <c:spPr>
          <a:ln>
            <a:noFill/>
          </a:ln>
        </c:spPr>
        <c:crossAx val="894160896"/>
        <c:crosses val="max"/>
        <c:crossBetween val="between"/>
      </c:valAx>
      <c:catAx>
        <c:axId val="89416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8709587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589848261186952"/>
          <c:y val="0.12528394976282933"/>
          <c:w val="0.48293787950518274"/>
          <c:h val="0.6761839788478539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EA29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0BA-4CDF-B0CB-CB2258B67483}"/>
              </c:ext>
            </c:extLst>
          </c:dPt>
          <c:dPt>
            <c:idx val="1"/>
            <c:bubble3D val="0"/>
            <c:spPr>
              <a:solidFill>
                <a:srgbClr val="AEC06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0BA-4CDF-B0CB-CB2258B67483}"/>
              </c:ext>
            </c:extLst>
          </c:dPt>
          <c:dPt>
            <c:idx val="2"/>
            <c:bubble3D val="0"/>
            <c:spPr>
              <a:solidFill>
                <a:srgbClr val="AB377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0BA-4CDF-B0CB-CB2258B67483}"/>
              </c:ext>
            </c:extLst>
          </c:dPt>
          <c:dPt>
            <c:idx val="3"/>
            <c:bubble3D val="0"/>
            <c:spPr>
              <a:solidFill>
                <a:srgbClr val="E300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0BA-4CDF-B0CB-CB2258B67483}"/>
              </c:ext>
            </c:extLst>
          </c:dPt>
          <c:dPt>
            <c:idx val="4"/>
            <c:bubble3D val="0"/>
            <c:spPr>
              <a:solidFill>
                <a:srgbClr val="E3631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0BA-4CDF-B0CB-CB2258B67483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0BA-4CDF-B0CB-CB2258B67483}"/>
              </c:ext>
            </c:extLst>
          </c:dPt>
          <c:dPt>
            <c:idx val="6"/>
            <c:bubble3D val="0"/>
            <c:spPr>
              <a:solidFill>
                <a:srgbClr val="92828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0BA-4CDF-B0CB-CB2258B67483}"/>
              </c:ext>
            </c:extLst>
          </c:dPt>
          <c:dLbls>
            <c:dLbl>
              <c:idx val="0"/>
              <c:layout>
                <c:manualLayout>
                  <c:x val="0.1587161032745466"/>
                  <c:y val="-4.878703911977015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EEC5D9A-1CF4-4CAE-A011-C0B7D12CD7FF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64799072813504"/>
                      <c:h val="0.1418620018571571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0BA-4CDF-B0CB-CB2258B67483}"/>
                </c:ext>
              </c:extLst>
            </c:dLbl>
            <c:dLbl>
              <c:idx val="1"/>
              <c:layout>
                <c:manualLayout>
                  <c:x val="0.12628061161590023"/>
                  <c:y val="5.82989957015134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9FF904C-F10B-4A46-92AA-399727B04CE8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0BA-4CDF-B0CB-CB2258B67483}"/>
                </c:ext>
              </c:extLst>
            </c:dLbl>
            <c:dLbl>
              <c:idx val="2"/>
              <c:layout>
                <c:manualLayout>
                  <c:x val="-9.8008955858896519E-4"/>
                  <c:y val="0.1087129011446975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 dirty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Charger &amp; adapter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 dirty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34407145856216"/>
                      <c:h val="6.40121844007043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0BA-4CDF-B0CB-CB2258B67483}"/>
                </c:ext>
              </c:extLst>
            </c:dLbl>
            <c:dLbl>
              <c:idx val="3"/>
              <c:layout>
                <c:manualLayout>
                  <c:x val="-0.19732989590925154"/>
                  <c:y val="8.33759721442913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EB78E02-74C1-4982-86BA-DEA2C627D5C7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158960463640325"/>
                      <c:h val="8.302827014961897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0BA-4CDF-B0CB-CB2258B67483}"/>
                </c:ext>
              </c:extLst>
            </c:dLbl>
            <c:dLbl>
              <c:idx val="4"/>
              <c:layout>
                <c:manualLayout>
                  <c:x val="-0.17489846760599517"/>
                  <c:y val="5.782378924315492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B930A36-1EED-40CE-851C-F64797967CD7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486019674172448"/>
                      <c:h val="0.1413832936607005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0BA-4CDF-B0CB-CB2258B67483}"/>
                </c:ext>
              </c:extLst>
            </c:dLbl>
            <c:dLbl>
              <c:idx val="5"/>
              <c:layout>
                <c:manualLayout>
                  <c:x val="-0.18916817142240094"/>
                  <c:y val="-3.8390172722201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024749D-EF70-4B30-90AE-A9D91C3F85C7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348601761454265"/>
                      <c:h val="5.713600668378810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0BA-4CDF-B0CB-CB2258B67483}"/>
                </c:ext>
              </c:extLst>
            </c:dLbl>
            <c:dLbl>
              <c:idx val="6"/>
              <c:layout>
                <c:manualLayout>
                  <c:x val="-0.11271853775698663"/>
                  <c:y val="-6.032959182916793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 smtClean="0">
                        <a:solidFill>
                          <a:srgbClr val="644F5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7B92727-2803-4C30-8800-1A4ADED06C56}" type="CATEGORYNAME">
                      <a:rPr lang="en-US"/>
                      <a:pPr>
                        <a:defRPr sz="1000" smtClean="0">
                          <a:solidFill>
                            <a:srgbClr val="644F54"/>
                          </a:solidFill>
                        </a:defRPr>
                      </a:pPr>
                      <a:t>[CATEGORY NAME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 smtClean="0">
                      <a:solidFill>
                        <a:srgbClr val="644F5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90BA-4CDF-B0CB-CB2258B67483}"/>
                </c:ext>
              </c:extLst>
            </c:dLbl>
            <c:dLbl>
              <c:idx val="7"/>
              <c:layout>
                <c:manualLayout>
                  <c:x val="7.3803645833333334E-2"/>
                  <c:y val="-6.48828297919433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0BA-4CDF-B0CB-CB2258B674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Product split'!$A$7:$A$13</c:f>
              <c:strCache>
                <c:ptCount val="7"/>
                <c:pt idx="0">
                  <c:v>Smartphone &amp; tablet</c:v>
                </c:pt>
                <c:pt idx="1">
                  <c:v>PC, monitor, printer</c:v>
                </c:pt>
                <c:pt idx="2">
                  <c:v>Power</c:v>
                </c:pt>
                <c:pt idx="3">
                  <c:v>Cables &amp; dongles</c:v>
                </c:pt>
                <c:pt idx="4">
                  <c:v>Network &amp; storage</c:v>
                </c:pt>
                <c:pt idx="5">
                  <c:v>Automotive</c:v>
                </c:pt>
                <c:pt idx="6">
                  <c:v>Others</c:v>
                </c:pt>
              </c:strCache>
            </c:strRef>
          </c:cat>
          <c:val>
            <c:numRef>
              <c:f>'Product split'!$B$7:$B$13</c:f>
              <c:numCache>
                <c:formatCode>0%</c:formatCode>
                <c:ptCount val="7"/>
                <c:pt idx="0">
                  <c:v>0.21508255243195001</c:v>
                </c:pt>
                <c:pt idx="1">
                  <c:v>0.20392681838464968</c:v>
                </c:pt>
                <c:pt idx="2">
                  <c:v>0.17626059794734492</c:v>
                </c:pt>
                <c:pt idx="3">
                  <c:v>0.10664881749219098</c:v>
                </c:pt>
                <c:pt idx="4">
                  <c:v>2.0526550647032571E-2</c:v>
                </c:pt>
                <c:pt idx="5">
                  <c:v>1.4E-2</c:v>
                </c:pt>
                <c:pt idx="6">
                  <c:v>0.2717536813922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0BA-4CDF-B0CB-CB2258B67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05T13:18:23.607" idx="1">
    <p:pos x="5829" y="723"/>
    <p:text>Same changes as in RFS presentation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3C6C1C-D95E-4ED0-BADD-6F436386C380}" type="doc">
      <dgm:prSet loTypeId="urn:microsoft.com/office/officeart/2005/8/layout/lProcess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A4ACDE66-ED2B-4848-AE35-2E6606B28CED}">
      <dgm:prSet phldrT="[Text]"/>
      <dgm:spPr/>
      <dgm:t>
        <a:bodyPr/>
        <a:lstStyle/>
        <a:p>
          <a:r>
            <a:rPr lang="de-DE" b="1" dirty="0"/>
            <a:t>Knowledge Management</a:t>
          </a:r>
        </a:p>
      </dgm:t>
    </dgm:pt>
    <dgm:pt modelId="{0ED81575-3C2C-4670-9D3B-1F21D9BCEFAC}" type="parTrans" cxnId="{EDA80630-8F62-4005-ADAE-12C015F83B3B}">
      <dgm:prSet/>
      <dgm:spPr/>
      <dgm:t>
        <a:bodyPr/>
        <a:lstStyle/>
        <a:p>
          <a:endParaRPr lang="de-DE"/>
        </a:p>
      </dgm:t>
    </dgm:pt>
    <dgm:pt modelId="{847690D1-DD14-44D6-A440-3A71CE37218E}" type="sibTrans" cxnId="{EDA80630-8F62-4005-ADAE-12C015F83B3B}">
      <dgm:prSet/>
      <dgm:spPr/>
      <dgm:t>
        <a:bodyPr/>
        <a:lstStyle/>
        <a:p>
          <a:endParaRPr lang="de-DE"/>
        </a:p>
      </dgm:t>
    </dgm:pt>
    <dgm:pt modelId="{40A81A3C-F67B-4233-B672-BC5FC54A8F27}">
      <dgm:prSet phldrT="[Text]"/>
      <dgm:spPr/>
      <dgm:t>
        <a:bodyPr/>
        <a:lstStyle/>
        <a:p>
          <a:r>
            <a:rPr lang="de-DE" b="1" dirty="0"/>
            <a:t>Education and Administration</a:t>
          </a:r>
        </a:p>
      </dgm:t>
    </dgm:pt>
    <dgm:pt modelId="{11AFB489-2ED5-4FFC-947B-0F32A3D864C6}" type="parTrans" cxnId="{A8A10C1E-EC4C-4A45-8A27-CC9B420A05D8}">
      <dgm:prSet/>
      <dgm:spPr/>
      <dgm:t>
        <a:bodyPr/>
        <a:lstStyle/>
        <a:p>
          <a:endParaRPr lang="de-DE"/>
        </a:p>
      </dgm:t>
    </dgm:pt>
    <dgm:pt modelId="{C6F77F0E-2888-482F-9927-D6F54B1FF99D}" type="sibTrans" cxnId="{A8A10C1E-EC4C-4A45-8A27-CC9B420A05D8}">
      <dgm:prSet/>
      <dgm:spPr/>
      <dgm:t>
        <a:bodyPr/>
        <a:lstStyle/>
        <a:p>
          <a:endParaRPr lang="de-DE"/>
        </a:p>
      </dgm:t>
    </dgm:pt>
    <dgm:pt modelId="{752A3C87-2F7E-4580-858C-0033A85D9B64}">
      <dgm:prSet phldrT="[Text]"/>
      <dgm:spPr/>
      <dgm:t>
        <a:bodyPr/>
        <a:lstStyle/>
        <a:p>
          <a:r>
            <a:rPr lang="de-DE" b="1" dirty="0"/>
            <a:t>SC Trends, SC Simulation : Opportunities and Risks</a:t>
          </a:r>
        </a:p>
      </dgm:t>
    </dgm:pt>
    <dgm:pt modelId="{2867108B-B4C9-490D-9887-3F5698076A1E}" type="parTrans" cxnId="{7A9C9951-99EE-45EC-BD25-2135DC9650CF}">
      <dgm:prSet/>
      <dgm:spPr/>
      <dgm:t>
        <a:bodyPr/>
        <a:lstStyle/>
        <a:p>
          <a:endParaRPr lang="de-DE"/>
        </a:p>
      </dgm:t>
    </dgm:pt>
    <dgm:pt modelId="{98556D44-0468-4EC5-87EF-94CF5CE17F6A}" type="sibTrans" cxnId="{7A9C9951-99EE-45EC-BD25-2135DC9650CF}">
      <dgm:prSet/>
      <dgm:spPr/>
      <dgm:t>
        <a:bodyPr/>
        <a:lstStyle/>
        <a:p>
          <a:endParaRPr lang="de-DE"/>
        </a:p>
      </dgm:t>
    </dgm:pt>
    <dgm:pt modelId="{D7577D0B-D68E-40E0-81AC-C6E1F25D3F78}">
      <dgm:prSet phldrT="[Text]"/>
      <dgm:spPr/>
      <dgm:t>
        <a:bodyPr/>
        <a:lstStyle/>
        <a:p>
          <a:r>
            <a:rPr lang="de-DE" b="1" dirty="0"/>
            <a:t>AI, DL Quantum Computing</a:t>
          </a:r>
        </a:p>
      </dgm:t>
    </dgm:pt>
    <dgm:pt modelId="{80EE1470-FF9C-43CA-A021-A83DC3E32D50}" type="parTrans" cxnId="{AC998C49-2866-4815-8E81-1FEBEE9F4F81}">
      <dgm:prSet/>
      <dgm:spPr/>
      <dgm:t>
        <a:bodyPr/>
        <a:lstStyle/>
        <a:p>
          <a:endParaRPr lang="de-DE"/>
        </a:p>
      </dgm:t>
    </dgm:pt>
    <dgm:pt modelId="{DACE00E2-5666-4EFD-9003-4DF78C78ADFF}" type="sibTrans" cxnId="{AC998C49-2866-4815-8E81-1FEBEE9F4F81}">
      <dgm:prSet/>
      <dgm:spPr/>
      <dgm:t>
        <a:bodyPr/>
        <a:lstStyle/>
        <a:p>
          <a:endParaRPr lang="de-DE"/>
        </a:p>
      </dgm:t>
    </dgm:pt>
    <dgm:pt modelId="{B24F6499-3119-4A08-9DBC-87D04D72632F}">
      <dgm:prSet phldrT="[Text]"/>
      <dgm:spPr/>
      <dgm:t>
        <a:bodyPr/>
        <a:lstStyle/>
        <a:p>
          <a:r>
            <a:rPr lang="de-DE" b="1" dirty="0"/>
            <a:t>Digitalisation and Automation of Supply Chain Decisions</a:t>
          </a:r>
        </a:p>
      </dgm:t>
    </dgm:pt>
    <dgm:pt modelId="{FD9AD548-D86D-4F97-A811-90B10AC02B29}" type="parTrans" cxnId="{AD3723EC-E9C6-4E13-A37E-6516BC635A58}">
      <dgm:prSet/>
      <dgm:spPr/>
      <dgm:t>
        <a:bodyPr/>
        <a:lstStyle/>
        <a:p>
          <a:endParaRPr lang="de-DE"/>
        </a:p>
      </dgm:t>
    </dgm:pt>
    <dgm:pt modelId="{EB5E31A9-6A1B-40E7-9579-0FB3DD19CC06}" type="sibTrans" cxnId="{AD3723EC-E9C6-4E13-A37E-6516BC635A58}">
      <dgm:prSet/>
      <dgm:spPr/>
      <dgm:t>
        <a:bodyPr/>
        <a:lstStyle/>
        <a:p>
          <a:endParaRPr lang="de-DE"/>
        </a:p>
      </dgm:t>
    </dgm:pt>
    <dgm:pt modelId="{CF9E5880-BD8B-435A-A792-44423F4CED0F}">
      <dgm:prSet phldrT="[Text]"/>
      <dgm:spPr/>
      <dgm:t>
        <a:bodyPr/>
        <a:lstStyle/>
        <a:p>
          <a:r>
            <a:rPr lang="de-DE" b="1" dirty="0"/>
            <a:t>Semantic Web and IFX Knowledge Sharing</a:t>
          </a:r>
        </a:p>
      </dgm:t>
    </dgm:pt>
    <dgm:pt modelId="{A66D3AE5-9328-4219-87F8-EC80D271A7BC}" type="parTrans" cxnId="{8107034B-707E-4DFD-AC5D-4B55502EFF86}">
      <dgm:prSet/>
      <dgm:spPr/>
      <dgm:t>
        <a:bodyPr/>
        <a:lstStyle/>
        <a:p>
          <a:endParaRPr lang="de-DE"/>
        </a:p>
      </dgm:t>
    </dgm:pt>
    <dgm:pt modelId="{E7A437C8-19A9-46BE-AD06-FBD7999E78C4}" type="sibTrans" cxnId="{8107034B-707E-4DFD-AC5D-4B55502EFF86}">
      <dgm:prSet/>
      <dgm:spPr/>
      <dgm:t>
        <a:bodyPr/>
        <a:lstStyle/>
        <a:p>
          <a:endParaRPr lang="de-DE"/>
        </a:p>
      </dgm:t>
    </dgm:pt>
    <dgm:pt modelId="{392A540A-52FA-4FAB-B37C-9E278B34C944}">
      <dgm:prSet phldrT="[Text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dirty="0">
              <a:solidFill>
                <a:schemeClr val="lt1"/>
              </a:solidFill>
            </a:rPr>
            <a:t>Business Process Analysis</a:t>
          </a:r>
        </a:p>
      </dgm:t>
    </dgm:pt>
    <dgm:pt modelId="{24A5AABD-ACC2-4D54-80FF-6AD64F3DE484}" type="parTrans" cxnId="{E858387E-A8EE-4772-B493-7D8CF4AE755D}">
      <dgm:prSet/>
      <dgm:spPr/>
      <dgm:t>
        <a:bodyPr/>
        <a:lstStyle/>
        <a:p>
          <a:endParaRPr lang="de-DE"/>
        </a:p>
      </dgm:t>
    </dgm:pt>
    <dgm:pt modelId="{E714A40C-7BF6-46FD-9CD8-7EA11542DA0F}" type="sibTrans" cxnId="{E858387E-A8EE-4772-B493-7D8CF4AE755D}">
      <dgm:prSet/>
      <dgm:spPr/>
      <dgm:t>
        <a:bodyPr/>
        <a:lstStyle/>
        <a:p>
          <a:endParaRPr lang="de-DE"/>
        </a:p>
      </dgm:t>
    </dgm:pt>
    <dgm:pt modelId="{78BB3421-19D3-4EC3-8A61-8F28BF290DBB}">
      <dgm:prSet phldrT="[Text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dirty="0">
              <a:solidFill>
                <a:schemeClr val="lt1"/>
              </a:solidFill>
            </a:rPr>
            <a:t>Technology Aspiration</a:t>
          </a:r>
        </a:p>
      </dgm:t>
    </dgm:pt>
    <dgm:pt modelId="{CE0F5321-F7B8-46E9-B0DD-073903BA572B}" type="parTrans" cxnId="{2BD33F0D-FF95-42E0-943F-9CA7D963CB93}">
      <dgm:prSet/>
      <dgm:spPr/>
      <dgm:t>
        <a:bodyPr/>
        <a:lstStyle/>
        <a:p>
          <a:endParaRPr lang="de-DE"/>
        </a:p>
      </dgm:t>
    </dgm:pt>
    <dgm:pt modelId="{F8A7E46D-EF1B-40D5-A716-AC3585B126AF}" type="sibTrans" cxnId="{2BD33F0D-FF95-42E0-943F-9CA7D963CB93}">
      <dgm:prSet/>
      <dgm:spPr/>
      <dgm:t>
        <a:bodyPr/>
        <a:lstStyle/>
        <a:p>
          <a:endParaRPr lang="de-DE"/>
        </a:p>
      </dgm:t>
    </dgm:pt>
    <dgm:pt modelId="{6DD5F5F1-4FFB-4C22-BBB4-6A83045EA6B8}" type="pres">
      <dgm:prSet presAssocID="{5E3C6C1C-D95E-4ED0-BADD-6F436386C380}" presName="theList" presStyleCnt="0">
        <dgm:presLayoutVars>
          <dgm:dir/>
          <dgm:animLvl val="lvl"/>
          <dgm:resizeHandles val="exact"/>
        </dgm:presLayoutVars>
      </dgm:prSet>
      <dgm:spPr/>
    </dgm:pt>
    <dgm:pt modelId="{379AF61A-C997-4794-989C-0ECFA5BE2F59}" type="pres">
      <dgm:prSet presAssocID="{A4ACDE66-ED2B-4848-AE35-2E6606B28CED}" presName="compNode" presStyleCnt="0"/>
      <dgm:spPr/>
    </dgm:pt>
    <dgm:pt modelId="{D82CB103-29A8-4AF0-8825-7DA96E688343}" type="pres">
      <dgm:prSet presAssocID="{A4ACDE66-ED2B-4848-AE35-2E6606B28CED}" presName="aNode" presStyleLbl="bgShp" presStyleIdx="0" presStyleCnt="6"/>
      <dgm:spPr/>
    </dgm:pt>
    <dgm:pt modelId="{BB0AD733-D30F-4868-A56B-2E4DCF91A30B}" type="pres">
      <dgm:prSet presAssocID="{A4ACDE66-ED2B-4848-AE35-2E6606B28CED}" presName="textNode" presStyleLbl="bgShp" presStyleIdx="0" presStyleCnt="6"/>
      <dgm:spPr/>
    </dgm:pt>
    <dgm:pt modelId="{8F6CFDD3-C774-4988-91AE-7BE76A22F215}" type="pres">
      <dgm:prSet presAssocID="{A4ACDE66-ED2B-4848-AE35-2E6606B28CED}" presName="compChildNode" presStyleCnt="0"/>
      <dgm:spPr/>
    </dgm:pt>
    <dgm:pt modelId="{C261722F-46E9-432A-B3EF-D73D57D420FA}" type="pres">
      <dgm:prSet presAssocID="{A4ACDE66-ED2B-4848-AE35-2E6606B28CED}" presName="theInnerList" presStyleCnt="0"/>
      <dgm:spPr/>
    </dgm:pt>
    <dgm:pt modelId="{37DFB44F-12FC-4127-B374-F0D12FB7492B}" type="pres">
      <dgm:prSet presAssocID="{A4ACDE66-ED2B-4848-AE35-2E6606B28CED}" presName="aSpace" presStyleCnt="0"/>
      <dgm:spPr/>
    </dgm:pt>
    <dgm:pt modelId="{BFB0D27D-94DA-49AF-882C-3AE02422F502}" type="pres">
      <dgm:prSet presAssocID="{40A81A3C-F67B-4233-B672-BC5FC54A8F27}" presName="compNode" presStyleCnt="0"/>
      <dgm:spPr/>
    </dgm:pt>
    <dgm:pt modelId="{11303D53-17DA-42AF-A330-B623897E0B08}" type="pres">
      <dgm:prSet presAssocID="{40A81A3C-F67B-4233-B672-BC5FC54A8F27}" presName="aNode" presStyleLbl="bgShp" presStyleIdx="1" presStyleCnt="6"/>
      <dgm:spPr/>
    </dgm:pt>
    <dgm:pt modelId="{8C37B041-3D05-41DB-AC50-E78BB189D617}" type="pres">
      <dgm:prSet presAssocID="{40A81A3C-F67B-4233-B672-BC5FC54A8F27}" presName="textNode" presStyleLbl="bgShp" presStyleIdx="1" presStyleCnt="6"/>
      <dgm:spPr/>
    </dgm:pt>
    <dgm:pt modelId="{1256E3C2-10AD-4609-8BCC-FA8F77A75717}" type="pres">
      <dgm:prSet presAssocID="{40A81A3C-F67B-4233-B672-BC5FC54A8F27}" presName="compChildNode" presStyleCnt="0"/>
      <dgm:spPr/>
    </dgm:pt>
    <dgm:pt modelId="{46D913A1-9082-4392-987B-CEEB1AA5A225}" type="pres">
      <dgm:prSet presAssocID="{40A81A3C-F67B-4233-B672-BC5FC54A8F27}" presName="theInnerList" presStyleCnt="0"/>
      <dgm:spPr/>
    </dgm:pt>
    <dgm:pt modelId="{0AB08A8B-F0F9-4153-B551-1E042A79AAFD}" type="pres">
      <dgm:prSet presAssocID="{40A81A3C-F67B-4233-B672-BC5FC54A8F27}" presName="aSpace" presStyleCnt="0"/>
      <dgm:spPr/>
    </dgm:pt>
    <dgm:pt modelId="{EB75655A-BB14-4A59-8A19-51F35368B0C3}" type="pres">
      <dgm:prSet presAssocID="{752A3C87-2F7E-4580-858C-0033A85D9B64}" presName="compNode" presStyleCnt="0"/>
      <dgm:spPr/>
    </dgm:pt>
    <dgm:pt modelId="{0B04C866-CF03-420F-9B2C-5AED184420A2}" type="pres">
      <dgm:prSet presAssocID="{752A3C87-2F7E-4580-858C-0033A85D9B64}" presName="aNode" presStyleLbl="bgShp" presStyleIdx="2" presStyleCnt="6"/>
      <dgm:spPr/>
    </dgm:pt>
    <dgm:pt modelId="{BD70EEBB-737C-45B8-A879-DBFE92DFAB84}" type="pres">
      <dgm:prSet presAssocID="{752A3C87-2F7E-4580-858C-0033A85D9B64}" presName="textNode" presStyleLbl="bgShp" presStyleIdx="2" presStyleCnt="6"/>
      <dgm:spPr/>
    </dgm:pt>
    <dgm:pt modelId="{FAA94D29-0E85-4990-A197-6C8DCF7EC2D2}" type="pres">
      <dgm:prSet presAssocID="{752A3C87-2F7E-4580-858C-0033A85D9B64}" presName="compChildNode" presStyleCnt="0"/>
      <dgm:spPr/>
    </dgm:pt>
    <dgm:pt modelId="{A0B55182-74F2-4ACC-B803-C761EE09DBCB}" type="pres">
      <dgm:prSet presAssocID="{752A3C87-2F7E-4580-858C-0033A85D9B64}" presName="theInnerList" presStyleCnt="0"/>
      <dgm:spPr/>
    </dgm:pt>
    <dgm:pt modelId="{16D53079-8D17-4831-9455-A161B2A9BA11}" type="pres">
      <dgm:prSet presAssocID="{752A3C87-2F7E-4580-858C-0033A85D9B64}" presName="aSpace" presStyleCnt="0"/>
      <dgm:spPr/>
    </dgm:pt>
    <dgm:pt modelId="{FB4FD415-347C-466C-A53E-E52A4BCE9399}" type="pres">
      <dgm:prSet presAssocID="{D7577D0B-D68E-40E0-81AC-C6E1F25D3F78}" presName="compNode" presStyleCnt="0"/>
      <dgm:spPr/>
    </dgm:pt>
    <dgm:pt modelId="{B5138603-5A17-4907-805E-A185FAC879C9}" type="pres">
      <dgm:prSet presAssocID="{D7577D0B-D68E-40E0-81AC-C6E1F25D3F78}" presName="aNode" presStyleLbl="bgShp" presStyleIdx="3" presStyleCnt="6"/>
      <dgm:spPr/>
    </dgm:pt>
    <dgm:pt modelId="{53E5531E-E068-430A-9852-6240021DF6A5}" type="pres">
      <dgm:prSet presAssocID="{D7577D0B-D68E-40E0-81AC-C6E1F25D3F78}" presName="textNode" presStyleLbl="bgShp" presStyleIdx="3" presStyleCnt="6"/>
      <dgm:spPr/>
    </dgm:pt>
    <dgm:pt modelId="{7340BF50-1413-440A-9270-AC9182EA4A27}" type="pres">
      <dgm:prSet presAssocID="{D7577D0B-D68E-40E0-81AC-C6E1F25D3F78}" presName="compChildNode" presStyleCnt="0"/>
      <dgm:spPr/>
    </dgm:pt>
    <dgm:pt modelId="{B34D9B5A-DB76-4082-9D3A-C5D34FE643EA}" type="pres">
      <dgm:prSet presAssocID="{D7577D0B-D68E-40E0-81AC-C6E1F25D3F78}" presName="theInnerList" presStyleCnt="0"/>
      <dgm:spPr/>
    </dgm:pt>
    <dgm:pt modelId="{6ADA38A7-7331-4B8B-B2B4-1CB2659296E0}" type="pres">
      <dgm:prSet presAssocID="{D7577D0B-D68E-40E0-81AC-C6E1F25D3F78}" presName="aSpace" presStyleCnt="0"/>
      <dgm:spPr/>
    </dgm:pt>
    <dgm:pt modelId="{B14AE381-5635-4381-BAEF-BCCDA9E24CDE}" type="pres">
      <dgm:prSet presAssocID="{B24F6499-3119-4A08-9DBC-87D04D72632F}" presName="compNode" presStyleCnt="0"/>
      <dgm:spPr/>
    </dgm:pt>
    <dgm:pt modelId="{C44D984B-071F-4C77-9748-67D1585D7FFB}" type="pres">
      <dgm:prSet presAssocID="{B24F6499-3119-4A08-9DBC-87D04D72632F}" presName="aNode" presStyleLbl="bgShp" presStyleIdx="4" presStyleCnt="6"/>
      <dgm:spPr/>
    </dgm:pt>
    <dgm:pt modelId="{24D030D4-701B-47F6-80C5-0ED57E0FA820}" type="pres">
      <dgm:prSet presAssocID="{B24F6499-3119-4A08-9DBC-87D04D72632F}" presName="textNode" presStyleLbl="bgShp" presStyleIdx="4" presStyleCnt="6"/>
      <dgm:spPr/>
    </dgm:pt>
    <dgm:pt modelId="{7F42DEDA-F4AF-42C7-A987-DE039B87901F}" type="pres">
      <dgm:prSet presAssocID="{B24F6499-3119-4A08-9DBC-87D04D72632F}" presName="compChildNode" presStyleCnt="0"/>
      <dgm:spPr/>
    </dgm:pt>
    <dgm:pt modelId="{DAFD4309-D554-437E-A8AE-2A6E7D076B9D}" type="pres">
      <dgm:prSet presAssocID="{B24F6499-3119-4A08-9DBC-87D04D72632F}" presName="theInnerList" presStyleCnt="0"/>
      <dgm:spPr/>
    </dgm:pt>
    <dgm:pt modelId="{AB3F7655-B31A-497B-9B3D-220826DDE2BF}" type="pres">
      <dgm:prSet presAssocID="{392A540A-52FA-4FAB-B37C-9E278B34C944}" presName="childNode" presStyleLbl="node1" presStyleIdx="0" presStyleCnt="2">
        <dgm:presLayoutVars>
          <dgm:bulletEnabled val="1"/>
        </dgm:presLayoutVars>
      </dgm:prSet>
      <dgm:spPr/>
    </dgm:pt>
    <dgm:pt modelId="{8DB3E9CD-C795-4165-A48F-8CFAB7E0C6FE}" type="pres">
      <dgm:prSet presAssocID="{392A540A-52FA-4FAB-B37C-9E278B34C944}" presName="aSpace2" presStyleCnt="0"/>
      <dgm:spPr/>
    </dgm:pt>
    <dgm:pt modelId="{58C39445-810D-4889-BDF2-0082428C4E60}" type="pres">
      <dgm:prSet presAssocID="{78BB3421-19D3-4EC3-8A61-8F28BF290DBB}" presName="childNode" presStyleLbl="node1" presStyleIdx="1" presStyleCnt="2">
        <dgm:presLayoutVars>
          <dgm:bulletEnabled val="1"/>
        </dgm:presLayoutVars>
      </dgm:prSet>
      <dgm:spPr/>
    </dgm:pt>
    <dgm:pt modelId="{33A3AED3-0DBD-4225-AF90-6AEF48560B79}" type="pres">
      <dgm:prSet presAssocID="{B24F6499-3119-4A08-9DBC-87D04D72632F}" presName="aSpace" presStyleCnt="0"/>
      <dgm:spPr/>
    </dgm:pt>
    <dgm:pt modelId="{D35726C8-52AC-449C-81AB-1FE7D69F7714}" type="pres">
      <dgm:prSet presAssocID="{CF9E5880-BD8B-435A-A792-44423F4CED0F}" presName="compNode" presStyleCnt="0"/>
      <dgm:spPr/>
    </dgm:pt>
    <dgm:pt modelId="{EC0DC926-FBAC-441C-BAEB-5DDCCB7F8424}" type="pres">
      <dgm:prSet presAssocID="{CF9E5880-BD8B-435A-A792-44423F4CED0F}" presName="aNode" presStyleLbl="bgShp" presStyleIdx="5" presStyleCnt="6"/>
      <dgm:spPr/>
    </dgm:pt>
    <dgm:pt modelId="{6005C03E-9F2D-4F9E-9D2C-869BEB96FE6F}" type="pres">
      <dgm:prSet presAssocID="{CF9E5880-BD8B-435A-A792-44423F4CED0F}" presName="textNode" presStyleLbl="bgShp" presStyleIdx="5" presStyleCnt="6"/>
      <dgm:spPr/>
    </dgm:pt>
    <dgm:pt modelId="{7BDA1703-1192-4C03-BF64-E8B232B1C54F}" type="pres">
      <dgm:prSet presAssocID="{CF9E5880-BD8B-435A-A792-44423F4CED0F}" presName="compChildNode" presStyleCnt="0"/>
      <dgm:spPr/>
    </dgm:pt>
    <dgm:pt modelId="{8FC0D109-65EB-4402-86B3-5B1FD328A2E2}" type="pres">
      <dgm:prSet presAssocID="{CF9E5880-BD8B-435A-A792-44423F4CED0F}" presName="theInnerList" presStyleCnt="0"/>
      <dgm:spPr/>
    </dgm:pt>
  </dgm:ptLst>
  <dgm:cxnLst>
    <dgm:cxn modelId="{2BD33F0D-FF95-42E0-943F-9CA7D963CB93}" srcId="{B24F6499-3119-4A08-9DBC-87D04D72632F}" destId="{78BB3421-19D3-4EC3-8A61-8F28BF290DBB}" srcOrd="1" destOrd="0" parTransId="{CE0F5321-F7B8-46E9-B0DD-073903BA572B}" sibTransId="{F8A7E46D-EF1B-40D5-A716-AC3585B126AF}"/>
    <dgm:cxn modelId="{A8A10C1E-EC4C-4A45-8A27-CC9B420A05D8}" srcId="{5E3C6C1C-D95E-4ED0-BADD-6F436386C380}" destId="{40A81A3C-F67B-4233-B672-BC5FC54A8F27}" srcOrd="1" destOrd="0" parTransId="{11AFB489-2ED5-4FFC-947B-0F32A3D864C6}" sibTransId="{C6F77F0E-2888-482F-9927-D6F54B1FF99D}"/>
    <dgm:cxn modelId="{0F30B62B-22EC-4BC9-B075-04ECAD29F055}" type="presOf" srcId="{D7577D0B-D68E-40E0-81AC-C6E1F25D3F78}" destId="{53E5531E-E068-430A-9852-6240021DF6A5}" srcOrd="1" destOrd="0" presId="urn:microsoft.com/office/officeart/2005/8/layout/lProcess2"/>
    <dgm:cxn modelId="{EDA80630-8F62-4005-ADAE-12C015F83B3B}" srcId="{5E3C6C1C-D95E-4ED0-BADD-6F436386C380}" destId="{A4ACDE66-ED2B-4848-AE35-2E6606B28CED}" srcOrd="0" destOrd="0" parTransId="{0ED81575-3C2C-4670-9D3B-1F21D9BCEFAC}" sibTransId="{847690D1-DD14-44D6-A440-3A71CE37218E}"/>
    <dgm:cxn modelId="{0EEEFE31-1F1B-47E7-B594-F90A700A10CA}" type="presOf" srcId="{A4ACDE66-ED2B-4848-AE35-2E6606B28CED}" destId="{BB0AD733-D30F-4868-A56B-2E4DCF91A30B}" srcOrd="1" destOrd="0" presId="urn:microsoft.com/office/officeart/2005/8/layout/lProcess2"/>
    <dgm:cxn modelId="{AC998C49-2866-4815-8E81-1FEBEE9F4F81}" srcId="{5E3C6C1C-D95E-4ED0-BADD-6F436386C380}" destId="{D7577D0B-D68E-40E0-81AC-C6E1F25D3F78}" srcOrd="3" destOrd="0" parTransId="{80EE1470-FF9C-43CA-A021-A83DC3E32D50}" sibTransId="{DACE00E2-5666-4EFD-9003-4DF78C78ADFF}"/>
    <dgm:cxn modelId="{8107034B-707E-4DFD-AC5D-4B55502EFF86}" srcId="{5E3C6C1C-D95E-4ED0-BADD-6F436386C380}" destId="{CF9E5880-BD8B-435A-A792-44423F4CED0F}" srcOrd="5" destOrd="0" parTransId="{A66D3AE5-9328-4219-87F8-EC80D271A7BC}" sibTransId="{E7A437C8-19A9-46BE-AD06-FBD7999E78C4}"/>
    <dgm:cxn modelId="{79F15651-8854-4168-B8D5-D47A22B2793A}" type="presOf" srcId="{40A81A3C-F67B-4233-B672-BC5FC54A8F27}" destId="{8C37B041-3D05-41DB-AC50-E78BB189D617}" srcOrd="1" destOrd="0" presId="urn:microsoft.com/office/officeart/2005/8/layout/lProcess2"/>
    <dgm:cxn modelId="{7A9C9951-99EE-45EC-BD25-2135DC9650CF}" srcId="{5E3C6C1C-D95E-4ED0-BADD-6F436386C380}" destId="{752A3C87-2F7E-4580-858C-0033A85D9B64}" srcOrd="2" destOrd="0" parTransId="{2867108B-B4C9-490D-9887-3F5698076A1E}" sibTransId="{98556D44-0468-4EC5-87EF-94CF5CE17F6A}"/>
    <dgm:cxn modelId="{98900274-496C-46D0-BB02-05E8135E842F}" type="presOf" srcId="{CF9E5880-BD8B-435A-A792-44423F4CED0F}" destId="{EC0DC926-FBAC-441C-BAEB-5DDCCB7F8424}" srcOrd="0" destOrd="0" presId="urn:microsoft.com/office/officeart/2005/8/layout/lProcess2"/>
    <dgm:cxn modelId="{815EB854-1873-48DD-A930-209D22CF4FFD}" type="presOf" srcId="{752A3C87-2F7E-4580-858C-0033A85D9B64}" destId="{BD70EEBB-737C-45B8-A879-DBFE92DFAB84}" srcOrd="1" destOrd="0" presId="urn:microsoft.com/office/officeart/2005/8/layout/lProcess2"/>
    <dgm:cxn modelId="{E858387E-A8EE-4772-B493-7D8CF4AE755D}" srcId="{B24F6499-3119-4A08-9DBC-87D04D72632F}" destId="{392A540A-52FA-4FAB-B37C-9E278B34C944}" srcOrd="0" destOrd="0" parTransId="{24A5AABD-ACC2-4D54-80FF-6AD64F3DE484}" sibTransId="{E714A40C-7BF6-46FD-9CD8-7EA11542DA0F}"/>
    <dgm:cxn modelId="{6002FE7E-B73B-42E3-A352-C8748E468ECC}" type="presOf" srcId="{40A81A3C-F67B-4233-B672-BC5FC54A8F27}" destId="{11303D53-17DA-42AF-A330-B623897E0B08}" srcOrd="0" destOrd="0" presId="urn:microsoft.com/office/officeart/2005/8/layout/lProcess2"/>
    <dgm:cxn modelId="{74BD6984-42BE-49F5-8925-88FC782FDFFF}" type="presOf" srcId="{392A540A-52FA-4FAB-B37C-9E278B34C944}" destId="{AB3F7655-B31A-497B-9B3D-220826DDE2BF}" srcOrd="0" destOrd="0" presId="urn:microsoft.com/office/officeart/2005/8/layout/lProcess2"/>
    <dgm:cxn modelId="{4F8CF891-3760-49F3-B4F4-F5A1F9B584B4}" type="presOf" srcId="{A4ACDE66-ED2B-4848-AE35-2E6606B28CED}" destId="{D82CB103-29A8-4AF0-8825-7DA96E688343}" srcOrd="0" destOrd="0" presId="urn:microsoft.com/office/officeart/2005/8/layout/lProcess2"/>
    <dgm:cxn modelId="{1DFD9DA2-B1B6-4CC5-8FE1-70069510862C}" type="presOf" srcId="{B24F6499-3119-4A08-9DBC-87D04D72632F}" destId="{24D030D4-701B-47F6-80C5-0ED57E0FA820}" srcOrd="1" destOrd="0" presId="urn:microsoft.com/office/officeart/2005/8/layout/lProcess2"/>
    <dgm:cxn modelId="{D4951DAB-3074-493B-89BA-03D512116EE9}" type="presOf" srcId="{CF9E5880-BD8B-435A-A792-44423F4CED0F}" destId="{6005C03E-9F2D-4F9E-9D2C-869BEB96FE6F}" srcOrd="1" destOrd="0" presId="urn:microsoft.com/office/officeart/2005/8/layout/lProcess2"/>
    <dgm:cxn modelId="{17B174AE-94B2-4489-910D-7ECBA507FB33}" type="presOf" srcId="{D7577D0B-D68E-40E0-81AC-C6E1F25D3F78}" destId="{B5138603-5A17-4907-805E-A185FAC879C9}" srcOrd="0" destOrd="0" presId="urn:microsoft.com/office/officeart/2005/8/layout/lProcess2"/>
    <dgm:cxn modelId="{E803EDC6-A144-4327-A7EF-AE22FA6415A9}" type="presOf" srcId="{5E3C6C1C-D95E-4ED0-BADD-6F436386C380}" destId="{6DD5F5F1-4FFB-4C22-BBB4-6A83045EA6B8}" srcOrd="0" destOrd="0" presId="urn:microsoft.com/office/officeart/2005/8/layout/lProcess2"/>
    <dgm:cxn modelId="{00CDF2DD-CEB9-4D82-ABB9-9D5A16D274D3}" type="presOf" srcId="{78BB3421-19D3-4EC3-8A61-8F28BF290DBB}" destId="{58C39445-810D-4889-BDF2-0082428C4E60}" srcOrd="0" destOrd="0" presId="urn:microsoft.com/office/officeart/2005/8/layout/lProcess2"/>
    <dgm:cxn modelId="{4A8789EA-55AC-4EA7-A210-323B309807F3}" type="presOf" srcId="{752A3C87-2F7E-4580-858C-0033A85D9B64}" destId="{0B04C866-CF03-420F-9B2C-5AED184420A2}" srcOrd="0" destOrd="0" presId="urn:microsoft.com/office/officeart/2005/8/layout/lProcess2"/>
    <dgm:cxn modelId="{AD3723EC-E9C6-4E13-A37E-6516BC635A58}" srcId="{5E3C6C1C-D95E-4ED0-BADD-6F436386C380}" destId="{B24F6499-3119-4A08-9DBC-87D04D72632F}" srcOrd="4" destOrd="0" parTransId="{FD9AD548-D86D-4F97-A811-90B10AC02B29}" sibTransId="{EB5E31A9-6A1B-40E7-9579-0FB3DD19CC06}"/>
    <dgm:cxn modelId="{E5D211ED-B499-45E2-8C33-7F351E108C1F}" type="presOf" srcId="{B24F6499-3119-4A08-9DBC-87D04D72632F}" destId="{C44D984B-071F-4C77-9748-67D1585D7FFB}" srcOrd="0" destOrd="0" presId="urn:microsoft.com/office/officeart/2005/8/layout/lProcess2"/>
    <dgm:cxn modelId="{9B9ECE6A-1E30-4931-8D00-F0F6BFB5BD06}" type="presParOf" srcId="{6DD5F5F1-4FFB-4C22-BBB4-6A83045EA6B8}" destId="{379AF61A-C997-4794-989C-0ECFA5BE2F59}" srcOrd="0" destOrd="0" presId="urn:microsoft.com/office/officeart/2005/8/layout/lProcess2"/>
    <dgm:cxn modelId="{0F613320-F8BB-4088-AC08-DE8843C08FEA}" type="presParOf" srcId="{379AF61A-C997-4794-989C-0ECFA5BE2F59}" destId="{D82CB103-29A8-4AF0-8825-7DA96E688343}" srcOrd="0" destOrd="0" presId="urn:microsoft.com/office/officeart/2005/8/layout/lProcess2"/>
    <dgm:cxn modelId="{0C315302-6D75-4B66-8227-D3F7BCFAF103}" type="presParOf" srcId="{379AF61A-C997-4794-989C-0ECFA5BE2F59}" destId="{BB0AD733-D30F-4868-A56B-2E4DCF91A30B}" srcOrd="1" destOrd="0" presId="urn:microsoft.com/office/officeart/2005/8/layout/lProcess2"/>
    <dgm:cxn modelId="{16B2632D-F118-43C6-9986-59091445C09B}" type="presParOf" srcId="{379AF61A-C997-4794-989C-0ECFA5BE2F59}" destId="{8F6CFDD3-C774-4988-91AE-7BE76A22F215}" srcOrd="2" destOrd="0" presId="urn:microsoft.com/office/officeart/2005/8/layout/lProcess2"/>
    <dgm:cxn modelId="{452A860D-304C-4016-9EF5-18ECB4C83665}" type="presParOf" srcId="{8F6CFDD3-C774-4988-91AE-7BE76A22F215}" destId="{C261722F-46E9-432A-B3EF-D73D57D420FA}" srcOrd="0" destOrd="0" presId="urn:microsoft.com/office/officeart/2005/8/layout/lProcess2"/>
    <dgm:cxn modelId="{5B740BF5-251E-453B-B8C8-CABFA68960F4}" type="presParOf" srcId="{6DD5F5F1-4FFB-4C22-BBB4-6A83045EA6B8}" destId="{37DFB44F-12FC-4127-B374-F0D12FB7492B}" srcOrd="1" destOrd="0" presId="urn:microsoft.com/office/officeart/2005/8/layout/lProcess2"/>
    <dgm:cxn modelId="{2ECB1B04-92AD-4E73-BFE0-D7439C4DF40B}" type="presParOf" srcId="{6DD5F5F1-4FFB-4C22-BBB4-6A83045EA6B8}" destId="{BFB0D27D-94DA-49AF-882C-3AE02422F502}" srcOrd="2" destOrd="0" presId="urn:microsoft.com/office/officeart/2005/8/layout/lProcess2"/>
    <dgm:cxn modelId="{CA884BBE-A8E2-455A-81BB-066C5F1ED538}" type="presParOf" srcId="{BFB0D27D-94DA-49AF-882C-3AE02422F502}" destId="{11303D53-17DA-42AF-A330-B623897E0B08}" srcOrd="0" destOrd="0" presId="urn:microsoft.com/office/officeart/2005/8/layout/lProcess2"/>
    <dgm:cxn modelId="{A2E7261C-E057-47DF-AF19-7C110E576FBE}" type="presParOf" srcId="{BFB0D27D-94DA-49AF-882C-3AE02422F502}" destId="{8C37B041-3D05-41DB-AC50-E78BB189D617}" srcOrd="1" destOrd="0" presId="urn:microsoft.com/office/officeart/2005/8/layout/lProcess2"/>
    <dgm:cxn modelId="{5111EE6A-B37E-4870-90A4-0EF7A5F9FB7B}" type="presParOf" srcId="{BFB0D27D-94DA-49AF-882C-3AE02422F502}" destId="{1256E3C2-10AD-4609-8BCC-FA8F77A75717}" srcOrd="2" destOrd="0" presId="urn:microsoft.com/office/officeart/2005/8/layout/lProcess2"/>
    <dgm:cxn modelId="{289BADE3-6F73-48BC-B7D9-F91B64CF9CD4}" type="presParOf" srcId="{1256E3C2-10AD-4609-8BCC-FA8F77A75717}" destId="{46D913A1-9082-4392-987B-CEEB1AA5A225}" srcOrd="0" destOrd="0" presId="urn:microsoft.com/office/officeart/2005/8/layout/lProcess2"/>
    <dgm:cxn modelId="{B5CD0ADE-6D09-4EEB-8CFB-0D7121B5A929}" type="presParOf" srcId="{6DD5F5F1-4FFB-4C22-BBB4-6A83045EA6B8}" destId="{0AB08A8B-F0F9-4153-B551-1E042A79AAFD}" srcOrd="3" destOrd="0" presId="urn:microsoft.com/office/officeart/2005/8/layout/lProcess2"/>
    <dgm:cxn modelId="{C32AC5CC-C6F7-449F-9491-0BCF3AB33E87}" type="presParOf" srcId="{6DD5F5F1-4FFB-4C22-BBB4-6A83045EA6B8}" destId="{EB75655A-BB14-4A59-8A19-51F35368B0C3}" srcOrd="4" destOrd="0" presId="urn:microsoft.com/office/officeart/2005/8/layout/lProcess2"/>
    <dgm:cxn modelId="{3F043DA8-79C0-4A1B-B7B7-94C492DF6060}" type="presParOf" srcId="{EB75655A-BB14-4A59-8A19-51F35368B0C3}" destId="{0B04C866-CF03-420F-9B2C-5AED184420A2}" srcOrd="0" destOrd="0" presId="urn:microsoft.com/office/officeart/2005/8/layout/lProcess2"/>
    <dgm:cxn modelId="{977643EF-BBBC-4002-94EF-78BBA523A60A}" type="presParOf" srcId="{EB75655A-BB14-4A59-8A19-51F35368B0C3}" destId="{BD70EEBB-737C-45B8-A879-DBFE92DFAB84}" srcOrd="1" destOrd="0" presId="urn:microsoft.com/office/officeart/2005/8/layout/lProcess2"/>
    <dgm:cxn modelId="{F295C875-99E6-42EB-940A-841D07C67177}" type="presParOf" srcId="{EB75655A-BB14-4A59-8A19-51F35368B0C3}" destId="{FAA94D29-0E85-4990-A197-6C8DCF7EC2D2}" srcOrd="2" destOrd="0" presId="urn:microsoft.com/office/officeart/2005/8/layout/lProcess2"/>
    <dgm:cxn modelId="{69EBEC85-3E68-4445-8D5F-FA7072D512DD}" type="presParOf" srcId="{FAA94D29-0E85-4990-A197-6C8DCF7EC2D2}" destId="{A0B55182-74F2-4ACC-B803-C761EE09DBCB}" srcOrd="0" destOrd="0" presId="urn:microsoft.com/office/officeart/2005/8/layout/lProcess2"/>
    <dgm:cxn modelId="{3F49ADC1-0ABF-4E89-9D17-368C15E9D4ED}" type="presParOf" srcId="{6DD5F5F1-4FFB-4C22-BBB4-6A83045EA6B8}" destId="{16D53079-8D17-4831-9455-A161B2A9BA11}" srcOrd="5" destOrd="0" presId="urn:microsoft.com/office/officeart/2005/8/layout/lProcess2"/>
    <dgm:cxn modelId="{A8CF09E6-4C87-47A9-BD7C-A6BF668B9CBE}" type="presParOf" srcId="{6DD5F5F1-4FFB-4C22-BBB4-6A83045EA6B8}" destId="{FB4FD415-347C-466C-A53E-E52A4BCE9399}" srcOrd="6" destOrd="0" presId="urn:microsoft.com/office/officeart/2005/8/layout/lProcess2"/>
    <dgm:cxn modelId="{5B0A1935-6F40-4036-B5DE-A321F7321AB1}" type="presParOf" srcId="{FB4FD415-347C-466C-A53E-E52A4BCE9399}" destId="{B5138603-5A17-4907-805E-A185FAC879C9}" srcOrd="0" destOrd="0" presId="urn:microsoft.com/office/officeart/2005/8/layout/lProcess2"/>
    <dgm:cxn modelId="{85B70F41-308E-457C-A737-2E642895F251}" type="presParOf" srcId="{FB4FD415-347C-466C-A53E-E52A4BCE9399}" destId="{53E5531E-E068-430A-9852-6240021DF6A5}" srcOrd="1" destOrd="0" presId="urn:microsoft.com/office/officeart/2005/8/layout/lProcess2"/>
    <dgm:cxn modelId="{03A3B587-4F5E-43BD-AE2A-54D107A6B4B9}" type="presParOf" srcId="{FB4FD415-347C-466C-A53E-E52A4BCE9399}" destId="{7340BF50-1413-440A-9270-AC9182EA4A27}" srcOrd="2" destOrd="0" presId="urn:microsoft.com/office/officeart/2005/8/layout/lProcess2"/>
    <dgm:cxn modelId="{D01CC556-ACBF-4F43-A541-1B5AED3A840E}" type="presParOf" srcId="{7340BF50-1413-440A-9270-AC9182EA4A27}" destId="{B34D9B5A-DB76-4082-9D3A-C5D34FE643EA}" srcOrd="0" destOrd="0" presId="urn:microsoft.com/office/officeart/2005/8/layout/lProcess2"/>
    <dgm:cxn modelId="{05DE9019-7A6F-42E2-844D-744D629EC4D6}" type="presParOf" srcId="{6DD5F5F1-4FFB-4C22-BBB4-6A83045EA6B8}" destId="{6ADA38A7-7331-4B8B-B2B4-1CB2659296E0}" srcOrd="7" destOrd="0" presId="urn:microsoft.com/office/officeart/2005/8/layout/lProcess2"/>
    <dgm:cxn modelId="{5236C7C8-D115-4629-83C2-CBE4371B4577}" type="presParOf" srcId="{6DD5F5F1-4FFB-4C22-BBB4-6A83045EA6B8}" destId="{B14AE381-5635-4381-BAEF-BCCDA9E24CDE}" srcOrd="8" destOrd="0" presId="urn:microsoft.com/office/officeart/2005/8/layout/lProcess2"/>
    <dgm:cxn modelId="{F2F8A2A3-E67C-410B-BDBB-EFB386D5F4BB}" type="presParOf" srcId="{B14AE381-5635-4381-BAEF-BCCDA9E24CDE}" destId="{C44D984B-071F-4C77-9748-67D1585D7FFB}" srcOrd="0" destOrd="0" presId="urn:microsoft.com/office/officeart/2005/8/layout/lProcess2"/>
    <dgm:cxn modelId="{05916914-D2D0-4CE9-90DA-2F891B2323EA}" type="presParOf" srcId="{B14AE381-5635-4381-BAEF-BCCDA9E24CDE}" destId="{24D030D4-701B-47F6-80C5-0ED57E0FA820}" srcOrd="1" destOrd="0" presId="urn:microsoft.com/office/officeart/2005/8/layout/lProcess2"/>
    <dgm:cxn modelId="{880539B3-AB4B-4769-A347-E758F3F7ED2F}" type="presParOf" srcId="{B14AE381-5635-4381-BAEF-BCCDA9E24CDE}" destId="{7F42DEDA-F4AF-42C7-A987-DE039B87901F}" srcOrd="2" destOrd="0" presId="urn:microsoft.com/office/officeart/2005/8/layout/lProcess2"/>
    <dgm:cxn modelId="{AF77EB07-F855-4AA1-BA4B-9A025B38AFF3}" type="presParOf" srcId="{7F42DEDA-F4AF-42C7-A987-DE039B87901F}" destId="{DAFD4309-D554-437E-A8AE-2A6E7D076B9D}" srcOrd="0" destOrd="0" presId="urn:microsoft.com/office/officeart/2005/8/layout/lProcess2"/>
    <dgm:cxn modelId="{B2F84A91-B224-4FE3-87C2-520630A7CF2D}" type="presParOf" srcId="{DAFD4309-D554-437E-A8AE-2A6E7D076B9D}" destId="{AB3F7655-B31A-497B-9B3D-220826DDE2BF}" srcOrd="0" destOrd="0" presId="urn:microsoft.com/office/officeart/2005/8/layout/lProcess2"/>
    <dgm:cxn modelId="{078FF466-24FF-4551-90BB-2B159D6277C3}" type="presParOf" srcId="{DAFD4309-D554-437E-A8AE-2A6E7D076B9D}" destId="{8DB3E9CD-C795-4165-A48F-8CFAB7E0C6FE}" srcOrd="1" destOrd="0" presId="urn:microsoft.com/office/officeart/2005/8/layout/lProcess2"/>
    <dgm:cxn modelId="{BC5B8AB3-31BC-4F3B-9769-1DDDDF1EAB70}" type="presParOf" srcId="{DAFD4309-D554-437E-A8AE-2A6E7D076B9D}" destId="{58C39445-810D-4889-BDF2-0082428C4E60}" srcOrd="2" destOrd="0" presId="urn:microsoft.com/office/officeart/2005/8/layout/lProcess2"/>
    <dgm:cxn modelId="{B6B39D8A-4802-401D-A54F-BAF6E44B60DB}" type="presParOf" srcId="{6DD5F5F1-4FFB-4C22-BBB4-6A83045EA6B8}" destId="{33A3AED3-0DBD-4225-AF90-6AEF48560B79}" srcOrd="9" destOrd="0" presId="urn:microsoft.com/office/officeart/2005/8/layout/lProcess2"/>
    <dgm:cxn modelId="{BD9355E3-DB1D-42D2-874E-0543B6BC28C8}" type="presParOf" srcId="{6DD5F5F1-4FFB-4C22-BBB4-6A83045EA6B8}" destId="{D35726C8-52AC-449C-81AB-1FE7D69F7714}" srcOrd="10" destOrd="0" presId="urn:microsoft.com/office/officeart/2005/8/layout/lProcess2"/>
    <dgm:cxn modelId="{0AF3A128-C967-4EBD-82D2-586B4EA74714}" type="presParOf" srcId="{D35726C8-52AC-449C-81AB-1FE7D69F7714}" destId="{EC0DC926-FBAC-441C-BAEB-5DDCCB7F8424}" srcOrd="0" destOrd="0" presId="urn:microsoft.com/office/officeart/2005/8/layout/lProcess2"/>
    <dgm:cxn modelId="{2865EB6D-0FE3-46B9-BDCA-713050A265F6}" type="presParOf" srcId="{D35726C8-52AC-449C-81AB-1FE7D69F7714}" destId="{6005C03E-9F2D-4F9E-9D2C-869BEB96FE6F}" srcOrd="1" destOrd="0" presId="urn:microsoft.com/office/officeart/2005/8/layout/lProcess2"/>
    <dgm:cxn modelId="{5471AB26-A0F4-4EC0-A40B-8C407C0F2F5E}" type="presParOf" srcId="{D35726C8-52AC-449C-81AB-1FE7D69F7714}" destId="{7BDA1703-1192-4C03-BF64-E8B232B1C54F}" srcOrd="2" destOrd="0" presId="urn:microsoft.com/office/officeart/2005/8/layout/lProcess2"/>
    <dgm:cxn modelId="{AF766ADC-1B3E-4C5D-A9E2-FFAA5953C915}" type="presParOf" srcId="{7BDA1703-1192-4C03-BF64-E8B232B1C54F}" destId="{8FC0D109-65EB-4402-86B3-5B1FD328A2E2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D540C2-F18C-4E15-A609-0EE5D059E37A}" type="doc">
      <dgm:prSet loTypeId="urn:microsoft.com/office/officeart/2005/8/layout/balance1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728AE54-7CCA-4977-90A8-B4B7AE59ED51}">
      <dgm:prSet phldrT="[Text]"/>
      <dgm:spPr/>
      <dgm:t>
        <a:bodyPr/>
        <a:lstStyle/>
        <a:p>
          <a:r>
            <a:rPr lang="de-DE" b="1" dirty="0"/>
            <a:t>PSS Task</a:t>
          </a:r>
        </a:p>
      </dgm:t>
    </dgm:pt>
    <dgm:pt modelId="{BE980016-5D4A-4A3C-AE6B-77359B5F9666}" type="parTrans" cxnId="{A9B256D4-E421-497E-B0B2-5FCECBEE79E3}">
      <dgm:prSet/>
      <dgm:spPr/>
      <dgm:t>
        <a:bodyPr/>
        <a:lstStyle/>
        <a:p>
          <a:endParaRPr lang="de-DE"/>
        </a:p>
      </dgm:t>
    </dgm:pt>
    <dgm:pt modelId="{8FA8C6BE-2EB0-43D3-8468-0EBDE967B810}" type="sibTrans" cxnId="{A9B256D4-E421-497E-B0B2-5FCECBEE79E3}">
      <dgm:prSet/>
      <dgm:spPr/>
      <dgm:t>
        <a:bodyPr/>
        <a:lstStyle/>
        <a:p>
          <a:endParaRPr lang="de-DE"/>
        </a:p>
      </dgm:t>
    </dgm:pt>
    <dgm:pt modelId="{32A8C497-C1B7-4B11-AD30-D75DDB7879C4}">
      <dgm:prSet phldrT="[Text]"/>
      <dgm:spPr/>
      <dgm:t>
        <a:bodyPr/>
        <a:lstStyle/>
        <a:p>
          <a:r>
            <a:rPr lang="de-DE" dirty="0"/>
            <a:t>RoboScript</a:t>
          </a:r>
        </a:p>
      </dgm:t>
    </dgm:pt>
    <dgm:pt modelId="{23A998B1-6100-4F44-8D71-328A507764E1}" type="parTrans" cxnId="{0DC2C00F-3BE2-4E8A-80D9-BBB8E0E94FAF}">
      <dgm:prSet/>
      <dgm:spPr/>
      <dgm:t>
        <a:bodyPr/>
        <a:lstStyle/>
        <a:p>
          <a:endParaRPr lang="de-DE"/>
        </a:p>
      </dgm:t>
    </dgm:pt>
    <dgm:pt modelId="{D1208DB1-2BAD-4ACD-9B84-C928131576C6}" type="sibTrans" cxnId="{0DC2C00F-3BE2-4E8A-80D9-BBB8E0E94FAF}">
      <dgm:prSet/>
      <dgm:spPr/>
      <dgm:t>
        <a:bodyPr/>
        <a:lstStyle/>
        <a:p>
          <a:endParaRPr lang="de-DE"/>
        </a:p>
      </dgm:t>
    </dgm:pt>
    <dgm:pt modelId="{D1D3ADD3-4493-4F7B-B303-AF13AD29F364}">
      <dgm:prSet phldrT="[Text]"/>
      <dgm:spPr/>
      <dgm:t>
        <a:bodyPr/>
        <a:lstStyle/>
        <a:p>
          <a:r>
            <a:rPr lang="de-DE" dirty="0"/>
            <a:t>Tableau</a:t>
          </a:r>
        </a:p>
      </dgm:t>
    </dgm:pt>
    <dgm:pt modelId="{B410F407-9F2E-453E-BC86-F8A92D95AAED}" type="parTrans" cxnId="{C0C35E20-D250-4FB8-8486-10F68B3693C7}">
      <dgm:prSet/>
      <dgm:spPr/>
      <dgm:t>
        <a:bodyPr/>
        <a:lstStyle/>
        <a:p>
          <a:endParaRPr lang="de-DE"/>
        </a:p>
      </dgm:t>
    </dgm:pt>
    <dgm:pt modelId="{82FD6769-2473-49F8-9BDD-21B85EF0FFEC}" type="sibTrans" cxnId="{C0C35E20-D250-4FB8-8486-10F68B3693C7}">
      <dgm:prSet/>
      <dgm:spPr/>
      <dgm:t>
        <a:bodyPr/>
        <a:lstStyle/>
        <a:p>
          <a:endParaRPr lang="de-DE"/>
        </a:p>
      </dgm:t>
    </dgm:pt>
    <dgm:pt modelId="{6E4D1F46-3D67-44A2-887E-9D3B9A1A5F61}">
      <dgm:prSet phldrT="[Text]"/>
      <dgm:spPr/>
      <dgm:t>
        <a:bodyPr/>
        <a:lstStyle/>
        <a:p>
          <a:r>
            <a:rPr lang="de-DE" b="1" dirty="0"/>
            <a:t>PALS Project</a:t>
          </a:r>
        </a:p>
      </dgm:t>
    </dgm:pt>
    <dgm:pt modelId="{3F2C1C7A-4969-43AC-9C84-581F204CBA40}" type="parTrans" cxnId="{36B139A0-0E43-409D-8B09-5AD6EFDEE1E8}">
      <dgm:prSet/>
      <dgm:spPr/>
      <dgm:t>
        <a:bodyPr/>
        <a:lstStyle/>
        <a:p>
          <a:endParaRPr lang="de-DE"/>
        </a:p>
      </dgm:t>
    </dgm:pt>
    <dgm:pt modelId="{4B61F9C2-53FE-4ACF-8D7F-1CA125D7FD64}" type="sibTrans" cxnId="{36B139A0-0E43-409D-8B09-5AD6EFDEE1E8}">
      <dgm:prSet/>
      <dgm:spPr/>
      <dgm:t>
        <a:bodyPr/>
        <a:lstStyle/>
        <a:p>
          <a:endParaRPr lang="de-DE"/>
        </a:p>
      </dgm:t>
    </dgm:pt>
    <dgm:pt modelId="{59A6B605-86BD-4EF8-BFD0-3486D300677E}">
      <dgm:prSet phldrT="[Text]"/>
      <dgm:spPr/>
      <dgm:t>
        <a:bodyPr/>
        <a:lstStyle/>
        <a:p>
          <a:r>
            <a:rPr lang="de-DE" dirty="0"/>
            <a:t>Python Simulation</a:t>
          </a:r>
        </a:p>
      </dgm:t>
    </dgm:pt>
    <dgm:pt modelId="{72F920EC-153E-400C-9492-FC198D0D6033}" type="parTrans" cxnId="{009AD717-BA71-40C2-80A8-0B35E2BA9B0E}">
      <dgm:prSet/>
      <dgm:spPr/>
      <dgm:t>
        <a:bodyPr/>
        <a:lstStyle/>
        <a:p>
          <a:endParaRPr lang="de-DE"/>
        </a:p>
      </dgm:t>
    </dgm:pt>
    <dgm:pt modelId="{645AD4C8-0B05-44EF-B397-34A6C97333C7}" type="sibTrans" cxnId="{009AD717-BA71-40C2-80A8-0B35E2BA9B0E}">
      <dgm:prSet/>
      <dgm:spPr/>
      <dgm:t>
        <a:bodyPr/>
        <a:lstStyle/>
        <a:p>
          <a:endParaRPr lang="de-DE"/>
        </a:p>
      </dgm:t>
    </dgm:pt>
    <dgm:pt modelId="{88DED8D5-308E-487A-B9C5-CF2B39F7C8D6}">
      <dgm:prSet phldrT="[Text]"/>
      <dgm:spPr/>
      <dgm:t>
        <a:bodyPr/>
        <a:lstStyle/>
        <a:p>
          <a:r>
            <a:rPr lang="de-DE" dirty="0"/>
            <a:t>Machine Learning class</a:t>
          </a:r>
        </a:p>
      </dgm:t>
    </dgm:pt>
    <dgm:pt modelId="{545241E7-10AA-4DEE-B53D-955CA1DB1EB1}" type="parTrans" cxnId="{8F511D5D-7EE3-48F1-A8C6-1AAD7F5FF2EA}">
      <dgm:prSet/>
      <dgm:spPr/>
      <dgm:t>
        <a:bodyPr/>
        <a:lstStyle/>
        <a:p>
          <a:endParaRPr lang="de-DE"/>
        </a:p>
      </dgm:t>
    </dgm:pt>
    <dgm:pt modelId="{64E00413-6CAE-4DA4-9FB6-041DB9427844}" type="sibTrans" cxnId="{8F511D5D-7EE3-48F1-A8C6-1AAD7F5FF2EA}">
      <dgm:prSet/>
      <dgm:spPr/>
      <dgm:t>
        <a:bodyPr/>
        <a:lstStyle/>
        <a:p>
          <a:endParaRPr lang="de-DE"/>
        </a:p>
      </dgm:t>
    </dgm:pt>
    <dgm:pt modelId="{7466D029-8825-48D5-B6D0-C843D33494DB}">
      <dgm:prSet phldrT="[Text]"/>
      <dgm:spPr/>
      <dgm:t>
        <a:bodyPr/>
        <a:lstStyle/>
        <a:p>
          <a:r>
            <a:rPr lang="de-DE" dirty="0"/>
            <a:t>Project Definition</a:t>
          </a:r>
        </a:p>
      </dgm:t>
    </dgm:pt>
    <dgm:pt modelId="{CA4088D5-5386-4A44-A757-0D01EDE8EAC3}" type="parTrans" cxnId="{C494B1BD-9444-45CF-866C-B6E26A4D0C66}">
      <dgm:prSet/>
      <dgm:spPr/>
      <dgm:t>
        <a:bodyPr/>
        <a:lstStyle/>
        <a:p>
          <a:endParaRPr lang="de-DE"/>
        </a:p>
      </dgm:t>
    </dgm:pt>
    <dgm:pt modelId="{FD6D4BD4-2D2D-4A9B-B102-A727CEB43CEF}" type="sibTrans" cxnId="{C494B1BD-9444-45CF-866C-B6E26A4D0C66}">
      <dgm:prSet/>
      <dgm:spPr/>
      <dgm:t>
        <a:bodyPr/>
        <a:lstStyle/>
        <a:p>
          <a:endParaRPr lang="de-DE"/>
        </a:p>
      </dgm:t>
    </dgm:pt>
    <dgm:pt modelId="{D0531D0D-9AB9-4406-B848-C0F2D81BAE5A}" type="pres">
      <dgm:prSet presAssocID="{ACD540C2-F18C-4E15-A609-0EE5D059E37A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8F4F780C-2390-4288-8022-C8F55492C202}" type="pres">
      <dgm:prSet presAssocID="{ACD540C2-F18C-4E15-A609-0EE5D059E37A}" presName="dummyMaxCanvas" presStyleCnt="0"/>
      <dgm:spPr/>
    </dgm:pt>
    <dgm:pt modelId="{8BD93279-CA91-432D-8DE6-C0C3D031FF61}" type="pres">
      <dgm:prSet presAssocID="{ACD540C2-F18C-4E15-A609-0EE5D059E37A}" presName="parentComposite" presStyleCnt="0"/>
      <dgm:spPr/>
    </dgm:pt>
    <dgm:pt modelId="{6663EA82-B268-4E15-85C8-3CECF8A3710B}" type="pres">
      <dgm:prSet presAssocID="{ACD540C2-F18C-4E15-A609-0EE5D059E37A}" presName="parent1" presStyleLbl="alignAccFollowNode1" presStyleIdx="0" presStyleCnt="4">
        <dgm:presLayoutVars>
          <dgm:chMax val="4"/>
        </dgm:presLayoutVars>
      </dgm:prSet>
      <dgm:spPr/>
    </dgm:pt>
    <dgm:pt modelId="{8723E714-029D-4E27-B1F0-28EE46379145}" type="pres">
      <dgm:prSet presAssocID="{ACD540C2-F18C-4E15-A609-0EE5D059E37A}" presName="parent2" presStyleLbl="alignAccFollowNode1" presStyleIdx="1" presStyleCnt="4">
        <dgm:presLayoutVars>
          <dgm:chMax val="4"/>
        </dgm:presLayoutVars>
      </dgm:prSet>
      <dgm:spPr/>
    </dgm:pt>
    <dgm:pt modelId="{A39B0400-CF71-4A07-822E-85A109C485EC}" type="pres">
      <dgm:prSet presAssocID="{ACD540C2-F18C-4E15-A609-0EE5D059E37A}" presName="childrenComposite" presStyleCnt="0"/>
      <dgm:spPr/>
    </dgm:pt>
    <dgm:pt modelId="{1D381BE8-BF6A-4809-83FA-110E62962279}" type="pres">
      <dgm:prSet presAssocID="{ACD540C2-F18C-4E15-A609-0EE5D059E37A}" presName="dummyMaxCanvas_ChildArea" presStyleCnt="0"/>
      <dgm:spPr/>
    </dgm:pt>
    <dgm:pt modelId="{999ADF98-776D-4FD9-B5F5-A6BD154C74F4}" type="pres">
      <dgm:prSet presAssocID="{ACD540C2-F18C-4E15-A609-0EE5D059E37A}" presName="fulcrum" presStyleLbl="alignAccFollowNode1" presStyleIdx="2" presStyleCnt="4"/>
      <dgm:spPr/>
    </dgm:pt>
    <dgm:pt modelId="{289F124A-30DB-4E31-8019-D61B3F9A2843}" type="pres">
      <dgm:prSet presAssocID="{ACD540C2-F18C-4E15-A609-0EE5D059E37A}" presName="balance_23" presStyleLbl="alignAccFollowNode1" presStyleIdx="3" presStyleCnt="4">
        <dgm:presLayoutVars>
          <dgm:bulletEnabled val="1"/>
        </dgm:presLayoutVars>
      </dgm:prSet>
      <dgm:spPr/>
    </dgm:pt>
    <dgm:pt modelId="{A10C0532-1BB1-4A2C-9C2C-3B6164EB25F0}" type="pres">
      <dgm:prSet presAssocID="{ACD540C2-F18C-4E15-A609-0EE5D059E37A}" presName="right_23_1" presStyleLbl="node1" presStyleIdx="0" presStyleCnt="5">
        <dgm:presLayoutVars>
          <dgm:bulletEnabled val="1"/>
        </dgm:presLayoutVars>
      </dgm:prSet>
      <dgm:spPr/>
    </dgm:pt>
    <dgm:pt modelId="{0591EF2E-697A-49BB-9EA5-CA4677821740}" type="pres">
      <dgm:prSet presAssocID="{ACD540C2-F18C-4E15-A609-0EE5D059E37A}" presName="right_23_2" presStyleLbl="node1" presStyleIdx="1" presStyleCnt="5">
        <dgm:presLayoutVars>
          <dgm:bulletEnabled val="1"/>
        </dgm:presLayoutVars>
      </dgm:prSet>
      <dgm:spPr/>
    </dgm:pt>
    <dgm:pt modelId="{88A569EB-DE48-431A-8698-ACF40280EAF9}" type="pres">
      <dgm:prSet presAssocID="{ACD540C2-F18C-4E15-A609-0EE5D059E37A}" presName="right_23_3" presStyleLbl="node1" presStyleIdx="2" presStyleCnt="5">
        <dgm:presLayoutVars>
          <dgm:bulletEnabled val="1"/>
        </dgm:presLayoutVars>
      </dgm:prSet>
      <dgm:spPr/>
    </dgm:pt>
    <dgm:pt modelId="{7B98FBCC-DE8D-4645-BE0F-0D8242C103C9}" type="pres">
      <dgm:prSet presAssocID="{ACD540C2-F18C-4E15-A609-0EE5D059E37A}" presName="left_23_1" presStyleLbl="node1" presStyleIdx="3" presStyleCnt="5">
        <dgm:presLayoutVars>
          <dgm:bulletEnabled val="1"/>
        </dgm:presLayoutVars>
      </dgm:prSet>
      <dgm:spPr/>
    </dgm:pt>
    <dgm:pt modelId="{BA348215-AB0D-4BB6-851A-01369CC8599B}" type="pres">
      <dgm:prSet presAssocID="{ACD540C2-F18C-4E15-A609-0EE5D059E37A}" presName="left_23_2" presStyleLbl="node1" presStyleIdx="4" presStyleCnt="5">
        <dgm:presLayoutVars>
          <dgm:bulletEnabled val="1"/>
        </dgm:presLayoutVars>
      </dgm:prSet>
      <dgm:spPr/>
    </dgm:pt>
  </dgm:ptLst>
  <dgm:cxnLst>
    <dgm:cxn modelId="{CEA45003-175B-4787-9045-4FCD651B6DD0}" type="presOf" srcId="{7466D029-8825-48D5-B6D0-C843D33494DB}" destId="{88A569EB-DE48-431A-8698-ACF40280EAF9}" srcOrd="0" destOrd="0" presId="urn:microsoft.com/office/officeart/2005/8/layout/balance1"/>
    <dgm:cxn modelId="{03611B0C-70BD-406C-A536-22DCC5C7FFD4}" type="presOf" srcId="{59A6B605-86BD-4EF8-BFD0-3486D300677E}" destId="{A10C0532-1BB1-4A2C-9C2C-3B6164EB25F0}" srcOrd="0" destOrd="0" presId="urn:microsoft.com/office/officeart/2005/8/layout/balance1"/>
    <dgm:cxn modelId="{0DC2C00F-3BE2-4E8A-80D9-BBB8E0E94FAF}" srcId="{8728AE54-7CCA-4977-90A8-B4B7AE59ED51}" destId="{32A8C497-C1B7-4B11-AD30-D75DDB7879C4}" srcOrd="0" destOrd="0" parTransId="{23A998B1-6100-4F44-8D71-328A507764E1}" sibTransId="{D1208DB1-2BAD-4ACD-9B84-C928131576C6}"/>
    <dgm:cxn modelId="{009AD717-BA71-40C2-80A8-0B35E2BA9B0E}" srcId="{6E4D1F46-3D67-44A2-887E-9D3B9A1A5F61}" destId="{59A6B605-86BD-4EF8-BFD0-3486D300677E}" srcOrd="0" destOrd="0" parTransId="{72F920EC-153E-400C-9492-FC198D0D6033}" sibTransId="{645AD4C8-0B05-44EF-B397-34A6C97333C7}"/>
    <dgm:cxn modelId="{C0C35E20-D250-4FB8-8486-10F68B3693C7}" srcId="{8728AE54-7CCA-4977-90A8-B4B7AE59ED51}" destId="{D1D3ADD3-4493-4F7B-B303-AF13AD29F364}" srcOrd="1" destOrd="0" parTransId="{B410F407-9F2E-453E-BC86-F8A92D95AAED}" sibTransId="{82FD6769-2473-49F8-9BDD-21B85EF0FFEC}"/>
    <dgm:cxn modelId="{661E7C27-120C-406B-A7AB-95902A1A6EBF}" type="presOf" srcId="{6E4D1F46-3D67-44A2-887E-9D3B9A1A5F61}" destId="{8723E714-029D-4E27-B1F0-28EE46379145}" srcOrd="0" destOrd="0" presId="urn:microsoft.com/office/officeart/2005/8/layout/balance1"/>
    <dgm:cxn modelId="{8F511D5D-7EE3-48F1-A8C6-1AAD7F5FF2EA}" srcId="{6E4D1F46-3D67-44A2-887E-9D3B9A1A5F61}" destId="{88DED8D5-308E-487A-B9C5-CF2B39F7C8D6}" srcOrd="1" destOrd="0" parTransId="{545241E7-10AA-4DEE-B53D-955CA1DB1EB1}" sibTransId="{64E00413-6CAE-4DA4-9FB6-041DB9427844}"/>
    <dgm:cxn modelId="{F21B4054-7947-45E9-9231-3AD14DD589B9}" type="presOf" srcId="{88DED8D5-308E-487A-B9C5-CF2B39F7C8D6}" destId="{0591EF2E-697A-49BB-9EA5-CA4677821740}" srcOrd="0" destOrd="0" presId="urn:microsoft.com/office/officeart/2005/8/layout/balance1"/>
    <dgm:cxn modelId="{EF1F238A-5456-4C6F-87D2-F0AE96212DD3}" type="presOf" srcId="{ACD540C2-F18C-4E15-A609-0EE5D059E37A}" destId="{D0531D0D-9AB9-4406-B848-C0F2D81BAE5A}" srcOrd="0" destOrd="0" presId="urn:microsoft.com/office/officeart/2005/8/layout/balance1"/>
    <dgm:cxn modelId="{5CE1B48A-D1E9-43B6-BA0E-5B4C4383CE4D}" type="presOf" srcId="{D1D3ADD3-4493-4F7B-B303-AF13AD29F364}" destId="{BA348215-AB0D-4BB6-851A-01369CC8599B}" srcOrd="0" destOrd="0" presId="urn:microsoft.com/office/officeart/2005/8/layout/balance1"/>
    <dgm:cxn modelId="{36B139A0-0E43-409D-8B09-5AD6EFDEE1E8}" srcId="{ACD540C2-F18C-4E15-A609-0EE5D059E37A}" destId="{6E4D1F46-3D67-44A2-887E-9D3B9A1A5F61}" srcOrd="1" destOrd="0" parTransId="{3F2C1C7A-4969-43AC-9C84-581F204CBA40}" sibTransId="{4B61F9C2-53FE-4ACF-8D7F-1CA125D7FD64}"/>
    <dgm:cxn modelId="{C494B1BD-9444-45CF-866C-B6E26A4D0C66}" srcId="{6E4D1F46-3D67-44A2-887E-9D3B9A1A5F61}" destId="{7466D029-8825-48D5-B6D0-C843D33494DB}" srcOrd="2" destOrd="0" parTransId="{CA4088D5-5386-4A44-A757-0D01EDE8EAC3}" sibTransId="{FD6D4BD4-2D2D-4A9B-B102-A727CEB43CEF}"/>
    <dgm:cxn modelId="{A9B256D4-E421-497E-B0B2-5FCECBEE79E3}" srcId="{ACD540C2-F18C-4E15-A609-0EE5D059E37A}" destId="{8728AE54-7CCA-4977-90A8-B4B7AE59ED51}" srcOrd="0" destOrd="0" parTransId="{BE980016-5D4A-4A3C-AE6B-77359B5F9666}" sibTransId="{8FA8C6BE-2EB0-43D3-8468-0EBDE967B810}"/>
    <dgm:cxn modelId="{8D92E8DA-1F7E-4FD2-B916-CD7959D41E90}" type="presOf" srcId="{8728AE54-7CCA-4977-90A8-B4B7AE59ED51}" destId="{6663EA82-B268-4E15-85C8-3CECF8A3710B}" srcOrd="0" destOrd="0" presId="urn:microsoft.com/office/officeart/2005/8/layout/balance1"/>
    <dgm:cxn modelId="{4580DAE7-B8F5-4533-8EE4-A6290D9073B9}" type="presOf" srcId="{32A8C497-C1B7-4B11-AD30-D75DDB7879C4}" destId="{7B98FBCC-DE8D-4645-BE0F-0D8242C103C9}" srcOrd="0" destOrd="0" presId="urn:microsoft.com/office/officeart/2005/8/layout/balance1"/>
    <dgm:cxn modelId="{0BE046A1-3166-4A44-8411-CE8E2C83F70E}" type="presParOf" srcId="{D0531D0D-9AB9-4406-B848-C0F2D81BAE5A}" destId="{8F4F780C-2390-4288-8022-C8F55492C202}" srcOrd="0" destOrd="0" presId="urn:microsoft.com/office/officeart/2005/8/layout/balance1"/>
    <dgm:cxn modelId="{C852C3F0-46D0-4A8E-B813-D12EB8F6BF6D}" type="presParOf" srcId="{D0531D0D-9AB9-4406-B848-C0F2D81BAE5A}" destId="{8BD93279-CA91-432D-8DE6-C0C3D031FF61}" srcOrd="1" destOrd="0" presId="urn:microsoft.com/office/officeart/2005/8/layout/balance1"/>
    <dgm:cxn modelId="{FC993B2B-C3DD-4FF5-8937-29D9A098E77C}" type="presParOf" srcId="{8BD93279-CA91-432D-8DE6-C0C3D031FF61}" destId="{6663EA82-B268-4E15-85C8-3CECF8A3710B}" srcOrd="0" destOrd="0" presId="urn:microsoft.com/office/officeart/2005/8/layout/balance1"/>
    <dgm:cxn modelId="{E42AFA2A-F1A8-4C8D-9611-EADEF4B89975}" type="presParOf" srcId="{8BD93279-CA91-432D-8DE6-C0C3D031FF61}" destId="{8723E714-029D-4E27-B1F0-28EE46379145}" srcOrd="1" destOrd="0" presId="urn:microsoft.com/office/officeart/2005/8/layout/balance1"/>
    <dgm:cxn modelId="{6F76B6BE-7C37-4472-9D60-3E10DA799372}" type="presParOf" srcId="{D0531D0D-9AB9-4406-B848-C0F2D81BAE5A}" destId="{A39B0400-CF71-4A07-822E-85A109C485EC}" srcOrd="2" destOrd="0" presId="urn:microsoft.com/office/officeart/2005/8/layout/balance1"/>
    <dgm:cxn modelId="{37DD10ED-A77E-409A-99FE-40A1F570C02B}" type="presParOf" srcId="{A39B0400-CF71-4A07-822E-85A109C485EC}" destId="{1D381BE8-BF6A-4809-83FA-110E62962279}" srcOrd="0" destOrd="0" presId="urn:microsoft.com/office/officeart/2005/8/layout/balance1"/>
    <dgm:cxn modelId="{23A813B7-AB6B-43D0-87E6-29268ABC186E}" type="presParOf" srcId="{A39B0400-CF71-4A07-822E-85A109C485EC}" destId="{999ADF98-776D-4FD9-B5F5-A6BD154C74F4}" srcOrd="1" destOrd="0" presId="urn:microsoft.com/office/officeart/2005/8/layout/balance1"/>
    <dgm:cxn modelId="{BAA4C3A8-D5BA-4BCC-BE8B-E0AAFAB1ED3E}" type="presParOf" srcId="{A39B0400-CF71-4A07-822E-85A109C485EC}" destId="{289F124A-30DB-4E31-8019-D61B3F9A2843}" srcOrd="2" destOrd="0" presId="urn:microsoft.com/office/officeart/2005/8/layout/balance1"/>
    <dgm:cxn modelId="{173BE2E0-3FAE-4C1E-874E-17A4C605C7A2}" type="presParOf" srcId="{A39B0400-CF71-4A07-822E-85A109C485EC}" destId="{A10C0532-1BB1-4A2C-9C2C-3B6164EB25F0}" srcOrd="3" destOrd="0" presId="urn:microsoft.com/office/officeart/2005/8/layout/balance1"/>
    <dgm:cxn modelId="{A66858F4-310D-4116-A537-B0F1FFC82D7B}" type="presParOf" srcId="{A39B0400-CF71-4A07-822E-85A109C485EC}" destId="{0591EF2E-697A-49BB-9EA5-CA4677821740}" srcOrd="4" destOrd="0" presId="urn:microsoft.com/office/officeart/2005/8/layout/balance1"/>
    <dgm:cxn modelId="{C3BCC72E-92EE-4550-864A-685EB8005FAA}" type="presParOf" srcId="{A39B0400-CF71-4A07-822E-85A109C485EC}" destId="{88A569EB-DE48-431A-8698-ACF40280EAF9}" srcOrd="5" destOrd="0" presId="urn:microsoft.com/office/officeart/2005/8/layout/balance1"/>
    <dgm:cxn modelId="{7E9461BC-43D6-4F5C-BE9E-48100AFB6B8C}" type="presParOf" srcId="{A39B0400-CF71-4A07-822E-85A109C485EC}" destId="{7B98FBCC-DE8D-4645-BE0F-0D8242C103C9}" srcOrd="6" destOrd="0" presId="urn:microsoft.com/office/officeart/2005/8/layout/balance1"/>
    <dgm:cxn modelId="{BFD3B731-35F1-4934-A632-FE086CF0A710}" type="presParOf" srcId="{A39B0400-CF71-4A07-822E-85A109C485EC}" destId="{BA348215-AB0D-4BB6-851A-01369CC8599B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F9AC16-7597-456D-A8A6-2D7E39BA552B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DE"/>
        </a:p>
      </dgm:t>
    </dgm:pt>
    <dgm:pt modelId="{6F992B14-61A4-40BC-B295-1BFFC9883640}">
      <dgm:prSet phldrT="[Text]"/>
      <dgm:spPr/>
      <dgm:t>
        <a:bodyPr/>
        <a:lstStyle/>
        <a:p>
          <a:r>
            <a:rPr lang="en-GB" dirty="0"/>
            <a:t>Alessandra Fuzco </a:t>
          </a:r>
          <a:endParaRPr lang="de-DE" dirty="0"/>
        </a:p>
      </dgm:t>
    </dgm:pt>
    <dgm:pt modelId="{452A1269-1ADE-4D14-8C0F-D94E23AC4611}" type="parTrans" cxnId="{38B5ADE2-C083-4574-82E4-6C5F4B0BF9C0}">
      <dgm:prSet/>
      <dgm:spPr/>
      <dgm:t>
        <a:bodyPr/>
        <a:lstStyle/>
        <a:p>
          <a:endParaRPr lang="de-DE"/>
        </a:p>
      </dgm:t>
    </dgm:pt>
    <dgm:pt modelId="{1DC35868-81ED-4472-954A-06C748E3DD4F}" type="sibTrans" cxnId="{38B5ADE2-C083-4574-82E4-6C5F4B0BF9C0}">
      <dgm:prSet/>
      <dgm:spPr/>
      <dgm:t>
        <a:bodyPr/>
        <a:lstStyle/>
        <a:p>
          <a:endParaRPr lang="de-DE"/>
        </a:p>
      </dgm:t>
    </dgm:pt>
    <dgm:pt modelId="{7F2852DC-948B-4305-A9BF-6258CDDB6097}">
      <dgm:prSet phldrT="[Text]"/>
      <dgm:spPr/>
      <dgm:t>
        <a:bodyPr/>
        <a:lstStyle/>
        <a:p>
          <a:r>
            <a:rPr lang="de-DE" dirty="0"/>
            <a:t>Using PPG as a prevention tool</a:t>
          </a:r>
        </a:p>
      </dgm:t>
    </dgm:pt>
    <dgm:pt modelId="{A0F4BEE1-C7F5-40B4-93B5-7AA56F6474BC}" type="parTrans" cxnId="{37373E05-9D5F-4765-829D-12F103C5725E}">
      <dgm:prSet/>
      <dgm:spPr/>
      <dgm:t>
        <a:bodyPr/>
        <a:lstStyle/>
        <a:p>
          <a:endParaRPr lang="de-DE"/>
        </a:p>
      </dgm:t>
    </dgm:pt>
    <dgm:pt modelId="{697F3D18-3E52-4874-BF91-7CE6EB010A1B}" type="sibTrans" cxnId="{37373E05-9D5F-4765-829D-12F103C5725E}">
      <dgm:prSet/>
      <dgm:spPr/>
      <dgm:t>
        <a:bodyPr/>
        <a:lstStyle/>
        <a:p>
          <a:endParaRPr lang="de-DE"/>
        </a:p>
      </dgm:t>
    </dgm:pt>
    <dgm:pt modelId="{63ABDF0C-8B10-4121-8F9A-5396374E5C44}">
      <dgm:prSet phldrT="[Text]"/>
      <dgm:spPr/>
      <dgm:t>
        <a:bodyPr/>
        <a:lstStyle/>
        <a:p>
          <a:r>
            <a:rPr lang="de-DE" dirty="0"/>
            <a:t>Melissa Romero Martinez</a:t>
          </a:r>
        </a:p>
      </dgm:t>
    </dgm:pt>
    <dgm:pt modelId="{96B76160-EF50-466B-9707-1E4909574DEE}" type="parTrans" cxnId="{6A535B19-9C59-47DC-83B4-70944D6C44A2}">
      <dgm:prSet/>
      <dgm:spPr/>
      <dgm:t>
        <a:bodyPr/>
        <a:lstStyle/>
        <a:p>
          <a:endParaRPr lang="de-DE"/>
        </a:p>
      </dgm:t>
    </dgm:pt>
    <dgm:pt modelId="{98764441-82BC-4DC3-BB37-39E6CEB62FF5}" type="sibTrans" cxnId="{6A535B19-9C59-47DC-83B4-70944D6C44A2}">
      <dgm:prSet/>
      <dgm:spPr/>
      <dgm:t>
        <a:bodyPr/>
        <a:lstStyle/>
        <a:p>
          <a:endParaRPr lang="de-DE"/>
        </a:p>
      </dgm:t>
    </dgm:pt>
    <dgm:pt modelId="{EEFEEBF7-D664-4D54-8497-AD422A9CDFC8}">
      <dgm:prSet phldrT="[Text]"/>
      <dgm:spPr/>
      <dgm:t>
        <a:bodyPr/>
        <a:lstStyle/>
        <a:p>
          <a:r>
            <a:rPr lang="en-GB" dirty="0"/>
            <a:t>PPG signal processing and filtering</a:t>
          </a:r>
          <a:endParaRPr lang="de-DE" dirty="0"/>
        </a:p>
      </dgm:t>
    </dgm:pt>
    <dgm:pt modelId="{7C900B66-DB3C-4A59-B17B-654533529C53}" type="parTrans" cxnId="{63D234F5-233C-448E-BC44-1C84894DBA34}">
      <dgm:prSet/>
      <dgm:spPr/>
      <dgm:t>
        <a:bodyPr/>
        <a:lstStyle/>
        <a:p>
          <a:endParaRPr lang="de-DE"/>
        </a:p>
      </dgm:t>
    </dgm:pt>
    <dgm:pt modelId="{4872BD4C-2622-45B5-85D3-AB74124C1E42}" type="sibTrans" cxnId="{63D234F5-233C-448E-BC44-1C84894DBA34}">
      <dgm:prSet/>
      <dgm:spPr/>
      <dgm:t>
        <a:bodyPr/>
        <a:lstStyle/>
        <a:p>
          <a:endParaRPr lang="de-DE"/>
        </a:p>
      </dgm:t>
    </dgm:pt>
    <dgm:pt modelId="{AFB8C321-88EB-4F39-BA95-E4C19AF3CDFD}">
      <dgm:prSet phldrT="[Text]"/>
      <dgm:spPr/>
      <dgm:t>
        <a:bodyPr/>
        <a:lstStyle/>
        <a:p>
          <a:r>
            <a:rPr lang="en-GB" dirty="0"/>
            <a:t>Eva-Maria Olweiner </a:t>
          </a:r>
          <a:endParaRPr lang="de-DE" dirty="0"/>
        </a:p>
      </dgm:t>
    </dgm:pt>
    <dgm:pt modelId="{0ECF6859-AD05-47B1-A3C8-E576E4A6D0DC}" type="parTrans" cxnId="{764ED3E6-0F39-4B53-BAD8-C0CD0D17E958}">
      <dgm:prSet/>
      <dgm:spPr/>
      <dgm:t>
        <a:bodyPr/>
        <a:lstStyle/>
        <a:p>
          <a:endParaRPr lang="de-DE"/>
        </a:p>
      </dgm:t>
    </dgm:pt>
    <dgm:pt modelId="{C663A68D-7D9C-4A67-80FB-3F62F1D96918}" type="sibTrans" cxnId="{764ED3E6-0F39-4B53-BAD8-C0CD0D17E958}">
      <dgm:prSet/>
      <dgm:spPr/>
      <dgm:t>
        <a:bodyPr/>
        <a:lstStyle/>
        <a:p>
          <a:endParaRPr lang="de-DE"/>
        </a:p>
      </dgm:t>
    </dgm:pt>
    <dgm:pt modelId="{3D8693F5-426D-4B2B-93FD-08B32517C2F2}">
      <dgm:prSet phldrT="[Text]"/>
      <dgm:spPr/>
      <dgm:t>
        <a:bodyPr/>
        <a:lstStyle/>
        <a:p>
          <a:r>
            <a:rPr lang="de-DE" dirty="0"/>
            <a:t>Estimating the BP with Machine Learning</a:t>
          </a:r>
        </a:p>
      </dgm:t>
    </dgm:pt>
    <dgm:pt modelId="{7C9AC252-E62F-4F29-BCA0-1937C5260B71}" type="parTrans" cxnId="{4B24401B-C501-48D1-98CE-6F1587F17D95}">
      <dgm:prSet/>
      <dgm:spPr/>
      <dgm:t>
        <a:bodyPr/>
        <a:lstStyle/>
        <a:p>
          <a:endParaRPr lang="de-DE"/>
        </a:p>
      </dgm:t>
    </dgm:pt>
    <dgm:pt modelId="{6F21CFBC-F1BA-484C-9B31-C9D71731A1AC}" type="sibTrans" cxnId="{4B24401B-C501-48D1-98CE-6F1587F17D95}">
      <dgm:prSet/>
      <dgm:spPr/>
      <dgm:t>
        <a:bodyPr/>
        <a:lstStyle/>
        <a:p>
          <a:endParaRPr lang="de-DE"/>
        </a:p>
      </dgm:t>
    </dgm:pt>
    <dgm:pt modelId="{CE765133-9FB3-4A83-BC10-A6088251A920}">
      <dgm:prSet phldrT="[Text]"/>
      <dgm:spPr/>
      <dgm:t>
        <a:bodyPr/>
        <a:lstStyle/>
        <a:p>
          <a:r>
            <a:rPr lang="de-DE" dirty="0"/>
            <a:t>Fast Fourrier Algorithm Transform</a:t>
          </a:r>
        </a:p>
      </dgm:t>
    </dgm:pt>
    <dgm:pt modelId="{78751B92-B56F-4629-A397-E0BA4EE79B91}" type="parTrans" cxnId="{C09D6AC0-7DA0-4B97-AD48-3AFEE1770AC4}">
      <dgm:prSet/>
      <dgm:spPr/>
      <dgm:t>
        <a:bodyPr/>
        <a:lstStyle/>
        <a:p>
          <a:endParaRPr lang="de-DE"/>
        </a:p>
      </dgm:t>
    </dgm:pt>
    <dgm:pt modelId="{1255D1E6-3D8A-4081-80E0-61965CA152B0}" type="sibTrans" cxnId="{C09D6AC0-7DA0-4B97-AD48-3AFEE1770AC4}">
      <dgm:prSet/>
      <dgm:spPr/>
      <dgm:t>
        <a:bodyPr/>
        <a:lstStyle/>
        <a:p>
          <a:endParaRPr lang="de-DE"/>
        </a:p>
      </dgm:t>
    </dgm:pt>
    <dgm:pt modelId="{E69CDD9E-BC23-45B6-98C3-E9FF65F24581}">
      <dgm:prSet phldrT="[Text]"/>
      <dgm:spPr/>
      <dgm:t>
        <a:bodyPr/>
        <a:lstStyle/>
        <a:p>
          <a:r>
            <a:rPr lang="de-DE" dirty="0"/>
            <a:t>Detailed approach to the PALS cardiac parameters</a:t>
          </a:r>
        </a:p>
      </dgm:t>
    </dgm:pt>
    <dgm:pt modelId="{045326AB-1DF0-460F-9015-A450BA28C066}" type="parTrans" cxnId="{5E11AC72-9454-43CE-B805-4EA921B9B963}">
      <dgm:prSet/>
      <dgm:spPr/>
      <dgm:t>
        <a:bodyPr/>
        <a:lstStyle/>
        <a:p>
          <a:endParaRPr lang="de-DE"/>
        </a:p>
      </dgm:t>
    </dgm:pt>
    <dgm:pt modelId="{D4427271-FCB8-480B-AD02-19C9C72AE89A}" type="sibTrans" cxnId="{5E11AC72-9454-43CE-B805-4EA921B9B963}">
      <dgm:prSet/>
      <dgm:spPr/>
      <dgm:t>
        <a:bodyPr/>
        <a:lstStyle/>
        <a:p>
          <a:endParaRPr lang="de-DE"/>
        </a:p>
      </dgm:t>
    </dgm:pt>
    <dgm:pt modelId="{FC738B3E-8DCE-4663-A6C7-949470038793}">
      <dgm:prSet phldrT="[Text]"/>
      <dgm:spPr/>
      <dgm:t>
        <a:bodyPr/>
        <a:lstStyle/>
        <a:p>
          <a:r>
            <a:rPr lang="de-DE" dirty="0"/>
            <a:t>Homogeneous group training</a:t>
          </a:r>
        </a:p>
      </dgm:t>
    </dgm:pt>
    <dgm:pt modelId="{DF56B70B-BBE7-44F4-AB53-D887C8582FA0}" type="parTrans" cxnId="{6EE7C714-1629-4FC1-96DC-6C55A3F9F61A}">
      <dgm:prSet/>
      <dgm:spPr/>
      <dgm:t>
        <a:bodyPr/>
        <a:lstStyle/>
        <a:p>
          <a:endParaRPr lang="de-DE"/>
        </a:p>
      </dgm:t>
    </dgm:pt>
    <dgm:pt modelId="{F79EEC3C-4D5B-4558-A3EB-E0305F6758DE}" type="sibTrans" cxnId="{6EE7C714-1629-4FC1-96DC-6C55A3F9F61A}">
      <dgm:prSet/>
      <dgm:spPr/>
      <dgm:t>
        <a:bodyPr/>
        <a:lstStyle/>
        <a:p>
          <a:endParaRPr lang="de-DE"/>
        </a:p>
      </dgm:t>
    </dgm:pt>
    <dgm:pt modelId="{237ED027-5E04-4A53-8682-BA675A2A6E05}" type="pres">
      <dgm:prSet presAssocID="{91F9AC16-7597-456D-A8A6-2D7E39BA552B}" presName="rootnode" presStyleCnt="0">
        <dgm:presLayoutVars>
          <dgm:chMax/>
          <dgm:chPref/>
          <dgm:dir/>
          <dgm:animLvl val="lvl"/>
        </dgm:presLayoutVars>
      </dgm:prSet>
      <dgm:spPr/>
    </dgm:pt>
    <dgm:pt modelId="{559927C2-267A-48BC-8F2B-B52DCE3FBE3C}" type="pres">
      <dgm:prSet presAssocID="{6F992B14-61A4-40BC-B295-1BFFC9883640}" presName="composite" presStyleCnt="0"/>
      <dgm:spPr/>
    </dgm:pt>
    <dgm:pt modelId="{4A7D4A98-75C1-45F0-8660-054E0D99115F}" type="pres">
      <dgm:prSet presAssocID="{6F992B14-61A4-40BC-B295-1BFFC9883640}" presName="bentUpArrow1" presStyleLbl="alignImgPlace1" presStyleIdx="0" presStyleCnt="2"/>
      <dgm:spPr/>
    </dgm:pt>
    <dgm:pt modelId="{739B18EB-4549-476A-A139-9903737FDC00}" type="pres">
      <dgm:prSet presAssocID="{6F992B14-61A4-40BC-B295-1BFFC9883640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AE8F7F8A-57F2-4B60-87C2-8E224EFB33C2}" type="pres">
      <dgm:prSet presAssocID="{6F992B14-61A4-40BC-B295-1BFFC9883640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9BAE37FA-A4EF-46AB-B0F7-43295FB87BDE}" type="pres">
      <dgm:prSet presAssocID="{1DC35868-81ED-4472-954A-06C748E3DD4F}" presName="sibTrans" presStyleCnt="0"/>
      <dgm:spPr/>
    </dgm:pt>
    <dgm:pt modelId="{95235071-58B8-4FBF-8C7F-90CB8CBCBFF7}" type="pres">
      <dgm:prSet presAssocID="{63ABDF0C-8B10-4121-8F9A-5396374E5C44}" presName="composite" presStyleCnt="0"/>
      <dgm:spPr/>
    </dgm:pt>
    <dgm:pt modelId="{CFB406B9-2F61-4C8E-9E48-5B293209B92B}" type="pres">
      <dgm:prSet presAssocID="{63ABDF0C-8B10-4121-8F9A-5396374E5C44}" presName="bentUpArrow1" presStyleLbl="alignImgPlace1" presStyleIdx="1" presStyleCnt="2"/>
      <dgm:spPr/>
    </dgm:pt>
    <dgm:pt modelId="{4FA3AF1A-D46B-4AAA-9733-1FD5BBD5EDD9}" type="pres">
      <dgm:prSet presAssocID="{63ABDF0C-8B10-4121-8F9A-5396374E5C44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81C8216-86BA-44C1-B9EA-C51695EBE431}" type="pres">
      <dgm:prSet presAssocID="{63ABDF0C-8B10-4121-8F9A-5396374E5C44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60537137-BA5E-42F5-89C1-741CC02D936D}" type="pres">
      <dgm:prSet presAssocID="{98764441-82BC-4DC3-BB37-39E6CEB62FF5}" presName="sibTrans" presStyleCnt="0"/>
      <dgm:spPr/>
    </dgm:pt>
    <dgm:pt modelId="{35D98207-D8BF-4B3E-9D41-8FB785726F79}" type="pres">
      <dgm:prSet presAssocID="{AFB8C321-88EB-4F39-BA95-E4C19AF3CDFD}" presName="composite" presStyleCnt="0"/>
      <dgm:spPr/>
    </dgm:pt>
    <dgm:pt modelId="{E828388F-92BC-420C-B3B2-410164A4305B}" type="pres">
      <dgm:prSet presAssocID="{AFB8C321-88EB-4F39-BA95-E4C19AF3CDFD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  <dgm:pt modelId="{456375FE-6009-4851-92CC-652FFFCDF33B}" type="pres">
      <dgm:prSet presAssocID="{AFB8C321-88EB-4F39-BA95-E4C19AF3CDFD}" presName="FinalChild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7373E05-9D5F-4765-829D-12F103C5725E}" srcId="{6F992B14-61A4-40BC-B295-1BFFC9883640}" destId="{7F2852DC-948B-4305-A9BF-6258CDDB6097}" srcOrd="0" destOrd="0" parTransId="{A0F4BEE1-C7F5-40B4-93B5-7AA56F6474BC}" sibTransId="{697F3D18-3E52-4874-BF91-7CE6EB010A1B}"/>
    <dgm:cxn modelId="{6EE7C714-1629-4FC1-96DC-6C55A3F9F61A}" srcId="{AFB8C321-88EB-4F39-BA95-E4C19AF3CDFD}" destId="{FC738B3E-8DCE-4663-A6C7-949470038793}" srcOrd="1" destOrd="0" parTransId="{DF56B70B-BBE7-44F4-AB53-D887C8582FA0}" sibTransId="{F79EEC3C-4D5B-4558-A3EB-E0305F6758DE}"/>
    <dgm:cxn modelId="{6A535B19-9C59-47DC-83B4-70944D6C44A2}" srcId="{91F9AC16-7597-456D-A8A6-2D7E39BA552B}" destId="{63ABDF0C-8B10-4121-8F9A-5396374E5C44}" srcOrd="1" destOrd="0" parTransId="{96B76160-EF50-466B-9707-1E4909574DEE}" sibTransId="{98764441-82BC-4DC3-BB37-39E6CEB62FF5}"/>
    <dgm:cxn modelId="{4B24401B-C501-48D1-98CE-6F1587F17D95}" srcId="{AFB8C321-88EB-4F39-BA95-E4C19AF3CDFD}" destId="{3D8693F5-426D-4B2B-93FD-08B32517C2F2}" srcOrd="0" destOrd="0" parTransId="{7C9AC252-E62F-4F29-BCA0-1937C5260B71}" sibTransId="{6F21CFBC-F1BA-484C-9B31-C9D71731A1AC}"/>
    <dgm:cxn modelId="{C9932F69-2D46-477C-8E37-B29804B9D713}" type="presOf" srcId="{7F2852DC-948B-4305-A9BF-6258CDDB6097}" destId="{AE8F7F8A-57F2-4B60-87C2-8E224EFB33C2}" srcOrd="0" destOrd="0" presId="urn:microsoft.com/office/officeart/2005/8/layout/StepDownProcess"/>
    <dgm:cxn modelId="{1B6D614B-FAE0-49B8-8C2F-71A9A8AD50DD}" type="presOf" srcId="{FC738B3E-8DCE-4663-A6C7-949470038793}" destId="{456375FE-6009-4851-92CC-652FFFCDF33B}" srcOrd="0" destOrd="1" presId="urn:microsoft.com/office/officeart/2005/8/layout/StepDownProcess"/>
    <dgm:cxn modelId="{5E11AC72-9454-43CE-B805-4EA921B9B963}" srcId="{63ABDF0C-8B10-4121-8F9A-5396374E5C44}" destId="{E69CDD9E-BC23-45B6-98C3-E9FF65F24581}" srcOrd="1" destOrd="0" parTransId="{045326AB-1DF0-460F-9015-A450BA28C066}" sibTransId="{D4427271-FCB8-480B-AD02-19C9C72AE89A}"/>
    <dgm:cxn modelId="{DC3AAD53-A40B-4A44-9D1F-9DEDFEE0682C}" type="presOf" srcId="{AFB8C321-88EB-4F39-BA95-E4C19AF3CDFD}" destId="{E828388F-92BC-420C-B3B2-410164A4305B}" srcOrd="0" destOrd="0" presId="urn:microsoft.com/office/officeart/2005/8/layout/StepDownProcess"/>
    <dgm:cxn modelId="{3DD8907C-570A-4883-8F4F-9AEBC4924CD4}" type="presOf" srcId="{63ABDF0C-8B10-4121-8F9A-5396374E5C44}" destId="{4FA3AF1A-D46B-4AAA-9733-1FD5BBD5EDD9}" srcOrd="0" destOrd="0" presId="urn:microsoft.com/office/officeart/2005/8/layout/StepDownProcess"/>
    <dgm:cxn modelId="{B726907F-F694-4515-B808-29C0E9EFC7ED}" type="presOf" srcId="{6F992B14-61A4-40BC-B295-1BFFC9883640}" destId="{739B18EB-4549-476A-A139-9903737FDC00}" srcOrd="0" destOrd="0" presId="urn:microsoft.com/office/officeart/2005/8/layout/StepDownProcess"/>
    <dgm:cxn modelId="{8BA02DA3-ED4F-404E-B951-C02184E28FB5}" type="presOf" srcId="{EEFEEBF7-D664-4D54-8497-AD422A9CDFC8}" destId="{B81C8216-86BA-44C1-B9EA-C51695EBE431}" srcOrd="0" destOrd="0" presId="urn:microsoft.com/office/officeart/2005/8/layout/StepDownProcess"/>
    <dgm:cxn modelId="{C09D6AC0-7DA0-4B97-AD48-3AFEE1770AC4}" srcId="{6F992B14-61A4-40BC-B295-1BFFC9883640}" destId="{CE765133-9FB3-4A83-BC10-A6088251A920}" srcOrd="1" destOrd="0" parTransId="{78751B92-B56F-4629-A397-E0BA4EE79B91}" sibTransId="{1255D1E6-3D8A-4081-80E0-61965CA152B0}"/>
    <dgm:cxn modelId="{64BE12C6-8ED3-4992-8174-98F5CF132572}" type="presOf" srcId="{CE765133-9FB3-4A83-BC10-A6088251A920}" destId="{AE8F7F8A-57F2-4B60-87C2-8E224EFB33C2}" srcOrd="0" destOrd="1" presId="urn:microsoft.com/office/officeart/2005/8/layout/StepDownProcess"/>
    <dgm:cxn modelId="{89A2FCCD-DD74-4516-8B78-30F693EDDC9D}" type="presOf" srcId="{3D8693F5-426D-4B2B-93FD-08B32517C2F2}" destId="{456375FE-6009-4851-92CC-652FFFCDF33B}" srcOrd="0" destOrd="0" presId="urn:microsoft.com/office/officeart/2005/8/layout/StepDownProcess"/>
    <dgm:cxn modelId="{2F2B80D7-B3CA-40FA-B8C1-5FA1C29B6255}" type="presOf" srcId="{E69CDD9E-BC23-45B6-98C3-E9FF65F24581}" destId="{B81C8216-86BA-44C1-B9EA-C51695EBE431}" srcOrd="0" destOrd="1" presId="urn:microsoft.com/office/officeart/2005/8/layout/StepDownProcess"/>
    <dgm:cxn modelId="{5D2782DC-22C9-4A9F-B194-85011BD5A2E4}" type="presOf" srcId="{91F9AC16-7597-456D-A8A6-2D7E39BA552B}" destId="{237ED027-5E04-4A53-8682-BA675A2A6E05}" srcOrd="0" destOrd="0" presId="urn:microsoft.com/office/officeart/2005/8/layout/StepDownProcess"/>
    <dgm:cxn modelId="{38B5ADE2-C083-4574-82E4-6C5F4B0BF9C0}" srcId="{91F9AC16-7597-456D-A8A6-2D7E39BA552B}" destId="{6F992B14-61A4-40BC-B295-1BFFC9883640}" srcOrd="0" destOrd="0" parTransId="{452A1269-1ADE-4D14-8C0F-D94E23AC4611}" sibTransId="{1DC35868-81ED-4472-954A-06C748E3DD4F}"/>
    <dgm:cxn modelId="{764ED3E6-0F39-4B53-BAD8-C0CD0D17E958}" srcId="{91F9AC16-7597-456D-A8A6-2D7E39BA552B}" destId="{AFB8C321-88EB-4F39-BA95-E4C19AF3CDFD}" srcOrd="2" destOrd="0" parTransId="{0ECF6859-AD05-47B1-A3C8-E576E4A6D0DC}" sibTransId="{C663A68D-7D9C-4A67-80FB-3F62F1D96918}"/>
    <dgm:cxn modelId="{63D234F5-233C-448E-BC44-1C84894DBA34}" srcId="{63ABDF0C-8B10-4121-8F9A-5396374E5C44}" destId="{EEFEEBF7-D664-4D54-8497-AD422A9CDFC8}" srcOrd="0" destOrd="0" parTransId="{7C900B66-DB3C-4A59-B17B-654533529C53}" sibTransId="{4872BD4C-2622-45B5-85D3-AB74124C1E42}"/>
    <dgm:cxn modelId="{FDB78206-14EF-4BAE-852B-EF9C0564D194}" type="presParOf" srcId="{237ED027-5E04-4A53-8682-BA675A2A6E05}" destId="{559927C2-267A-48BC-8F2B-B52DCE3FBE3C}" srcOrd="0" destOrd="0" presId="urn:microsoft.com/office/officeart/2005/8/layout/StepDownProcess"/>
    <dgm:cxn modelId="{01F03CCE-5A65-4BF7-8E2C-5D5735533785}" type="presParOf" srcId="{559927C2-267A-48BC-8F2B-B52DCE3FBE3C}" destId="{4A7D4A98-75C1-45F0-8660-054E0D99115F}" srcOrd="0" destOrd="0" presId="urn:microsoft.com/office/officeart/2005/8/layout/StepDownProcess"/>
    <dgm:cxn modelId="{C0C92398-5BAB-41CD-B221-A11A43532C26}" type="presParOf" srcId="{559927C2-267A-48BC-8F2B-B52DCE3FBE3C}" destId="{739B18EB-4549-476A-A139-9903737FDC00}" srcOrd="1" destOrd="0" presId="urn:microsoft.com/office/officeart/2005/8/layout/StepDownProcess"/>
    <dgm:cxn modelId="{73DCEDC9-4DC6-4658-AAEA-DB1DBA19CA20}" type="presParOf" srcId="{559927C2-267A-48BC-8F2B-B52DCE3FBE3C}" destId="{AE8F7F8A-57F2-4B60-87C2-8E224EFB33C2}" srcOrd="2" destOrd="0" presId="urn:microsoft.com/office/officeart/2005/8/layout/StepDownProcess"/>
    <dgm:cxn modelId="{D013594F-6EF3-4A6F-A4ED-6A939A89DE0C}" type="presParOf" srcId="{237ED027-5E04-4A53-8682-BA675A2A6E05}" destId="{9BAE37FA-A4EF-46AB-B0F7-43295FB87BDE}" srcOrd="1" destOrd="0" presId="urn:microsoft.com/office/officeart/2005/8/layout/StepDownProcess"/>
    <dgm:cxn modelId="{8C8315FB-8710-4303-BE9D-368ECAD6640C}" type="presParOf" srcId="{237ED027-5E04-4A53-8682-BA675A2A6E05}" destId="{95235071-58B8-4FBF-8C7F-90CB8CBCBFF7}" srcOrd="2" destOrd="0" presId="urn:microsoft.com/office/officeart/2005/8/layout/StepDownProcess"/>
    <dgm:cxn modelId="{7E245715-4B7D-493F-988F-BC954F4C6714}" type="presParOf" srcId="{95235071-58B8-4FBF-8C7F-90CB8CBCBFF7}" destId="{CFB406B9-2F61-4C8E-9E48-5B293209B92B}" srcOrd="0" destOrd="0" presId="urn:microsoft.com/office/officeart/2005/8/layout/StepDownProcess"/>
    <dgm:cxn modelId="{C30A6103-9447-4254-80F8-8EEE9E6AEAF3}" type="presParOf" srcId="{95235071-58B8-4FBF-8C7F-90CB8CBCBFF7}" destId="{4FA3AF1A-D46B-4AAA-9733-1FD5BBD5EDD9}" srcOrd="1" destOrd="0" presId="urn:microsoft.com/office/officeart/2005/8/layout/StepDownProcess"/>
    <dgm:cxn modelId="{F288D5ED-C88D-4D58-8D85-E7275B6C32BC}" type="presParOf" srcId="{95235071-58B8-4FBF-8C7F-90CB8CBCBFF7}" destId="{B81C8216-86BA-44C1-B9EA-C51695EBE431}" srcOrd="2" destOrd="0" presId="urn:microsoft.com/office/officeart/2005/8/layout/StepDownProcess"/>
    <dgm:cxn modelId="{883BB3DE-6561-43ED-8553-EBE226F772A7}" type="presParOf" srcId="{237ED027-5E04-4A53-8682-BA675A2A6E05}" destId="{60537137-BA5E-42F5-89C1-741CC02D936D}" srcOrd="3" destOrd="0" presId="urn:microsoft.com/office/officeart/2005/8/layout/StepDownProcess"/>
    <dgm:cxn modelId="{0521CC66-22FE-4EEB-8D04-E44405445046}" type="presParOf" srcId="{237ED027-5E04-4A53-8682-BA675A2A6E05}" destId="{35D98207-D8BF-4B3E-9D41-8FB785726F79}" srcOrd="4" destOrd="0" presId="urn:microsoft.com/office/officeart/2005/8/layout/StepDownProcess"/>
    <dgm:cxn modelId="{5C93B4C1-2FAA-496D-8747-D9BA483ABDDA}" type="presParOf" srcId="{35D98207-D8BF-4B3E-9D41-8FB785726F79}" destId="{E828388F-92BC-420C-B3B2-410164A4305B}" srcOrd="0" destOrd="0" presId="urn:microsoft.com/office/officeart/2005/8/layout/StepDownProcess"/>
    <dgm:cxn modelId="{BE267515-4DFA-4B4F-8F76-C713EB83780D}" type="presParOf" srcId="{35D98207-D8BF-4B3E-9D41-8FB785726F79}" destId="{456375FE-6009-4851-92CC-652FFFCDF33B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EF07074-7F86-0640-ADA9-CD8341C932A1}" type="doc">
      <dgm:prSet loTypeId="urn:microsoft.com/office/officeart/2005/8/layout/chevron1" loCatId="" qsTypeId="urn:microsoft.com/office/officeart/2005/8/quickstyle/simple1" qsCatId="simple" csTypeId="urn:microsoft.com/office/officeart/2005/8/colors/colorful3" csCatId="colorful" phldr="1"/>
      <dgm:spPr/>
    </dgm:pt>
    <dgm:pt modelId="{B91723F1-4541-FC40-B7DE-6F914E4ECF7E}">
      <dgm:prSet phldrT="[Text]"/>
      <dgm:spPr>
        <a:xfrm>
          <a:off x="896" y="461319"/>
          <a:ext cx="1092239" cy="436895"/>
        </a:xfrm>
        <a:prstGeom prst="chevron">
          <a:avLst/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lectrical circuit</a:t>
          </a:r>
        </a:p>
      </dgm:t>
    </dgm:pt>
    <dgm:pt modelId="{9D9F930D-E5B3-9C40-BC83-DD874B61DBC8}" type="parTrans" cxnId="{13D577A2-8CB6-D841-8A61-097F8B1850AB}">
      <dgm:prSet/>
      <dgm:spPr/>
      <dgm:t>
        <a:bodyPr/>
        <a:lstStyle/>
        <a:p>
          <a:endParaRPr lang="en-GB"/>
        </a:p>
      </dgm:t>
    </dgm:pt>
    <dgm:pt modelId="{C4326224-9141-A547-A6E6-E207ADEA11CC}" type="sibTrans" cxnId="{13D577A2-8CB6-D841-8A61-097F8B1850AB}">
      <dgm:prSet/>
      <dgm:spPr/>
      <dgm:t>
        <a:bodyPr/>
        <a:lstStyle/>
        <a:p>
          <a:endParaRPr lang="en-GB"/>
        </a:p>
      </dgm:t>
    </dgm:pt>
    <dgm:pt modelId="{547B9FCF-B1F4-E846-B316-A3D7C8C2DAB9}">
      <dgm:prSet phldrT="[Text]"/>
      <dgm:spPr>
        <a:xfrm>
          <a:off x="983912" y="461319"/>
          <a:ext cx="1092239" cy="436895"/>
        </a:xfrm>
        <a:prstGeom prst="chevron">
          <a:avLst/>
        </a:prstGeom>
        <a:solidFill>
          <a:srgbClr val="A5A5A5">
            <a:hueOff val="1355300"/>
            <a:satOff val="50000"/>
            <a:lumOff val="-735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D and Sensor</a:t>
          </a:r>
        </a:p>
      </dgm:t>
    </dgm:pt>
    <dgm:pt modelId="{DE9768EB-B665-354B-B683-22C4D5D32EF0}" type="parTrans" cxnId="{35F2B90E-2A56-3F48-B57C-8E7A84FE3E5B}">
      <dgm:prSet/>
      <dgm:spPr/>
      <dgm:t>
        <a:bodyPr/>
        <a:lstStyle/>
        <a:p>
          <a:endParaRPr lang="en-GB"/>
        </a:p>
      </dgm:t>
    </dgm:pt>
    <dgm:pt modelId="{4DE1911E-60CF-2A46-8380-F8B816EEFB75}" type="sibTrans" cxnId="{35F2B90E-2A56-3F48-B57C-8E7A84FE3E5B}">
      <dgm:prSet/>
      <dgm:spPr/>
      <dgm:t>
        <a:bodyPr/>
        <a:lstStyle/>
        <a:p>
          <a:endParaRPr lang="en-GB"/>
        </a:p>
      </dgm:t>
    </dgm:pt>
    <dgm:pt modelId="{6A277023-91BE-B840-855D-0E93D5AE6098}">
      <dgm:prSet phldrT="[Text]"/>
      <dgm:spPr>
        <a:xfrm>
          <a:off x="1966928" y="461319"/>
          <a:ext cx="1092239" cy="436895"/>
        </a:xfrm>
        <a:prstGeom prst="chevron">
          <a:avLst/>
        </a:prstGeom>
        <a:solidFill>
          <a:srgbClr val="A5A5A5">
            <a:hueOff val="2710599"/>
            <a:satOff val="100000"/>
            <a:lumOff val="-1470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Processing and Visualisation Software</a:t>
          </a:r>
        </a:p>
      </dgm:t>
    </dgm:pt>
    <dgm:pt modelId="{276380C0-0C54-A640-88E2-A75F97EDA2B8}" type="parTrans" cxnId="{1D042D07-9DE3-5640-A0C1-467DC2A9B5E0}">
      <dgm:prSet/>
      <dgm:spPr/>
      <dgm:t>
        <a:bodyPr/>
        <a:lstStyle/>
        <a:p>
          <a:endParaRPr lang="en-GB"/>
        </a:p>
      </dgm:t>
    </dgm:pt>
    <dgm:pt modelId="{29DAE022-E8AF-174A-9F28-D76FA0EC8657}" type="sibTrans" cxnId="{1D042D07-9DE3-5640-A0C1-467DC2A9B5E0}">
      <dgm:prSet/>
      <dgm:spPr/>
      <dgm:t>
        <a:bodyPr/>
        <a:lstStyle/>
        <a:p>
          <a:endParaRPr lang="en-GB"/>
        </a:p>
      </dgm:t>
    </dgm:pt>
    <dgm:pt modelId="{69904020-DC87-B549-823E-002747E05841}" type="pres">
      <dgm:prSet presAssocID="{AEF07074-7F86-0640-ADA9-CD8341C932A1}" presName="Name0" presStyleCnt="0">
        <dgm:presLayoutVars>
          <dgm:dir/>
          <dgm:animLvl val="lvl"/>
          <dgm:resizeHandles val="exact"/>
        </dgm:presLayoutVars>
      </dgm:prSet>
      <dgm:spPr/>
    </dgm:pt>
    <dgm:pt modelId="{0C66ABC2-26A8-0746-ACC3-9CDB38118AC7}" type="pres">
      <dgm:prSet presAssocID="{B91723F1-4541-FC40-B7DE-6F914E4ECF7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9FD75AB-AF91-4D47-8585-FE124F88C255}" type="pres">
      <dgm:prSet presAssocID="{C4326224-9141-A547-A6E6-E207ADEA11CC}" presName="parTxOnlySpace" presStyleCnt="0"/>
      <dgm:spPr/>
    </dgm:pt>
    <dgm:pt modelId="{17DFCA06-F216-CC4E-A2B4-27E3B974E181}" type="pres">
      <dgm:prSet presAssocID="{547B9FCF-B1F4-E846-B316-A3D7C8C2DAB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1BBC3BA-F5BE-5243-A3A4-A879617121C3}" type="pres">
      <dgm:prSet presAssocID="{4DE1911E-60CF-2A46-8380-F8B816EEFB75}" presName="parTxOnlySpace" presStyleCnt="0"/>
      <dgm:spPr/>
    </dgm:pt>
    <dgm:pt modelId="{CD48BAFD-297E-BB4C-B8C2-901407B9FDBA}" type="pres">
      <dgm:prSet presAssocID="{6A277023-91BE-B840-855D-0E93D5AE609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1D042D07-9DE3-5640-A0C1-467DC2A9B5E0}" srcId="{AEF07074-7F86-0640-ADA9-CD8341C932A1}" destId="{6A277023-91BE-B840-855D-0E93D5AE6098}" srcOrd="2" destOrd="0" parTransId="{276380C0-0C54-A640-88E2-A75F97EDA2B8}" sibTransId="{29DAE022-E8AF-174A-9F28-D76FA0EC8657}"/>
    <dgm:cxn modelId="{35F2B90E-2A56-3F48-B57C-8E7A84FE3E5B}" srcId="{AEF07074-7F86-0640-ADA9-CD8341C932A1}" destId="{547B9FCF-B1F4-E846-B316-A3D7C8C2DAB9}" srcOrd="1" destOrd="0" parTransId="{DE9768EB-B665-354B-B683-22C4D5D32EF0}" sibTransId="{4DE1911E-60CF-2A46-8380-F8B816EEFB75}"/>
    <dgm:cxn modelId="{13D577A2-8CB6-D841-8A61-097F8B1850AB}" srcId="{AEF07074-7F86-0640-ADA9-CD8341C932A1}" destId="{B91723F1-4541-FC40-B7DE-6F914E4ECF7E}" srcOrd="0" destOrd="0" parTransId="{9D9F930D-E5B3-9C40-BC83-DD874B61DBC8}" sibTransId="{C4326224-9141-A547-A6E6-E207ADEA11CC}"/>
    <dgm:cxn modelId="{B01CC1BE-0746-1547-A5CD-CDDDE34CF914}" type="presOf" srcId="{6A277023-91BE-B840-855D-0E93D5AE6098}" destId="{CD48BAFD-297E-BB4C-B8C2-901407B9FDBA}" srcOrd="0" destOrd="0" presId="urn:microsoft.com/office/officeart/2005/8/layout/chevron1"/>
    <dgm:cxn modelId="{36C7AFCA-3F60-7C49-A6B8-9A2BD0A4B77E}" type="presOf" srcId="{AEF07074-7F86-0640-ADA9-CD8341C932A1}" destId="{69904020-DC87-B549-823E-002747E05841}" srcOrd="0" destOrd="0" presId="urn:microsoft.com/office/officeart/2005/8/layout/chevron1"/>
    <dgm:cxn modelId="{7188F6DD-847C-864C-A1FA-522EBEE701E0}" type="presOf" srcId="{547B9FCF-B1F4-E846-B316-A3D7C8C2DAB9}" destId="{17DFCA06-F216-CC4E-A2B4-27E3B974E181}" srcOrd="0" destOrd="0" presId="urn:microsoft.com/office/officeart/2005/8/layout/chevron1"/>
    <dgm:cxn modelId="{702020FB-D6EA-A04F-B0BA-3128C3C446F5}" type="presOf" srcId="{B91723F1-4541-FC40-B7DE-6F914E4ECF7E}" destId="{0C66ABC2-26A8-0746-ACC3-9CDB38118AC7}" srcOrd="0" destOrd="0" presId="urn:microsoft.com/office/officeart/2005/8/layout/chevron1"/>
    <dgm:cxn modelId="{D51DD481-041A-A14C-8674-A502EA098C7F}" type="presParOf" srcId="{69904020-DC87-B549-823E-002747E05841}" destId="{0C66ABC2-26A8-0746-ACC3-9CDB38118AC7}" srcOrd="0" destOrd="0" presId="urn:microsoft.com/office/officeart/2005/8/layout/chevron1"/>
    <dgm:cxn modelId="{F45BCF01-4A9F-6247-BAA6-83A1627D4594}" type="presParOf" srcId="{69904020-DC87-B549-823E-002747E05841}" destId="{99FD75AB-AF91-4D47-8585-FE124F88C255}" srcOrd="1" destOrd="0" presId="urn:microsoft.com/office/officeart/2005/8/layout/chevron1"/>
    <dgm:cxn modelId="{AB3EC0ED-9FE0-8B45-B346-9EFD395C41B1}" type="presParOf" srcId="{69904020-DC87-B549-823E-002747E05841}" destId="{17DFCA06-F216-CC4E-A2B4-27E3B974E181}" srcOrd="2" destOrd="0" presId="urn:microsoft.com/office/officeart/2005/8/layout/chevron1"/>
    <dgm:cxn modelId="{CBF3B39B-8222-4C4C-9B49-312119A250D8}" type="presParOf" srcId="{69904020-DC87-B549-823E-002747E05841}" destId="{61BBC3BA-F5BE-5243-A3A4-A879617121C3}" srcOrd="3" destOrd="0" presId="urn:microsoft.com/office/officeart/2005/8/layout/chevron1"/>
    <dgm:cxn modelId="{4381525C-10EC-D245-95E2-801EB0BCBD99}" type="presParOf" srcId="{69904020-DC87-B549-823E-002747E05841}" destId="{CD48BAFD-297E-BB4C-B8C2-901407B9FDB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EF07074-7F86-0640-ADA9-CD8341C932A1}" type="doc">
      <dgm:prSet loTypeId="urn:microsoft.com/office/officeart/2005/8/layout/chevron1" loCatId="" qsTypeId="urn:microsoft.com/office/officeart/2005/8/quickstyle/simple1" qsCatId="simple" csTypeId="urn:microsoft.com/office/officeart/2005/8/colors/colorful3" csCatId="colorful" phldr="1"/>
      <dgm:spPr/>
    </dgm:pt>
    <dgm:pt modelId="{B91723F1-4541-FC40-B7DE-6F914E4ECF7E}">
      <dgm:prSet phldrT="[Text]"/>
      <dgm:spPr>
        <a:xfrm rot="10800000">
          <a:off x="2096723" y="447221"/>
          <a:ext cx="1164315" cy="465726"/>
        </a:xfrm>
        <a:prstGeom prst="chevron">
          <a:avLst/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UI Background</a:t>
          </a:r>
        </a:p>
      </dgm:t>
    </dgm:pt>
    <dgm:pt modelId="{9D9F930D-E5B3-9C40-BC83-DD874B61DBC8}" type="parTrans" cxnId="{13D577A2-8CB6-D841-8A61-097F8B1850AB}">
      <dgm:prSet/>
      <dgm:spPr/>
      <dgm:t>
        <a:bodyPr/>
        <a:lstStyle/>
        <a:p>
          <a:endParaRPr lang="en-GB"/>
        </a:p>
      </dgm:t>
    </dgm:pt>
    <dgm:pt modelId="{C4326224-9141-A547-A6E6-E207ADEA11CC}" type="sibTrans" cxnId="{13D577A2-8CB6-D841-8A61-097F8B1850AB}">
      <dgm:prSet/>
      <dgm:spPr/>
      <dgm:t>
        <a:bodyPr/>
        <a:lstStyle/>
        <a:p>
          <a:endParaRPr lang="en-GB"/>
        </a:p>
      </dgm:t>
    </dgm:pt>
    <dgm:pt modelId="{547B9FCF-B1F4-E846-B316-A3D7C8C2DAB9}">
      <dgm:prSet phldrT="[Text]"/>
      <dgm:spPr>
        <a:xfrm rot="10800000">
          <a:off x="1048839" y="447221"/>
          <a:ext cx="1164315" cy="465726"/>
        </a:xfrm>
        <a:prstGeom prst="chevron">
          <a:avLst/>
        </a:prstGeom>
        <a:solidFill>
          <a:srgbClr val="A5A5A5">
            <a:hueOff val="1355300"/>
            <a:satOff val="50000"/>
            <a:lumOff val="-735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Patient-adapted questionnaire</a:t>
          </a:r>
        </a:p>
      </dgm:t>
    </dgm:pt>
    <dgm:pt modelId="{DE9768EB-B665-354B-B683-22C4D5D32EF0}" type="parTrans" cxnId="{35F2B90E-2A56-3F48-B57C-8E7A84FE3E5B}">
      <dgm:prSet/>
      <dgm:spPr/>
      <dgm:t>
        <a:bodyPr/>
        <a:lstStyle/>
        <a:p>
          <a:endParaRPr lang="en-GB"/>
        </a:p>
      </dgm:t>
    </dgm:pt>
    <dgm:pt modelId="{4DE1911E-60CF-2A46-8380-F8B816EEFB75}" type="sibTrans" cxnId="{35F2B90E-2A56-3F48-B57C-8E7A84FE3E5B}">
      <dgm:prSet/>
      <dgm:spPr/>
      <dgm:t>
        <a:bodyPr/>
        <a:lstStyle/>
        <a:p>
          <a:endParaRPr lang="en-GB"/>
        </a:p>
      </dgm:t>
    </dgm:pt>
    <dgm:pt modelId="{6A277023-91BE-B840-855D-0E93D5AE6098}">
      <dgm:prSet phldrT="[Text]"/>
      <dgm:spPr>
        <a:xfrm rot="10800000">
          <a:off x="955" y="447221"/>
          <a:ext cx="1164315" cy="465726"/>
        </a:xfrm>
        <a:prstGeom prst="chevron">
          <a:avLst/>
        </a:prstGeom>
        <a:solidFill>
          <a:srgbClr val="A5A5A5">
            <a:hueOff val="2710599"/>
            <a:satOff val="100000"/>
            <a:lumOff val="-1470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GB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ight-Skin Simulation</a:t>
          </a:r>
        </a:p>
      </dgm:t>
    </dgm:pt>
    <dgm:pt modelId="{276380C0-0C54-A640-88E2-A75F97EDA2B8}" type="parTrans" cxnId="{1D042D07-9DE3-5640-A0C1-467DC2A9B5E0}">
      <dgm:prSet/>
      <dgm:spPr/>
      <dgm:t>
        <a:bodyPr/>
        <a:lstStyle/>
        <a:p>
          <a:endParaRPr lang="en-GB"/>
        </a:p>
      </dgm:t>
    </dgm:pt>
    <dgm:pt modelId="{29DAE022-E8AF-174A-9F28-D76FA0EC8657}" type="sibTrans" cxnId="{1D042D07-9DE3-5640-A0C1-467DC2A9B5E0}">
      <dgm:prSet/>
      <dgm:spPr/>
      <dgm:t>
        <a:bodyPr/>
        <a:lstStyle/>
        <a:p>
          <a:endParaRPr lang="en-GB"/>
        </a:p>
      </dgm:t>
    </dgm:pt>
    <dgm:pt modelId="{69904020-DC87-B549-823E-002747E05841}" type="pres">
      <dgm:prSet presAssocID="{AEF07074-7F86-0640-ADA9-CD8341C932A1}" presName="Name0" presStyleCnt="0">
        <dgm:presLayoutVars>
          <dgm:dir val="rev"/>
          <dgm:animLvl val="lvl"/>
          <dgm:resizeHandles val="exact"/>
        </dgm:presLayoutVars>
      </dgm:prSet>
      <dgm:spPr/>
    </dgm:pt>
    <dgm:pt modelId="{0C66ABC2-26A8-0746-ACC3-9CDB38118AC7}" type="pres">
      <dgm:prSet presAssocID="{B91723F1-4541-FC40-B7DE-6F914E4ECF7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9FD75AB-AF91-4D47-8585-FE124F88C255}" type="pres">
      <dgm:prSet presAssocID="{C4326224-9141-A547-A6E6-E207ADEA11CC}" presName="parTxOnlySpace" presStyleCnt="0"/>
      <dgm:spPr/>
    </dgm:pt>
    <dgm:pt modelId="{17DFCA06-F216-CC4E-A2B4-27E3B974E181}" type="pres">
      <dgm:prSet presAssocID="{547B9FCF-B1F4-E846-B316-A3D7C8C2DAB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1BBC3BA-F5BE-5243-A3A4-A879617121C3}" type="pres">
      <dgm:prSet presAssocID="{4DE1911E-60CF-2A46-8380-F8B816EEFB75}" presName="parTxOnlySpace" presStyleCnt="0"/>
      <dgm:spPr/>
    </dgm:pt>
    <dgm:pt modelId="{CD48BAFD-297E-BB4C-B8C2-901407B9FDBA}" type="pres">
      <dgm:prSet presAssocID="{6A277023-91BE-B840-855D-0E93D5AE609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1D042D07-9DE3-5640-A0C1-467DC2A9B5E0}" srcId="{AEF07074-7F86-0640-ADA9-CD8341C932A1}" destId="{6A277023-91BE-B840-855D-0E93D5AE6098}" srcOrd="2" destOrd="0" parTransId="{276380C0-0C54-A640-88E2-A75F97EDA2B8}" sibTransId="{29DAE022-E8AF-174A-9F28-D76FA0EC8657}"/>
    <dgm:cxn modelId="{35F2B90E-2A56-3F48-B57C-8E7A84FE3E5B}" srcId="{AEF07074-7F86-0640-ADA9-CD8341C932A1}" destId="{547B9FCF-B1F4-E846-B316-A3D7C8C2DAB9}" srcOrd="1" destOrd="0" parTransId="{DE9768EB-B665-354B-B683-22C4D5D32EF0}" sibTransId="{4DE1911E-60CF-2A46-8380-F8B816EEFB75}"/>
    <dgm:cxn modelId="{13D577A2-8CB6-D841-8A61-097F8B1850AB}" srcId="{AEF07074-7F86-0640-ADA9-CD8341C932A1}" destId="{B91723F1-4541-FC40-B7DE-6F914E4ECF7E}" srcOrd="0" destOrd="0" parTransId="{9D9F930D-E5B3-9C40-BC83-DD874B61DBC8}" sibTransId="{C4326224-9141-A547-A6E6-E207ADEA11CC}"/>
    <dgm:cxn modelId="{B01CC1BE-0746-1547-A5CD-CDDDE34CF914}" type="presOf" srcId="{6A277023-91BE-B840-855D-0E93D5AE6098}" destId="{CD48BAFD-297E-BB4C-B8C2-901407B9FDBA}" srcOrd="0" destOrd="0" presId="urn:microsoft.com/office/officeart/2005/8/layout/chevron1"/>
    <dgm:cxn modelId="{36C7AFCA-3F60-7C49-A6B8-9A2BD0A4B77E}" type="presOf" srcId="{AEF07074-7F86-0640-ADA9-CD8341C932A1}" destId="{69904020-DC87-B549-823E-002747E05841}" srcOrd="0" destOrd="0" presId="urn:microsoft.com/office/officeart/2005/8/layout/chevron1"/>
    <dgm:cxn modelId="{7188F6DD-847C-864C-A1FA-522EBEE701E0}" type="presOf" srcId="{547B9FCF-B1F4-E846-B316-A3D7C8C2DAB9}" destId="{17DFCA06-F216-CC4E-A2B4-27E3B974E181}" srcOrd="0" destOrd="0" presId="urn:microsoft.com/office/officeart/2005/8/layout/chevron1"/>
    <dgm:cxn modelId="{702020FB-D6EA-A04F-B0BA-3128C3C446F5}" type="presOf" srcId="{B91723F1-4541-FC40-B7DE-6F914E4ECF7E}" destId="{0C66ABC2-26A8-0746-ACC3-9CDB38118AC7}" srcOrd="0" destOrd="0" presId="urn:microsoft.com/office/officeart/2005/8/layout/chevron1"/>
    <dgm:cxn modelId="{D51DD481-041A-A14C-8674-A502EA098C7F}" type="presParOf" srcId="{69904020-DC87-B549-823E-002747E05841}" destId="{0C66ABC2-26A8-0746-ACC3-9CDB38118AC7}" srcOrd="0" destOrd="0" presId="urn:microsoft.com/office/officeart/2005/8/layout/chevron1"/>
    <dgm:cxn modelId="{F45BCF01-4A9F-6247-BAA6-83A1627D4594}" type="presParOf" srcId="{69904020-DC87-B549-823E-002747E05841}" destId="{99FD75AB-AF91-4D47-8585-FE124F88C255}" srcOrd="1" destOrd="0" presId="urn:microsoft.com/office/officeart/2005/8/layout/chevron1"/>
    <dgm:cxn modelId="{AB3EC0ED-9FE0-8B45-B346-9EFD395C41B1}" type="presParOf" srcId="{69904020-DC87-B549-823E-002747E05841}" destId="{17DFCA06-F216-CC4E-A2B4-27E3B974E181}" srcOrd="2" destOrd="0" presId="urn:microsoft.com/office/officeart/2005/8/layout/chevron1"/>
    <dgm:cxn modelId="{CBF3B39B-8222-4C4C-9B49-312119A250D8}" type="presParOf" srcId="{69904020-DC87-B549-823E-002747E05841}" destId="{61BBC3BA-F5BE-5243-A3A4-A879617121C3}" srcOrd="3" destOrd="0" presId="urn:microsoft.com/office/officeart/2005/8/layout/chevron1"/>
    <dgm:cxn modelId="{4381525C-10EC-D245-95E2-801EB0BCBD99}" type="presParOf" srcId="{69904020-DC87-B549-823E-002747E05841}" destId="{CD48BAFD-297E-BB4C-B8C2-901407B9FDB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4EF0A79-EA71-4A86-BD4E-8FE6F69A518E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de-DE"/>
        </a:p>
      </dgm:t>
    </dgm:pt>
    <dgm:pt modelId="{97D71A12-0B0D-4D31-A00B-332E4023015C}">
      <dgm:prSet phldrT="[Text]"/>
      <dgm:spPr/>
      <dgm:t>
        <a:bodyPr/>
        <a:lstStyle/>
        <a:p>
          <a:r>
            <a:rPr lang="de-DE" dirty="0"/>
            <a:t>Greater sample needed for a real analysis of the wavelength effect</a:t>
          </a:r>
        </a:p>
      </dgm:t>
    </dgm:pt>
    <dgm:pt modelId="{C76DA91C-8DEE-4793-BF78-E04F4278F4CD}" type="sibTrans" cxnId="{711DBF47-5403-4B42-BBD3-FC6BBD591AC7}">
      <dgm:prSet/>
      <dgm:spPr/>
      <dgm:t>
        <a:bodyPr/>
        <a:lstStyle/>
        <a:p>
          <a:endParaRPr lang="de-DE"/>
        </a:p>
      </dgm:t>
    </dgm:pt>
    <dgm:pt modelId="{9FFA2776-01B0-4E21-8078-1B5CF5266682}" type="parTrans" cxnId="{711DBF47-5403-4B42-BBD3-FC6BBD591AC7}">
      <dgm:prSet/>
      <dgm:spPr/>
      <dgm:t>
        <a:bodyPr/>
        <a:lstStyle/>
        <a:p>
          <a:endParaRPr lang="de-DE"/>
        </a:p>
      </dgm:t>
    </dgm:pt>
    <dgm:pt modelId="{D8F9C581-31D2-43F3-A93D-CC5B5E3EDA04}">
      <dgm:prSet phldrT="[Text]"/>
      <dgm:spPr/>
      <dgm:t>
        <a:bodyPr/>
        <a:lstStyle/>
        <a:p>
          <a:r>
            <a:rPr lang="de-DE" dirty="0"/>
            <a:t>Assert the accuracy with an ECG and the final PALS device</a:t>
          </a:r>
        </a:p>
      </dgm:t>
    </dgm:pt>
    <dgm:pt modelId="{253DF2C1-62AF-4FBD-9D3D-F181A65CE4A8}" type="sibTrans" cxnId="{8D2DD9C7-CF86-49C5-BEEB-933A0A55BB57}">
      <dgm:prSet/>
      <dgm:spPr/>
      <dgm:t>
        <a:bodyPr/>
        <a:lstStyle/>
        <a:p>
          <a:endParaRPr lang="de-DE"/>
        </a:p>
      </dgm:t>
    </dgm:pt>
    <dgm:pt modelId="{9C256D24-4793-4E31-A804-38D4309CC280}" type="parTrans" cxnId="{8D2DD9C7-CF86-49C5-BEEB-933A0A55BB57}">
      <dgm:prSet/>
      <dgm:spPr/>
      <dgm:t>
        <a:bodyPr/>
        <a:lstStyle/>
        <a:p>
          <a:endParaRPr lang="de-DE"/>
        </a:p>
      </dgm:t>
    </dgm:pt>
    <dgm:pt modelId="{E7CCF356-3F1E-4ABD-B58E-2F1B99DD6982}">
      <dgm:prSet phldrT="[Text]"/>
      <dgm:spPr/>
      <dgm:t>
        <a:bodyPr/>
        <a:lstStyle/>
        <a:p>
          <a:r>
            <a:rPr lang="de-DE" dirty="0"/>
            <a:t>Patient-adapted study should get more insight from health professionals</a:t>
          </a:r>
        </a:p>
      </dgm:t>
    </dgm:pt>
    <dgm:pt modelId="{69FE669A-7189-4F6E-A8E4-A08AD37B88B0}" type="sibTrans" cxnId="{2C62E469-83A4-4EA2-8D88-CC3EE81291C7}">
      <dgm:prSet/>
      <dgm:spPr/>
      <dgm:t>
        <a:bodyPr/>
        <a:lstStyle/>
        <a:p>
          <a:endParaRPr lang="de-DE"/>
        </a:p>
      </dgm:t>
    </dgm:pt>
    <dgm:pt modelId="{5365B531-F966-4603-BC88-B75C3A1504D9}" type="parTrans" cxnId="{2C62E469-83A4-4EA2-8D88-CC3EE81291C7}">
      <dgm:prSet/>
      <dgm:spPr/>
      <dgm:t>
        <a:bodyPr/>
        <a:lstStyle/>
        <a:p>
          <a:endParaRPr lang="de-DE"/>
        </a:p>
      </dgm:t>
    </dgm:pt>
    <dgm:pt modelId="{1841A162-C208-43D5-A0C0-485398C48600}">
      <dgm:prSet phldrT="[Text]"/>
      <dgm:spPr/>
      <dgm:t>
        <a:bodyPr/>
        <a:lstStyle/>
        <a:p>
          <a:r>
            <a:rPr lang="de-DE" dirty="0"/>
            <a:t>Machine Learning Optimization is needed to access indeed cardiac parameters</a:t>
          </a:r>
        </a:p>
      </dgm:t>
    </dgm:pt>
    <dgm:pt modelId="{03F74BD2-1071-4EBF-A726-3705FBEE7396}" type="sibTrans" cxnId="{BEFED44A-05E3-4BFF-AA27-6B55B61489F3}">
      <dgm:prSet/>
      <dgm:spPr/>
      <dgm:t>
        <a:bodyPr/>
        <a:lstStyle/>
        <a:p>
          <a:endParaRPr lang="de-DE"/>
        </a:p>
      </dgm:t>
    </dgm:pt>
    <dgm:pt modelId="{B773522F-F3E0-4658-91E2-72804B4251DF}" type="parTrans" cxnId="{BEFED44A-05E3-4BFF-AA27-6B55B61489F3}">
      <dgm:prSet/>
      <dgm:spPr/>
      <dgm:t>
        <a:bodyPr/>
        <a:lstStyle/>
        <a:p>
          <a:endParaRPr lang="de-DE"/>
        </a:p>
      </dgm:t>
    </dgm:pt>
    <dgm:pt modelId="{C9C9A4F1-E92B-4086-9D4C-366EA2C8C05A}">
      <dgm:prSet phldrT="[Text]"/>
      <dgm:spPr/>
      <dgm:t>
        <a:bodyPr/>
        <a:lstStyle/>
        <a:p>
          <a:r>
            <a:rPr lang="de-DE" dirty="0"/>
            <a:t>Optimisation of the code architecture and velocity</a:t>
          </a:r>
        </a:p>
      </dgm:t>
    </dgm:pt>
    <dgm:pt modelId="{C853A183-A5D1-46B0-943E-D9B7FF090B4C}" type="parTrans" cxnId="{70C2B271-2157-4390-A484-44FACEBD5DDA}">
      <dgm:prSet/>
      <dgm:spPr/>
      <dgm:t>
        <a:bodyPr/>
        <a:lstStyle/>
        <a:p>
          <a:endParaRPr lang="de-DE"/>
        </a:p>
      </dgm:t>
    </dgm:pt>
    <dgm:pt modelId="{B87B9866-F426-42D0-8CCD-6EE798606E1C}" type="sibTrans" cxnId="{70C2B271-2157-4390-A484-44FACEBD5DDA}">
      <dgm:prSet/>
      <dgm:spPr/>
      <dgm:t>
        <a:bodyPr/>
        <a:lstStyle/>
        <a:p>
          <a:endParaRPr lang="de-DE"/>
        </a:p>
      </dgm:t>
    </dgm:pt>
    <dgm:pt modelId="{0EACEACE-C60E-44DF-AFB1-039649A4AC8A}" type="pres">
      <dgm:prSet presAssocID="{B4EF0A79-EA71-4A86-BD4E-8FE6F69A518E}" presName="linear" presStyleCnt="0">
        <dgm:presLayoutVars>
          <dgm:dir/>
          <dgm:animLvl val="lvl"/>
          <dgm:resizeHandles val="exact"/>
        </dgm:presLayoutVars>
      </dgm:prSet>
      <dgm:spPr/>
    </dgm:pt>
    <dgm:pt modelId="{E0ACB149-7D54-4855-95E3-925C2EB1A39D}" type="pres">
      <dgm:prSet presAssocID="{97D71A12-0B0D-4D31-A00B-332E4023015C}" presName="parentLin" presStyleCnt="0"/>
      <dgm:spPr/>
    </dgm:pt>
    <dgm:pt modelId="{3A7373AB-114D-454F-B859-68285B8DAD0B}" type="pres">
      <dgm:prSet presAssocID="{97D71A12-0B0D-4D31-A00B-332E4023015C}" presName="parentLeftMargin" presStyleLbl="node1" presStyleIdx="0" presStyleCnt="5"/>
      <dgm:spPr/>
    </dgm:pt>
    <dgm:pt modelId="{C5A341CF-9F5B-4C04-92BA-4923AF3F5473}" type="pres">
      <dgm:prSet presAssocID="{97D71A12-0B0D-4D31-A00B-332E4023015C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99A3EB67-32CD-46F1-BEA6-015F6B1266F2}" type="pres">
      <dgm:prSet presAssocID="{97D71A12-0B0D-4D31-A00B-332E4023015C}" presName="negativeSpace" presStyleCnt="0"/>
      <dgm:spPr/>
    </dgm:pt>
    <dgm:pt modelId="{406751EB-3012-4B08-9043-50D8C08E5EB6}" type="pres">
      <dgm:prSet presAssocID="{97D71A12-0B0D-4D31-A00B-332E4023015C}" presName="childText" presStyleLbl="conFgAcc1" presStyleIdx="0" presStyleCnt="5">
        <dgm:presLayoutVars>
          <dgm:bulletEnabled val="1"/>
        </dgm:presLayoutVars>
      </dgm:prSet>
      <dgm:spPr/>
    </dgm:pt>
    <dgm:pt modelId="{94603BBA-AD0D-4CBB-9B61-DA73A621BFC1}" type="pres">
      <dgm:prSet presAssocID="{C76DA91C-8DEE-4793-BF78-E04F4278F4CD}" presName="spaceBetweenRectangles" presStyleCnt="0"/>
      <dgm:spPr/>
    </dgm:pt>
    <dgm:pt modelId="{72DE24D8-68A6-44B3-B223-F22F4CAF54BC}" type="pres">
      <dgm:prSet presAssocID="{D8F9C581-31D2-43F3-A93D-CC5B5E3EDA04}" presName="parentLin" presStyleCnt="0"/>
      <dgm:spPr/>
    </dgm:pt>
    <dgm:pt modelId="{2E5F6F59-44A5-427D-9299-AA8B06F9C75E}" type="pres">
      <dgm:prSet presAssocID="{D8F9C581-31D2-43F3-A93D-CC5B5E3EDA04}" presName="parentLeftMargin" presStyleLbl="node1" presStyleIdx="0" presStyleCnt="5"/>
      <dgm:spPr/>
    </dgm:pt>
    <dgm:pt modelId="{DD9A84FE-2BCE-4BFC-A9CC-38109BB3BC26}" type="pres">
      <dgm:prSet presAssocID="{D8F9C581-31D2-43F3-A93D-CC5B5E3EDA04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44DD2C57-0F71-4FAC-AD8C-C4B4E1D85405}" type="pres">
      <dgm:prSet presAssocID="{D8F9C581-31D2-43F3-A93D-CC5B5E3EDA04}" presName="negativeSpace" presStyleCnt="0"/>
      <dgm:spPr/>
    </dgm:pt>
    <dgm:pt modelId="{F2B8E533-1DA9-4448-8656-2EB1B9FB05F3}" type="pres">
      <dgm:prSet presAssocID="{D8F9C581-31D2-43F3-A93D-CC5B5E3EDA04}" presName="childText" presStyleLbl="conFgAcc1" presStyleIdx="1" presStyleCnt="5">
        <dgm:presLayoutVars>
          <dgm:bulletEnabled val="1"/>
        </dgm:presLayoutVars>
      </dgm:prSet>
      <dgm:spPr/>
    </dgm:pt>
    <dgm:pt modelId="{24B3CEDE-0E0F-4735-9601-6E5F8B136D21}" type="pres">
      <dgm:prSet presAssocID="{253DF2C1-62AF-4FBD-9D3D-F181A65CE4A8}" presName="spaceBetweenRectangles" presStyleCnt="0"/>
      <dgm:spPr/>
    </dgm:pt>
    <dgm:pt modelId="{785E8417-166F-4E6E-BAC0-E30E96AEBEE3}" type="pres">
      <dgm:prSet presAssocID="{E7CCF356-3F1E-4ABD-B58E-2F1B99DD6982}" presName="parentLin" presStyleCnt="0"/>
      <dgm:spPr/>
    </dgm:pt>
    <dgm:pt modelId="{B70CAD52-7E53-4ACD-8A84-F8BD9C3EA1D6}" type="pres">
      <dgm:prSet presAssocID="{E7CCF356-3F1E-4ABD-B58E-2F1B99DD6982}" presName="parentLeftMargin" presStyleLbl="node1" presStyleIdx="1" presStyleCnt="5"/>
      <dgm:spPr/>
    </dgm:pt>
    <dgm:pt modelId="{4569EE17-8C0F-434E-9744-912FB633B654}" type="pres">
      <dgm:prSet presAssocID="{E7CCF356-3F1E-4ABD-B58E-2F1B99DD6982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81129494-AF6D-4E0D-99C3-4C271B6D0257}" type="pres">
      <dgm:prSet presAssocID="{E7CCF356-3F1E-4ABD-B58E-2F1B99DD6982}" presName="negativeSpace" presStyleCnt="0"/>
      <dgm:spPr/>
    </dgm:pt>
    <dgm:pt modelId="{FC2C9ED5-08F7-4217-9FFD-1A416181A159}" type="pres">
      <dgm:prSet presAssocID="{E7CCF356-3F1E-4ABD-B58E-2F1B99DD6982}" presName="childText" presStyleLbl="conFgAcc1" presStyleIdx="2" presStyleCnt="5">
        <dgm:presLayoutVars>
          <dgm:bulletEnabled val="1"/>
        </dgm:presLayoutVars>
      </dgm:prSet>
      <dgm:spPr/>
    </dgm:pt>
    <dgm:pt modelId="{B6A9B3F6-705B-4E0A-980E-9022B983CB86}" type="pres">
      <dgm:prSet presAssocID="{69FE669A-7189-4F6E-A8E4-A08AD37B88B0}" presName="spaceBetweenRectangles" presStyleCnt="0"/>
      <dgm:spPr/>
    </dgm:pt>
    <dgm:pt modelId="{221E6520-2255-4713-B585-2D17E7F63A70}" type="pres">
      <dgm:prSet presAssocID="{1841A162-C208-43D5-A0C0-485398C48600}" presName="parentLin" presStyleCnt="0"/>
      <dgm:spPr/>
    </dgm:pt>
    <dgm:pt modelId="{D64FA457-AD91-4137-9B46-EDF69640C766}" type="pres">
      <dgm:prSet presAssocID="{1841A162-C208-43D5-A0C0-485398C48600}" presName="parentLeftMargin" presStyleLbl="node1" presStyleIdx="2" presStyleCnt="5"/>
      <dgm:spPr/>
    </dgm:pt>
    <dgm:pt modelId="{03EBBF79-C0A4-4470-B412-00B417605242}" type="pres">
      <dgm:prSet presAssocID="{1841A162-C208-43D5-A0C0-485398C4860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662991D6-374D-4DD5-B778-19ECFFFE8EBF}" type="pres">
      <dgm:prSet presAssocID="{1841A162-C208-43D5-A0C0-485398C48600}" presName="negativeSpace" presStyleCnt="0"/>
      <dgm:spPr/>
    </dgm:pt>
    <dgm:pt modelId="{B6F7F2AC-9C42-451F-BC4B-9981E0C8D310}" type="pres">
      <dgm:prSet presAssocID="{1841A162-C208-43D5-A0C0-485398C48600}" presName="childText" presStyleLbl="conFgAcc1" presStyleIdx="3" presStyleCnt="5">
        <dgm:presLayoutVars>
          <dgm:bulletEnabled val="1"/>
        </dgm:presLayoutVars>
      </dgm:prSet>
      <dgm:spPr/>
    </dgm:pt>
    <dgm:pt modelId="{1734409D-9480-4189-BEB4-840D2CBA0D89}" type="pres">
      <dgm:prSet presAssocID="{03F74BD2-1071-4EBF-A726-3705FBEE7396}" presName="spaceBetweenRectangles" presStyleCnt="0"/>
      <dgm:spPr/>
    </dgm:pt>
    <dgm:pt modelId="{ED2B15F2-BF31-4991-9A8D-EA45369AFABE}" type="pres">
      <dgm:prSet presAssocID="{C9C9A4F1-E92B-4086-9D4C-366EA2C8C05A}" presName="parentLin" presStyleCnt="0"/>
      <dgm:spPr/>
    </dgm:pt>
    <dgm:pt modelId="{F3BCF7C1-502B-42CF-B767-E4460577FEA0}" type="pres">
      <dgm:prSet presAssocID="{C9C9A4F1-E92B-4086-9D4C-366EA2C8C05A}" presName="parentLeftMargin" presStyleLbl="node1" presStyleIdx="3" presStyleCnt="5"/>
      <dgm:spPr/>
    </dgm:pt>
    <dgm:pt modelId="{C0AB9947-B25E-429C-BEB5-E06B90F5009A}" type="pres">
      <dgm:prSet presAssocID="{C9C9A4F1-E92B-4086-9D4C-366EA2C8C05A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A4A96634-CC2C-44F3-83FC-A5E2C65E00AD}" type="pres">
      <dgm:prSet presAssocID="{C9C9A4F1-E92B-4086-9D4C-366EA2C8C05A}" presName="negativeSpace" presStyleCnt="0"/>
      <dgm:spPr/>
    </dgm:pt>
    <dgm:pt modelId="{8302EEE2-0AEF-4FD4-ADD1-D5DD0FEBD6AC}" type="pres">
      <dgm:prSet presAssocID="{C9C9A4F1-E92B-4086-9D4C-366EA2C8C05A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BAAD0434-8922-4073-8BB2-B428821BAECE}" type="presOf" srcId="{97D71A12-0B0D-4D31-A00B-332E4023015C}" destId="{3A7373AB-114D-454F-B859-68285B8DAD0B}" srcOrd="0" destOrd="0" presId="urn:microsoft.com/office/officeart/2005/8/layout/list1"/>
    <dgm:cxn modelId="{E2A6FB63-5760-48FC-A504-C8BAECC3F8ED}" type="presOf" srcId="{D8F9C581-31D2-43F3-A93D-CC5B5E3EDA04}" destId="{2E5F6F59-44A5-427D-9299-AA8B06F9C75E}" srcOrd="0" destOrd="0" presId="urn:microsoft.com/office/officeart/2005/8/layout/list1"/>
    <dgm:cxn modelId="{711DBF47-5403-4B42-BBD3-FC6BBD591AC7}" srcId="{B4EF0A79-EA71-4A86-BD4E-8FE6F69A518E}" destId="{97D71A12-0B0D-4D31-A00B-332E4023015C}" srcOrd="0" destOrd="0" parTransId="{9FFA2776-01B0-4E21-8078-1B5CF5266682}" sibTransId="{C76DA91C-8DEE-4793-BF78-E04F4278F4CD}"/>
    <dgm:cxn modelId="{2C62E469-83A4-4EA2-8D88-CC3EE81291C7}" srcId="{B4EF0A79-EA71-4A86-BD4E-8FE6F69A518E}" destId="{E7CCF356-3F1E-4ABD-B58E-2F1B99DD6982}" srcOrd="2" destOrd="0" parTransId="{5365B531-F966-4603-BC88-B75C3A1504D9}" sibTransId="{69FE669A-7189-4F6E-A8E4-A08AD37B88B0}"/>
    <dgm:cxn modelId="{BEFED44A-05E3-4BFF-AA27-6B55B61489F3}" srcId="{B4EF0A79-EA71-4A86-BD4E-8FE6F69A518E}" destId="{1841A162-C208-43D5-A0C0-485398C48600}" srcOrd="3" destOrd="0" parTransId="{B773522F-F3E0-4658-91E2-72804B4251DF}" sibTransId="{03F74BD2-1071-4EBF-A726-3705FBEE7396}"/>
    <dgm:cxn modelId="{C5C9E46B-5876-4DDF-9861-DA4483BDD2F8}" type="presOf" srcId="{C9C9A4F1-E92B-4086-9D4C-366EA2C8C05A}" destId="{F3BCF7C1-502B-42CF-B767-E4460577FEA0}" srcOrd="0" destOrd="0" presId="urn:microsoft.com/office/officeart/2005/8/layout/list1"/>
    <dgm:cxn modelId="{70C2B271-2157-4390-A484-44FACEBD5DDA}" srcId="{B4EF0A79-EA71-4A86-BD4E-8FE6F69A518E}" destId="{C9C9A4F1-E92B-4086-9D4C-366EA2C8C05A}" srcOrd="4" destOrd="0" parTransId="{C853A183-A5D1-46B0-943E-D9B7FF090B4C}" sibTransId="{B87B9866-F426-42D0-8CCD-6EE798606E1C}"/>
    <dgm:cxn modelId="{84D28383-03EC-48CD-9D78-F93769732F8F}" type="presOf" srcId="{97D71A12-0B0D-4D31-A00B-332E4023015C}" destId="{C5A341CF-9F5B-4C04-92BA-4923AF3F5473}" srcOrd="1" destOrd="0" presId="urn:microsoft.com/office/officeart/2005/8/layout/list1"/>
    <dgm:cxn modelId="{C6430685-33FB-4628-8753-B5B2D473815E}" type="presOf" srcId="{B4EF0A79-EA71-4A86-BD4E-8FE6F69A518E}" destId="{0EACEACE-C60E-44DF-AFB1-039649A4AC8A}" srcOrd="0" destOrd="0" presId="urn:microsoft.com/office/officeart/2005/8/layout/list1"/>
    <dgm:cxn modelId="{C60A748A-7E01-4C3F-9FFB-CEDD75636958}" type="presOf" srcId="{C9C9A4F1-E92B-4086-9D4C-366EA2C8C05A}" destId="{C0AB9947-B25E-429C-BEB5-E06B90F5009A}" srcOrd="1" destOrd="0" presId="urn:microsoft.com/office/officeart/2005/8/layout/list1"/>
    <dgm:cxn modelId="{EF765598-A724-4EFC-9997-FAF861489AD8}" type="presOf" srcId="{1841A162-C208-43D5-A0C0-485398C48600}" destId="{03EBBF79-C0A4-4470-B412-00B417605242}" srcOrd="1" destOrd="0" presId="urn:microsoft.com/office/officeart/2005/8/layout/list1"/>
    <dgm:cxn modelId="{30D361C0-B89F-45D3-88DA-53BFEA9948C7}" type="presOf" srcId="{1841A162-C208-43D5-A0C0-485398C48600}" destId="{D64FA457-AD91-4137-9B46-EDF69640C766}" srcOrd="0" destOrd="0" presId="urn:microsoft.com/office/officeart/2005/8/layout/list1"/>
    <dgm:cxn modelId="{8D2DD9C7-CF86-49C5-BEEB-933A0A55BB57}" srcId="{B4EF0A79-EA71-4A86-BD4E-8FE6F69A518E}" destId="{D8F9C581-31D2-43F3-A93D-CC5B5E3EDA04}" srcOrd="1" destOrd="0" parTransId="{9C256D24-4793-4E31-A804-38D4309CC280}" sibTransId="{253DF2C1-62AF-4FBD-9D3D-F181A65CE4A8}"/>
    <dgm:cxn modelId="{7995E1CF-8B88-4284-BBF4-82755CBB4249}" type="presOf" srcId="{E7CCF356-3F1E-4ABD-B58E-2F1B99DD6982}" destId="{B70CAD52-7E53-4ACD-8A84-F8BD9C3EA1D6}" srcOrd="0" destOrd="0" presId="urn:microsoft.com/office/officeart/2005/8/layout/list1"/>
    <dgm:cxn modelId="{3FA6CFDA-64DD-4874-A571-23348C163AB3}" type="presOf" srcId="{D8F9C581-31D2-43F3-A93D-CC5B5E3EDA04}" destId="{DD9A84FE-2BCE-4BFC-A9CC-38109BB3BC26}" srcOrd="1" destOrd="0" presId="urn:microsoft.com/office/officeart/2005/8/layout/list1"/>
    <dgm:cxn modelId="{5D680DE4-7DEF-4A7F-983A-4536BA84932A}" type="presOf" srcId="{E7CCF356-3F1E-4ABD-B58E-2F1B99DD6982}" destId="{4569EE17-8C0F-434E-9744-912FB633B654}" srcOrd="1" destOrd="0" presId="urn:microsoft.com/office/officeart/2005/8/layout/list1"/>
    <dgm:cxn modelId="{62366D89-E64D-4602-B7F3-12821E2AF211}" type="presParOf" srcId="{0EACEACE-C60E-44DF-AFB1-039649A4AC8A}" destId="{E0ACB149-7D54-4855-95E3-925C2EB1A39D}" srcOrd="0" destOrd="0" presId="urn:microsoft.com/office/officeart/2005/8/layout/list1"/>
    <dgm:cxn modelId="{C4E5CB46-17FA-4499-A3DA-7F6AAB1F4D04}" type="presParOf" srcId="{E0ACB149-7D54-4855-95E3-925C2EB1A39D}" destId="{3A7373AB-114D-454F-B859-68285B8DAD0B}" srcOrd="0" destOrd="0" presId="urn:microsoft.com/office/officeart/2005/8/layout/list1"/>
    <dgm:cxn modelId="{6AF53EE1-5CF3-4AAC-AA73-87E7E6A027C9}" type="presParOf" srcId="{E0ACB149-7D54-4855-95E3-925C2EB1A39D}" destId="{C5A341CF-9F5B-4C04-92BA-4923AF3F5473}" srcOrd="1" destOrd="0" presId="urn:microsoft.com/office/officeart/2005/8/layout/list1"/>
    <dgm:cxn modelId="{F2115430-E38F-4B5A-A8C3-026558715F1B}" type="presParOf" srcId="{0EACEACE-C60E-44DF-AFB1-039649A4AC8A}" destId="{99A3EB67-32CD-46F1-BEA6-015F6B1266F2}" srcOrd="1" destOrd="0" presId="urn:microsoft.com/office/officeart/2005/8/layout/list1"/>
    <dgm:cxn modelId="{B9DE29CE-B6A8-48F4-94DD-49DD38F48AD8}" type="presParOf" srcId="{0EACEACE-C60E-44DF-AFB1-039649A4AC8A}" destId="{406751EB-3012-4B08-9043-50D8C08E5EB6}" srcOrd="2" destOrd="0" presId="urn:microsoft.com/office/officeart/2005/8/layout/list1"/>
    <dgm:cxn modelId="{AE8D870C-6720-4A61-8620-757505EA937B}" type="presParOf" srcId="{0EACEACE-C60E-44DF-AFB1-039649A4AC8A}" destId="{94603BBA-AD0D-4CBB-9B61-DA73A621BFC1}" srcOrd="3" destOrd="0" presId="urn:microsoft.com/office/officeart/2005/8/layout/list1"/>
    <dgm:cxn modelId="{20700CA1-7A10-4F99-998C-F256B7BCADE5}" type="presParOf" srcId="{0EACEACE-C60E-44DF-AFB1-039649A4AC8A}" destId="{72DE24D8-68A6-44B3-B223-F22F4CAF54BC}" srcOrd="4" destOrd="0" presId="urn:microsoft.com/office/officeart/2005/8/layout/list1"/>
    <dgm:cxn modelId="{2F10282E-F58C-46A5-BB63-BF46B49915E4}" type="presParOf" srcId="{72DE24D8-68A6-44B3-B223-F22F4CAF54BC}" destId="{2E5F6F59-44A5-427D-9299-AA8B06F9C75E}" srcOrd="0" destOrd="0" presId="urn:microsoft.com/office/officeart/2005/8/layout/list1"/>
    <dgm:cxn modelId="{79F61A7C-9D67-4496-B35B-76DA65713B73}" type="presParOf" srcId="{72DE24D8-68A6-44B3-B223-F22F4CAF54BC}" destId="{DD9A84FE-2BCE-4BFC-A9CC-38109BB3BC26}" srcOrd="1" destOrd="0" presId="urn:microsoft.com/office/officeart/2005/8/layout/list1"/>
    <dgm:cxn modelId="{97B94489-571B-46F8-B4F7-F0B484F03017}" type="presParOf" srcId="{0EACEACE-C60E-44DF-AFB1-039649A4AC8A}" destId="{44DD2C57-0F71-4FAC-AD8C-C4B4E1D85405}" srcOrd="5" destOrd="0" presId="urn:microsoft.com/office/officeart/2005/8/layout/list1"/>
    <dgm:cxn modelId="{D4279310-BC9E-4CAE-BA49-8D919EADAA37}" type="presParOf" srcId="{0EACEACE-C60E-44DF-AFB1-039649A4AC8A}" destId="{F2B8E533-1DA9-4448-8656-2EB1B9FB05F3}" srcOrd="6" destOrd="0" presId="urn:microsoft.com/office/officeart/2005/8/layout/list1"/>
    <dgm:cxn modelId="{1D4C40E0-2A71-4E3D-9387-3C23CBCBE446}" type="presParOf" srcId="{0EACEACE-C60E-44DF-AFB1-039649A4AC8A}" destId="{24B3CEDE-0E0F-4735-9601-6E5F8B136D21}" srcOrd="7" destOrd="0" presId="urn:microsoft.com/office/officeart/2005/8/layout/list1"/>
    <dgm:cxn modelId="{2E072081-FD44-44AB-A79B-A28B65A657D1}" type="presParOf" srcId="{0EACEACE-C60E-44DF-AFB1-039649A4AC8A}" destId="{785E8417-166F-4E6E-BAC0-E30E96AEBEE3}" srcOrd="8" destOrd="0" presId="urn:microsoft.com/office/officeart/2005/8/layout/list1"/>
    <dgm:cxn modelId="{4D63FB81-66BC-4BCC-B36D-FBAAD77CA20B}" type="presParOf" srcId="{785E8417-166F-4E6E-BAC0-E30E96AEBEE3}" destId="{B70CAD52-7E53-4ACD-8A84-F8BD9C3EA1D6}" srcOrd="0" destOrd="0" presId="urn:microsoft.com/office/officeart/2005/8/layout/list1"/>
    <dgm:cxn modelId="{9023FE05-9806-4852-82D5-8DFB9956F77A}" type="presParOf" srcId="{785E8417-166F-4E6E-BAC0-E30E96AEBEE3}" destId="{4569EE17-8C0F-434E-9744-912FB633B654}" srcOrd="1" destOrd="0" presId="urn:microsoft.com/office/officeart/2005/8/layout/list1"/>
    <dgm:cxn modelId="{16CDE135-DB22-498C-A4E2-4693366EB437}" type="presParOf" srcId="{0EACEACE-C60E-44DF-AFB1-039649A4AC8A}" destId="{81129494-AF6D-4E0D-99C3-4C271B6D0257}" srcOrd="9" destOrd="0" presId="urn:microsoft.com/office/officeart/2005/8/layout/list1"/>
    <dgm:cxn modelId="{14FAD378-0121-4C05-8190-949967351A5C}" type="presParOf" srcId="{0EACEACE-C60E-44DF-AFB1-039649A4AC8A}" destId="{FC2C9ED5-08F7-4217-9FFD-1A416181A159}" srcOrd="10" destOrd="0" presId="urn:microsoft.com/office/officeart/2005/8/layout/list1"/>
    <dgm:cxn modelId="{C7CE162C-69F0-4695-A576-A506FA6051A3}" type="presParOf" srcId="{0EACEACE-C60E-44DF-AFB1-039649A4AC8A}" destId="{B6A9B3F6-705B-4E0A-980E-9022B983CB86}" srcOrd="11" destOrd="0" presId="urn:microsoft.com/office/officeart/2005/8/layout/list1"/>
    <dgm:cxn modelId="{0CB95663-E7EA-4DD0-A374-A8FF63EF1756}" type="presParOf" srcId="{0EACEACE-C60E-44DF-AFB1-039649A4AC8A}" destId="{221E6520-2255-4713-B585-2D17E7F63A70}" srcOrd="12" destOrd="0" presId="urn:microsoft.com/office/officeart/2005/8/layout/list1"/>
    <dgm:cxn modelId="{196095E0-CB34-465E-8AC1-0046B65A8AE2}" type="presParOf" srcId="{221E6520-2255-4713-B585-2D17E7F63A70}" destId="{D64FA457-AD91-4137-9B46-EDF69640C766}" srcOrd="0" destOrd="0" presId="urn:microsoft.com/office/officeart/2005/8/layout/list1"/>
    <dgm:cxn modelId="{FFB604CC-4342-45EB-A6E9-CB8E02DDCB5D}" type="presParOf" srcId="{221E6520-2255-4713-B585-2D17E7F63A70}" destId="{03EBBF79-C0A4-4470-B412-00B417605242}" srcOrd="1" destOrd="0" presId="urn:microsoft.com/office/officeart/2005/8/layout/list1"/>
    <dgm:cxn modelId="{F0C37931-C778-4B29-A03A-EDE2E99DF061}" type="presParOf" srcId="{0EACEACE-C60E-44DF-AFB1-039649A4AC8A}" destId="{662991D6-374D-4DD5-B778-19ECFFFE8EBF}" srcOrd="13" destOrd="0" presId="urn:microsoft.com/office/officeart/2005/8/layout/list1"/>
    <dgm:cxn modelId="{C507EFB5-A744-4A2E-BFBA-0BC8E4BF9E25}" type="presParOf" srcId="{0EACEACE-C60E-44DF-AFB1-039649A4AC8A}" destId="{B6F7F2AC-9C42-451F-BC4B-9981E0C8D310}" srcOrd="14" destOrd="0" presId="urn:microsoft.com/office/officeart/2005/8/layout/list1"/>
    <dgm:cxn modelId="{0470F907-C09A-4E67-AA63-918C84AD5A37}" type="presParOf" srcId="{0EACEACE-C60E-44DF-AFB1-039649A4AC8A}" destId="{1734409D-9480-4189-BEB4-840D2CBA0D89}" srcOrd="15" destOrd="0" presId="urn:microsoft.com/office/officeart/2005/8/layout/list1"/>
    <dgm:cxn modelId="{D9472A83-30C6-45B0-B413-1B6858BE4204}" type="presParOf" srcId="{0EACEACE-C60E-44DF-AFB1-039649A4AC8A}" destId="{ED2B15F2-BF31-4991-9A8D-EA45369AFABE}" srcOrd="16" destOrd="0" presId="urn:microsoft.com/office/officeart/2005/8/layout/list1"/>
    <dgm:cxn modelId="{E0FDB215-D0FF-4D38-943D-7CBEDE65E80D}" type="presParOf" srcId="{ED2B15F2-BF31-4991-9A8D-EA45369AFABE}" destId="{F3BCF7C1-502B-42CF-B767-E4460577FEA0}" srcOrd="0" destOrd="0" presId="urn:microsoft.com/office/officeart/2005/8/layout/list1"/>
    <dgm:cxn modelId="{BF1134D3-9197-4A9F-828A-BE2BA8AD9F2A}" type="presParOf" srcId="{ED2B15F2-BF31-4991-9A8D-EA45369AFABE}" destId="{C0AB9947-B25E-429C-BEB5-E06B90F5009A}" srcOrd="1" destOrd="0" presId="urn:microsoft.com/office/officeart/2005/8/layout/list1"/>
    <dgm:cxn modelId="{416A6E9F-809E-46AE-B752-B3B4F182F6A3}" type="presParOf" srcId="{0EACEACE-C60E-44DF-AFB1-039649A4AC8A}" destId="{A4A96634-CC2C-44F3-83FC-A5E2C65E00AD}" srcOrd="17" destOrd="0" presId="urn:microsoft.com/office/officeart/2005/8/layout/list1"/>
    <dgm:cxn modelId="{66620E26-060F-4541-9EC0-FCCD943EEAC3}" type="presParOf" srcId="{0EACEACE-C60E-44DF-AFB1-039649A4AC8A}" destId="{8302EEE2-0AEF-4FD4-ADD1-D5DD0FEBD6AC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2CB103-29A8-4AF0-8825-7DA96E688343}">
      <dsp:nvSpPr>
        <dsp:cNvPr id="0" name=""/>
        <dsp:cNvSpPr/>
      </dsp:nvSpPr>
      <dsp:spPr>
        <a:xfrm>
          <a:off x="3856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Knowledge Management</a:t>
          </a:r>
        </a:p>
      </dsp:txBody>
      <dsp:txXfrm>
        <a:off x="3856" y="0"/>
        <a:ext cx="1523665" cy="1447464"/>
      </dsp:txXfrm>
    </dsp:sp>
    <dsp:sp modelId="{11303D53-17DA-42AF-A330-B623897E0B08}">
      <dsp:nvSpPr>
        <dsp:cNvPr id="0" name=""/>
        <dsp:cNvSpPr/>
      </dsp:nvSpPr>
      <dsp:spPr>
        <a:xfrm>
          <a:off x="1641796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Education and Administration</a:t>
          </a:r>
        </a:p>
      </dsp:txBody>
      <dsp:txXfrm>
        <a:off x="1641796" y="0"/>
        <a:ext cx="1523665" cy="1447464"/>
      </dsp:txXfrm>
    </dsp:sp>
    <dsp:sp modelId="{0B04C866-CF03-420F-9B2C-5AED184420A2}">
      <dsp:nvSpPr>
        <dsp:cNvPr id="0" name=""/>
        <dsp:cNvSpPr/>
      </dsp:nvSpPr>
      <dsp:spPr>
        <a:xfrm>
          <a:off x="3279737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SC Trends, SC Simulation : Opportunities and Risks</a:t>
          </a:r>
        </a:p>
      </dsp:txBody>
      <dsp:txXfrm>
        <a:off x="3279737" y="0"/>
        <a:ext cx="1523665" cy="1447464"/>
      </dsp:txXfrm>
    </dsp:sp>
    <dsp:sp modelId="{B5138603-5A17-4907-805E-A185FAC879C9}">
      <dsp:nvSpPr>
        <dsp:cNvPr id="0" name=""/>
        <dsp:cNvSpPr/>
      </dsp:nvSpPr>
      <dsp:spPr>
        <a:xfrm>
          <a:off x="4917677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AI, DL Quantum Computing</a:t>
          </a:r>
        </a:p>
      </dsp:txBody>
      <dsp:txXfrm>
        <a:off x="4917677" y="0"/>
        <a:ext cx="1523665" cy="1447464"/>
      </dsp:txXfrm>
    </dsp:sp>
    <dsp:sp modelId="{C44D984B-071F-4C77-9748-67D1585D7FFB}">
      <dsp:nvSpPr>
        <dsp:cNvPr id="0" name=""/>
        <dsp:cNvSpPr/>
      </dsp:nvSpPr>
      <dsp:spPr>
        <a:xfrm>
          <a:off x="6555617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Digitalisation and Automation of Supply Chain Decisions</a:t>
          </a:r>
        </a:p>
      </dsp:txBody>
      <dsp:txXfrm>
        <a:off x="6555617" y="0"/>
        <a:ext cx="1523665" cy="1447464"/>
      </dsp:txXfrm>
    </dsp:sp>
    <dsp:sp modelId="{AB3F7655-B31A-497B-9B3D-220826DDE2BF}">
      <dsp:nvSpPr>
        <dsp:cNvPr id="0" name=""/>
        <dsp:cNvSpPr/>
      </dsp:nvSpPr>
      <dsp:spPr>
        <a:xfrm>
          <a:off x="6707984" y="1448878"/>
          <a:ext cx="1218932" cy="1454768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accent1">
              <a:shade val="50000"/>
            </a:schemeClr>
          </a:solidFill>
          <a:prstDash val="solid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lt1"/>
              </a:solidFill>
            </a:rPr>
            <a:t>Business Process Analysis</a:t>
          </a:r>
        </a:p>
      </dsp:txBody>
      <dsp:txXfrm>
        <a:off x="6743685" y="1484579"/>
        <a:ext cx="1147530" cy="1383366"/>
      </dsp:txXfrm>
    </dsp:sp>
    <dsp:sp modelId="{58C39445-810D-4889-BDF2-0082428C4E60}">
      <dsp:nvSpPr>
        <dsp:cNvPr id="0" name=""/>
        <dsp:cNvSpPr/>
      </dsp:nvSpPr>
      <dsp:spPr>
        <a:xfrm>
          <a:off x="6707984" y="3127457"/>
          <a:ext cx="1218932" cy="1454768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accent1">
              <a:shade val="50000"/>
            </a:schemeClr>
          </a:solidFill>
          <a:prstDash val="solid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lt1"/>
              </a:solidFill>
            </a:rPr>
            <a:t>Technology Aspiration</a:t>
          </a:r>
        </a:p>
      </dsp:txBody>
      <dsp:txXfrm>
        <a:off x="6743685" y="3163158"/>
        <a:ext cx="1147530" cy="1383366"/>
      </dsp:txXfrm>
    </dsp:sp>
    <dsp:sp modelId="{EC0DC926-FBAC-441C-BAEB-5DDCCB7F8424}">
      <dsp:nvSpPr>
        <dsp:cNvPr id="0" name=""/>
        <dsp:cNvSpPr/>
      </dsp:nvSpPr>
      <dsp:spPr>
        <a:xfrm>
          <a:off x="8193557" y="0"/>
          <a:ext cx="1523665" cy="48248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Semantic Web and IFX Knowledge Sharing</a:t>
          </a:r>
        </a:p>
      </dsp:txBody>
      <dsp:txXfrm>
        <a:off x="8193557" y="0"/>
        <a:ext cx="1523665" cy="14474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3EA82-B268-4E15-85C8-3CECF8A3710B}">
      <dsp:nvSpPr>
        <dsp:cNvPr id="0" name=""/>
        <dsp:cNvSpPr/>
      </dsp:nvSpPr>
      <dsp:spPr>
        <a:xfrm>
          <a:off x="3510375" y="0"/>
          <a:ext cx="1840801" cy="102266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b="1" kern="1200" dirty="0"/>
            <a:t>PSS Task</a:t>
          </a:r>
        </a:p>
      </dsp:txBody>
      <dsp:txXfrm>
        <a:off x="3540328" y="29953"/>
        <a:ext cx="1780895" cy="962761"/>
      </dsp:txXfrm>
    </dsp:sp>
    <dsp:sp modelId="{8723E714-029D-4E27-B1F0-28EE46379145}">
      <dsp:nvSpPr>
        <dsp:cNvPr id="0" name=""/>
        <dsp:cNvSpPr/>
      </dsp:nvSpPr>
      <dsp:spPr>
        <a:xfrm>
          <a:off x="6169310" y="0"/>
          <a:ext cx="1840801" cy="1022667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b="1" kern="1200" dirty="0"/>
            <a:t>PALS Project</a:t>
          </a:r>
        </a:p>
      </dsp:txBody>
      <dsp:txXfrm>
        <a:off x="6199263" y="29953"/>
        <a:ext cx="1780895" cy="962761"/>
      </dsp:txXfrm>
    </dsp:sp>
    <dsp:sp modelId="{999ADF98-776D-4FD9-B5F5-A6BD154C74F4}">
      <dsp:nvSpPr>
        <dsp:cNvPr id="0" name=""/>
        <dsp:cNvSpPr/>
      </dsp:nvSpPr>
      <dsp:spPr>
        <a:xfrm>
          <a:off x="5376743" y="4346336"/>
          <a:ext cx="767000" cy="767000"/>
        </a:xfrm>
        <a:prstGeom prst="triangle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F124A-30DB-4E31-8019-D61B3F9A2843}">
      <dsp:nvSpPr>
        <dsp:cNvPr id="0" name=""/>
        <dsp:cNvSpPr/>
      </dsp:nvSpPr>
      <dsp:spPr>
        <a:xfrm rot="240000">
          <a:off x="3458539" y="4017668"/>
          <a:ext cx="4603408" cy="321901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0C0532-1BB1-4A2C-9C2C-3B6164EB25F0}">
      <dsp:nvSpPr>
        <dsp:cNvPr id="0" name=""/>
        <dsp:cNvSpPr/>
      </dsp:nvSpPr>
      <dsp:spPr>
        <a:xfrm rot="240000">
          <a:off x="6222486" y="3212834"/>
          <a:ext cx="1836716" cy="855722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ython Simulation</a:t>
          </a:r>
        </a:p>
      </dsp:txBody>
      <dsp:txXfrm>
        <a:off x="6264259" y="3254607"/>
        <a:ext cx="1753170" cy="772176"/>
      </dsp:txXfrm>
    </dsp:sp>
    <dsp:sp modelId="{0591EF2E-697A-49BB-9EA5-CA4677821740}">
      <dsp:nvSpPr>
        <dsp:cNvPr id="0" name=""/>
        <dsp:cNvSpPr/>
      </dsp:nvSpPr>
      <dsp:spPr>
        <a:xfrm rot="240000">
          <a:off x="6288959" y="2292434"/>
          <a:ext cx="1836716" cy="85572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Machine Learning class</a:t>
          </a:r>
        </a:p>
      </dsp:txBody>
      <dsp:txXfrm>
        <a:off x="6330732" y="2334207"/>
        <a:ext cx="1753170" cy="772176"/>
      </dsp:txXfrm>
    </dsp:sp>
    <dsp:sp modelId="{88A569EB-DE48-431A-8698-ACF40280EAF9}">
      <dsp:nvSpPr>
        <dsp:cNvPr id="0" name=""/>
        <dsp:cNvSpPr/>
      </dsp:nvSpPr>
      <dsp:spPr>
        <a:xfrm rot="240000">
          <a:off x="6355432" y="1392486"/>
          <a:ext cx="1836716" cy="85572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roject Definition</a:t>
          </a:r>
        </a:p>
      </dsp:txBody>
      <dsp:txXfrm>
        <a:off x="6397205" y="1434259"/>
        <a:ext cx="1753170" cy="772176"/>
      </dsp:txXfrm>
    </dsp:sp>
    <dsp:sp modelId="{7B98FBCC-DE8D-4645-BE0F-0D8242C103C9}">
      <dsp:nvSpPr>
        <dsp:cNvPr id="0" name=""/>
        <dsp:cNvSpPr/>
      </dsp:nvSpPr>
      <dsp:spPr>
        <a:xfrm rot="240000">
          <a:off x="3589117" y="3028754"/>
          <a:ext cx="1836716" cy="855722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RoboScript</a:t>
          </a:r>
        </a:p>
      </dsp:txBody>
      <dsp:txXfrm>
        <a:off x="3630890" y="3070527"/>
        <a:ext cx="1753170" cy="772176"/>
      </dsp:txXfrm>
    </dsp:sp>
    <dsp:sp modelId="{BA348215-AB0D-4BB6-851A-01369CC8599B}">
      <dsp:nvSpPr>
        <dsp:cNvPr id="0" name=""/>
        <dsp:cNvSpPr/>
      </dsp:nvSpPr>
      <dsp:spPr>
        <a:xfrm rot="240000">
          <a:off x="3655590" y="2108353"/>
          <a:ext cx="1836716" cy="855722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Tableau</a:t>
          </a:r>
        </a:p>
      </dsp:txBody>
      <dsp:txXfrm>
        <a:off x="3697363" y="2150126"/>
        <a:ext cx="1753170" cy="7721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7D4A98-75C1-45F0-8660-054E0D99115F}">
      <dsp:nvSpPr>
        <dsp:cNvPr id="0" name=""/>
        <dsp:cNvSpPr/>
      </dsp:nvSpPr>
      <dsp:spPr>
        <a:xfrm rot="5400000">
          <a:off x="2345175" y="1493959"/>
          <a:ext cx="1321278" cy="150422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9B18EB-4549-476A-A139-9903737FDC00}">
      <dsp:nvSpPr>
        <dsp:cNvPr id="0" name=""/>
        <dsp:cNvSpPr/>
      </dsp:nvSpPr>
      <dsp:spPr>
        <a:xfrm>
          <a:off x="1995116" y="29295"/>
          <a:ext cx="2224254" cy="1556906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900" kern="1200" dirty="0"/>
            <a:t>Alessandra Fuzco </a:t>
          </a:r>
          <a:endParaRPr lang="de-DE" sz="2900" kern="1200" dirty="0"/>
        </a:p>
      </dsp:txBody>
      <dsp:txXfrm>
        <a:off x="2071132" y="105311"/>
        <a:ext cx="2072222" cy="1404874"/>
      </dsp:txXfrm>
    </dsp:sp>
    <dsp:sp modelId="{AE8F7F8A-57F2-4B60-87C2-8E224EFB33C2}">
      <dsp:nvSpPr>
        <dsp:cNvPr id="0" name=""/>
        <dsp:cNvSpPr/>
      </dsp:nvSpPr>
      <dsp:spPr>
        <a:xfrm>
          <a:off x="4219371" y="177782"/>
          <a:ext cx="1617711" cy="1258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Using PPG as a prevention too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Fast Fourrier Algorithm Transform</a:t>
          </a:r>
        </a:p>
      </dsp:txBody>
      <dsp:txXfrm>
        <a:off x="4219371" y="177782"/>
        <a:ext cx="1617711" cy="1258360"/>
      </dsp:txXfrm>
    </dsp:sp>
    <dsp:sp modelId="{CFB406B9-2F61-4C8E-9E48-5B293209B92B}">
      <dsp:nvSpPr>
        <dsp:cNvPr id="0" name=""/>
        <dsp:cNvSpPr/>
      </dsp:nvSpPr>
      <dsp:spPr>
        <a:xfrm rot="5400000">
          <a:off x="4189319" y="3242878"/>
          <a:ext cx="1321278" cy="150422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A3AF1A-D46B-4AAA-9733-1FD5BBD5EDD9}">
      <dsp:nvSpPr>
        <dsp:cNvPr id="0" name=""/>
        <dsp:cNvSpPr/>
      </dsp:nvSpPr>
      <dsp:spPr>
        <a:xfrm>
          <a:off x="3839260" y="1778215"/>
          <a:ext cx="2224254" cy="1556906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900" kern="1200" dirty="0"/>
            <a:t>Melissa Romero Martinez</a:t>
          </a:r>
        </a:p>
      </dsp:txBody>
      <dsp:txXfrm>
        <a:off x="3915276" y="1854231"/>
        <a:ext cx="2072222" cy="1404874"/>
      </dsp:txXfrm>
    </dsp:sp>
    <dsp:sp modelId="{B81C8216-86BA-44C1-B9EA-C51695EBE431}">
      <dsp:nvSpPr>
        <dsp:cNvPr id="0" name=""/>
        <dsp:cNvSpPr/>
      </dsp:nvSpPr>
      <dsp:spPr>
        <a:xfrm>
          <a:off x="6063515" y="1926701"/>
          <a:ext cx="1617711" cy="1258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 dirty="0"/>
            <a:t>PPG signal processing and filtering</a:t>
          </a:r>
          <a:endParaRPr lang="de-DE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Detailed approach to the PALS cardiac parameters</a:t>
          </a:r>
        </a:p>
      </dsp:txBody>
      <dsp:txXfrm>
        <a:off x="6063515" y="1926701"/>
        <a:ext cx="1617711" cy="1258360"/>
      </dsp:txXfrm>
    </dsp:sp>
    <dsp:sp modelId="{E828388F-92BC-420C-B3B2-410164A4305B}">
      <dsp:nvSpPr>
        <dsp:cNvPr id="0" name=""/>
        <dsp:cNvSpPr/>
      </dsp:nvSpPr>
      <dsp:spPr>
        <a:xfrm>
          <a:off x="5683404" y="3527134"/>
          <a:ext cx="2224254" cy="1556906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900" kern="1200" dirty="0"/>
            <a:t>Eva-Maria Olweiner </a:t>
          </a:r>
          <a:endParaRPr lang="de-DE" sz="2900" kern="1200" dirty="0"/>
        </a:p>
      </dsp:txBody>
      <dsp:txXfrm>
        <a:off x="5759420" y="3603150"/>
        <a:ext cx="2072222" cy="1404874"/>
      </dsp:txXfrm>
    </dsp:sp>
    <dsp:sp modelId="{456375FE-6009-4851-92CC-652FFFCDF33B}">
      <dsp:nvSpPr>
        <dsp:cNvPr id="0" name=""/>
        <dsp:cNvSpPr/>
      </dsp:nvSpPr>
      <dsp:spPr>
        <a:xfrm>
          <a:off x="7907659" y="3675621"/>
          <a:ext cx="1617711" cy="1258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Estimating the BP with Machine Learn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Homogeneous group training</a:t>
          </a:r>
        </a:p>
      </dsp:txBody>
      <dsp:txXfrm>
        <a:off x="7907659" y="3675621"/>
        <a:ext cx="1617711" cy="12583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66ABC2-26A8-0746-ACC3-9CDB38118AC7}">
      <dsp:nvSpPr>
        <dsp:cNvPr id="0" name=""/>
        <dsp:cNvSpPr/>
      </dsp:nvSpPr>
      <dsp:spPr>
        <a:xfrm>
          <a:off x="1371" y="1077953"/>
          <a:ext cx="1670634" cy="668253"/>
        </a:xfrm>
        <a:prstGeom prst="chevron">
          <a:avLst/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lectrical circuit</a:t>
          </a:r>
        </a:p>
      </dsp:txBody>
      <dsp:txXfrm>
        <a:off x="335498" y="1077953"/>
        <a:ext cx="1002381" cy="668253"/>
      </dsp:txXfrm>
    </dsp:sp>
    <dsp:sp modelId="{17DFCA06-F216-CC4E-A2B4-27E3B974E181}">
      <dsp:nvSpPr>
        <dsp:cNvPr id="0" name=""/>
        <dsp:cNvSpPr/>
      </dsp:nvSpPr>
      <dsp:spPr>
        <a:xfrm>
          <a:off x="1504942" y="1077953"/>
          <a:ext cx="1670634" cy="668253"/>
        </a:xfrm>
        <a:prstGeom prst="chevron">
          <a:avLst/>
        </a:prstGeom>
        <a:solidFill>
          <a:srgbClr val="A5A5A5">
            <a:hueOff val="1355300"/>
            <a:satOff val="50000"/>
            <a:lumOff val="-735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D and Sensor</a:t>
          </a:r>
        </a:p>
      </dsp:txBody>
      <dsp:txXfrm>
        <a:off x="1839069" y="1077953"/>
        <a:ext cx="1002381" cy="668253"/>
      </dsp:txXfrm>
    </dsp:sp>
    <dsp:sp modelId="{CD48BAFD-297E-BB4C-B8C2-901407B9FDBA}">
      <dsp:nvSpPr>
        <dsp:cNvPr id="0" name=""/>
        <dsp:cNvSpPr/>
      </dsp:nvSpPr>
      <dsp:spPr>
        <a:xfrm>
          <a:off x="3008513" y="1077953"/>
          <a:ext cx="1670634" cy="668253"/>
        </a:xfrm>
        <a:prstGeom prst="chevron">
          <a:avLst/>
        </a:prstGeom>
        <a:solidFill>
          <a:srgbClr val="A5A5A5">
            <a:hueOff val="2710599"/>
            <a:satOff val="100000"/>
            <a:lumOff val="-1470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Processing and Visualisation Software</a:t>
          </a:r>
        </a:p>
      </dsp:txBody>
      <dsp:txXfrm>
        <a:off x="3342640" y="1077953"/>
        <a:ext cx="1002381" cy="66825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66ABC2-26A8-0746-ACC3-9CDB38118AC7}">
      <dsp:nvSpPr>
        <dsp:cNvPr id="0" name=""/>
        <dsp:cNvSpPr/>
      </dsp:nvSpPr>
      <dsp:spPr>
        <a:xfrm rot="10800000">
          <a:off x="2853470" y="635202"/>
          <a:ext cx="1584538" cy="633815"/>
        </a:xfrm>
        <a:prstGeom prst="chevron">
          <a:avLst/>
        </a:prstGeom>
        <a:solidFill>
          <a:srgbClr val="A5A5A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" tIns="16002" rIns="48006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UI Background</a:t>
          </a:r>
        </a:p>
      </dsp:txBody>
      <dsp:txXfrm rot="10800000">
        <a:off x="3170377" y="635202"/>
        <a:ext cx="950723" cy="633815"/>
      </dsp:txXfrm>
    </dsp:sp>
    <dsp:sp modelId="{17DFCA06-F216-CC4E-A2B4-27E3B974E181}">
      <dsp:nvSpPr>
        <dsp:cNvPr id="0" name=""/>
        <dsp:cNvSpPr/>
      </dsp:nvSpPr>
      <dsp:spPr>
        <a:xfrm rot="10800000">
          <a:off x="1427385" y="635202"/>
          <a:ext cx="1584538" cy="633815"/>
        </a:xfrm>
        <a:prstGeom prst="chevron">
          <a:avLst/>
        </a:prstGeom>
        <a:solidFill>
          <a:srgbClr val="A5A5A5">
            <a:hueOff val="1355300"/>
            <a:satOff val="50000"/>
            <a:lumOff val="-735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" tIns="16002" rIns="48006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Patient-adapted questionnaire</a:t>
          </a:r>
        </a:p>
      </dsp:txBody>
      <dsp:txXfrm rot="10800000">
        <a:off x="1744292" y="635202"/>
        <a:ext cx="950723" cy="633815"/>
      </dsp:txXfrm>
    </dsp:sp>
    <dsp:sp modelId="{CD48BAFD-297E-BB4C-B8C2-901407B9FDBA}">
      <dsp:nvSpPr>
        <dsp:cNvPr id="0" name=""/>
        <dsp:cNvSpPr/>
      </dsp:nvSpPr>
      <dsp:spPr>
        <a:xfrm rot="10800000">
          <a:off x="1300" y="635202"/>
          <a:ext cx="1584538" cy="633815"/>
        </a:xfrm>
        <a:prstGeom prst="chevron">
          <a:avLst/>
        </a:prstGeom>
        <a:solidFill>
          <a:srgbClr val="A5A5A5">
            <a:hueOff val="2710599"/>
            <a:satOff val="100000"/>
            <a:lumOff val="-1470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" tIns="16002" rIns="48006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ight-Skin Simulation</a:t>
          </a:r>
        </a:p>
      </dsp:txBody>
      <dsp:txXfrm rot="10800000">
        <a:off x="318207" y="635202"/>
        <a:ext cx="950723" cy="63381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6751EB-3012-4B08-9043-50D8C08E5EB6}">
      <dsp:nvSpPr>
        <dsp:cNvPr id="0" name=""/>
        <dsp:cNvSpPr/>
      </dsp:nvSpPr>
      <dsp:spPr>
        <a:xfrm>
          <a:off x="0" y="516159"/>
          <a:ext cx="737636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A341CF-9F5B-4C04-92BA-4923AF3F5473}">
      <dsp:nvSpPr>
        <dsp:cNvPr id="0" name=""/>
        <dsp:cNvSpPr/>
      </dsp:nvSpPr>
      <dsp:spPr>
        <a:xfrm>
          <a:off x="368818" y="220959"/>
          <a:ext cx="5163457" cy="590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166" tIns="0" rIns="19516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Greater sample needed for a real analysis of the wavelength effect</a:t>
          </a:r>
        </a:p>
      </dsp:txBody>
      <dsp:txXfrm>
        <a:off x="397639" y="249780"/>
        <a:ext cx="5105815" cy="532758"/>
      </dsp:txXfrm>
    </dsp:sp>
    <dsp:sp modelId="{F2B8E533-1DA9-4448-8656-2EB1B9FB05F3}">
      <dsp:nvSpPr>
        <dsp:cNvPr id="0" name=""/>
        <dsp:cNvSpPr/>
      </dsp:nvSpPr>
      <dsp:spPr>
        <a:xfrm>
          <a:off x="0" y="1423359"/>
          <a:ext cx="737636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2801271"/>
              <a:satOff val="4668"/>
              <a:lumOff val="186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9A84FE-2BCE-4BFC-A9CC-38109BB3BC26}">
      <dsp:nvSpPr>
        <dsp:cNvPr id="0" name=""/>
        <dsp:cNvSpPr/>
      </dsp:nvSpPr>
      <dsp:spPr>
        <a:xfrm>
          <a:off x="368818" y="1128159"/>
          <a:ext cx="5163457" cy="590400"/>
        </a:xfrm>
        <a:prstGeom prst="roundRect">
          <a:avLst/>
        </a:prstGeom>
        <a:solidFill>
          <a:schemeClr val="accent2">
            <a:hueOff val="-2801271"/>
            <a:satOff val="4668"/>
            <a:lumOff val="186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166" tIns="0" rIns="19516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ssert the accuracy with an ECG and the final PALS device</a:t>
          </a:r>
        </a:p>
      </dsp:txBody>
      <dsp:txXfrm>
        <a:off x="397639" y="1156980"/>
        <a:ext cx="5105815" cy="532758"/>
      </dsp:txXfrm>
    </dsp:sp>
    <dsp:sp modelId="{FC2C9ED5-08F7-4217-9FFD-1A416181A159}">
      <dsp:nvSpPr>
        <dsp:cNvPr id="0" name=""/>
        <dsp:cNvSpPr/>
      </dsp:nvSpPr>
      <dsp:spPr>
        <a:xfrm>
          <a:off x="0" y="2330560"/>
          <a:ext cx="737636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5602542"/>
              <a:satOff val="9337"/>
              <a:lumOff val="372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9EE17-8C0F-434E-9744-912FB633B654}">
      <dsp:nvSpPr>
        <dsp:cNvPr id="0" name=""/>
        <dsp:cNvSpPr/>
      </dsp:nvSpPr>
      <dsp:spPr>
        <a:xfrm>
          <a:off x="368818" y="2035359"/>
          <a:ext cx="5163457" cy="590400"/>
        </a:xfrm>
        <a:prstGeom prst="roundRect">
          <a:avLst/>
        </a:prstGeom>
        <a:solidFill>
          <a:schemeClr val="accent2">
            <a:hueOff val="-5602542"/>
            <a:satOff val="9337"/>
            <a:lumOff val="37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166" tIns="0" rIns="19516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Patient-adapted study should get more insight from health professionals</a:t>
          </a:r>
        </a:p>
      </dsp:txBody>
      <dsp:txXfrm>
        <a:off x="397639" y="2064180"/>
        <a:ext cx="5105815" cy="532758"/>
      </dsp:txXfrm>
    </dsp:sp>
    <dsp:sp modelId="{B6F7F2AC-9C42-451F-BC4B-9981E0C8D310}">
      <dsp:nvSpPr>
        <dsp:cNvPr id="0" name=""/>
        <dsp:cNvSpPr/>
      </dsp:nvSpPr>
      <dsp:spPr>
        <a:xfrm>
          <a:off x="0" y="3237759"/>
          <a:ext cx="737636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8403812"/>
              <a:satOff val="14005"/>
              <a:lumOff val="558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EBBF79-C0A4-4470-B412-00B417605242}">
      <dsp:nvSpPr>
        <dsp:cNvPr id="0" name=""/>
        <dsp:cNvSpPr/>
      </dsp:nvSpPr>
      <dsp:spPr>
        <a:xfrm>
          <a:off x="368818" y="2942560"/>
          <a:ext cx="5163457" cy="590400"/>
        </a:xfrm>
        <a:prstGeom prst="roundRect">
          <a:avLst/>
        </a:prstGeom>
        <a:solidFill>
          <a:schemeClr val="accent2">
            <a:hueOff val="-8403812"/>
            <a:satOff val="14005"/>
            <a:lumOff val="55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166" tIns="0" rIns="19516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Machine Learning Optimization is needed to access indeed cardiac parameters</a:t>
          </a:r>
        </a:p>
      </dsp:txBody>
      <dsp:txXfrm>
        <a:off x="397639" y="2971381"/>
        <a:ext cx="5105815" cy="532758"/>
      </dsp:txXfrm>
    </dsp:sp>
    <dsp:sp modelId="{8302EEE2-0AEF-4FD4-ADD1-D5DD0FEBD6AC}">
      <dsp:nvSpPr>
        <dsp:cNvPr id="0" name=""/>
        <dsp:cNvSpPr/>
      </dsp:nvSpPr>
      <dsp:spPr>
        <a:xfrm>
          <a:off x="0" y="4144960"/>
          <a:ext cx="737636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-11205083"/>
              <a:satOff val="18673"/>
              <a:lumOff val="745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AB9947-B25E-429C-BEB5-E06B90F5009A}">
      <dsp:nvSpPr>
        <dsp:cNvPr id="0" name=""/>
        <dsp:cNvSpPr/>
      </dsp:nvSpPr>
      <dsp:spPr>
        <a:xfrm>
          <a:off x="368818" y="3849760"/>
          <a:ext cx="5163457" cy="590400"/>
        </a:xfrm>
        <a:prstGeom prst="roundRect">
          <a:avLst/>
        </a:prstGeom>
        <a:solidFill>
          <a:schemeClr val="accent2">
            <a:hueOff val="-11205083"/>
            <a:satOff val="18673"/>
            <a:lumOff val="745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166" tIns="0" rIns="19516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Optimisation of the code architecture and velocity</a:t>
          </a:r>
        </a:p>
      </dsp:txBody>
      <dsp:txXfrm>
        <a:off x="397639" y="3878581"/>
        <a:ext cx="5105815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de-DE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7-27</a:t>
            </a:r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´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o Marking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 hidden="1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7-27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´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o Marking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 hidden="1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7-27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5156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 this in mind, Peter and I started building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170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 this in mind, Peter and I started building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499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Google Shape;740;ga7692bd1e7_0_113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1" name="Google Shape;741;ga7692bd1e7_0_113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dirty="0">
                <a:solidFill>
                  <a:schemeClr val="lt1"/>
                </a:solidFill>
                <a:latin typeface="Josefin Slab"/>
                <a:ea typeface="Josefin Slab"/>
                <a:cs typeface="Josefin Slab"/>
                <a:sym typeface="Josefin Slab"/>
              </a:rPr>
              <a:t>- Healthcare is going through a deep transformation, engaging more the patient and technology. </a:t>
            </a:r>
            <a:br>
              <a:rPr lang="en" sz="1200" dirty="0">
                <a:latin typeface="Josefin Slab"/>
                <a:ea typeface="Josefin Slab"/>
                <a:cs typeface="Josefin Slab"/>
                <a:sym typeface="Josefin Slab"/>
              </a:rPr>
            </a:br>
            <a:r>
              <a:rPr lang="en" sz="1200" dirty="0">
                <a:latin typeface="Josefin Slab"/>
                <a:ea typeface="Josefin Slab"/>
                <a:cs typeface="Josefin Slab"/>
                <a:sym typeface="Josefin Slab"/>
              </a:rPr>
              <a:t>- PPG models are already used as a healthcare device in the US</a:t>
            </a:r>
            <a:br>
              <a:rPr lang="en" sz="1200" dirty="0">
                <a:latin typeface="Josefin Slab"/>
                <a:ea typeface="Josefin Slab"/>
                <a:cs typeface="Josefin Slab"/>
                <a:sym typeface="Josefin Slab"/>
              </a:rPr>
            </a:br>
            <a:r>
              <a:rPr lang="en" sz="1200" dirty="0">
                <a:latin typeface="Josefin Slab"/>
                <a:ea typeface="Josefin Slab"/>
                <a:cs typeface="Josefin Slab"/>
                <a:sym typeface="Josefin Slab"/>
              </a:rPr>
              <a:t>- For PPG to become a replacement of ECG, it needs to be patient adaptative and accurate.</a:t>
            </a:r>
            <a:endParaRPr lang="en" sz="1200" dirty="0">
              <a:solidFill>
                <a:schemeClr val="lt1"/>
              </a:solidFill>
              <a:latin typeface="Josefin Slab"/>
              <a:ea typeface="Josefin Slab"/>
              <a:cs typeface="Josefin Slab"/>
              <a:sym typeface="Josefin Slab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One of the main struggle is accuracy and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64239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March: 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sis Reading : read all the thesis regarding PALS and PPG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d th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O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port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ekly meeting with Peter and Project Management : 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PR March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 March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leau tutorial o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tub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Cockpit &amp; Demand Change CW11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edback from BC and DC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TC CW 11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DE" b="1" dirty="0"/>
          </a:p>
          <a:p>
            <a:r>
              <a:rPr lang="de-DE" b="1" dirty="0"/>
              <a:t>April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I of the App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chine Learning EDX Class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PG sensor datasheets obtained from Infineon colleagues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b Access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ilding the simulation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boScript tutorials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boScript automatization of the BC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boscrip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utomatization of the DC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TC CW 16</a:t>
            </a:r>
          </a:p>
          <a:p>
            <a:pPr lvl="0"/>
            <a:endParaRPr lang="en-US" sz="1200" i="1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b="1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y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xygen saturation from the signal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ish the theoretical part of the thesis -&gt;better understanding of the "behind" of the code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ilding the simulation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969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9572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Google Shape;740;ga7692bd1e7_0_113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1" name="Google Shape;741;ga7692bd1e7_0_113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" name="Google Shape;836;ga7692bd1e7_0_114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7" name="Google Shape;837;ga7692bd1e7_0_114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" name="Google Shape;836;ga7692bd1e7_0_114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7" name="Google Shape;837;ga7692bd1e7_0_114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950451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125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senter: Peter </a:t>
            </a:r>
            <a:r>
              <a:rPr lang="en-US" dirty="0" err="1"/>
              <a:t>Wawer</a:t>
            </a:r>
            <a:endParaRPr lang="en-US" dirty="0"/>
          </a:p>
          <a:p>
            <a:endParaRPr lang="en-US" dirty="0"/>
          </a:p>
          <a:p>
            <a:r>
              <a:rPr lang="en-US" dirty="0"/>
              <a:t>Among other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silience of business in </a:t>
            </a:r>
            <a:r>
              <a:rPr lang="en-US" dirty="0" err="1"/>
              <a:t>Covid</a:t>
            </a:r>
            <a:r>
              <a:rPr lang="en-US" dirty="0"/>
              <a:t>-year 2020 prov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gment margin =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venue=</a:t>
            </a:r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22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2-04</a:t>
            </a: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5B913A-0097-4593-A1AB-B9C8ECC6D7D9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974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-603250" y="982663"/>
            <a:ext cx="8004175" cy="4503737"/>
          </a:xfrm>
        </p:spPr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First I am going to give you a brief introduction of myself.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My name is Kenza Benkirane, I am 24 years old and I am from Casablanca in Morocco. </a:t>
            </a:r>
          </a:p>
          <a:p>
            <a:r>
              <a:rPr lang="de-DE" dirty="0">
                <a:solidFill>
                  <a:schemeClr val="tx1"/>
                </a:solidFill>
              </a:rPr>
              <a:t>After my high school diploma, I went to Paris in the intensive preparatory classes to prepare the entering to the Engineering Schools. My main focus was Physics and Chemistry. That‘s how I joined INSA Lyon in Materials Sciences and Engineering.</a:t>
            </a:r>
          </a:p>
          <a:p>
            <a:r>
              <a:rPr lang="de-DE" dirty="0">
                <a:solidFill>
                  <a:schemeClr val="tx1"/>
                </a:solidFill>
              </a:rPr>
              <a:t>In August 2020, I joined the UNITECH Program, that gave me the opportunity to go Politecnico di Milano as an exchange student. 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About my practical experience, I‘ve worked mainly in the biomedical and healthcare field. First, I was a data science intern at HSS, which introduced me to Python. Then, I‘ve work in a french startupm Skairos, where I discovered the clinical perspective of the field.</a:t>
            </a:r>
          </a:p>
          <a:p>
            <a:r>
              <a:rPr lang="de-DE" dirty="0">
                <a:solidFill>
                  <a:schemeClr val="tx1"/>
                </a:solidFill>
              </a:rPr>
              <a:t>In March I started my intership at Infineon Technologies. Today I‘m going to present to you my projects and achievements.</a:t>
            </a:r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22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+mn-cs"/>
              </a:rPr>
              <a:t>Copyright © Infineon Technologies AG 2021. All rights reserved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+mn-cs"/>
              </a:rPr>
              <a:t>restricted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+mn-cs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+mn-cs"/>
              </a:rPr>
              <a:t>2021-07-2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+mn-cs"/>
            </a:endParaRP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5E1CB4-6977-43BF-ACA9-CC28B9D6A55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+mn-cs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1334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2925763" y="669925"/>
            <a:ext cx="4090987" cy="2300288"/>
          </a:xfrm>
        </p:spPr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22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2-12</a:t>
            </a: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1044B06-BD16-4441-B495-45FEDCE9EE5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0721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-579438" y="1012825"/>
            <a:ext cx="8258176" cy="4646613"/>
          </a:xfrm>
        </p:spPr>
      </p:sp>
      <p:sp>
        <p:nvSpPr>
          <p:cNvPr id="13" name="IFXSHAPE"/>
          <p:cNvSpPr>
            <a:spLocks noGrp="1"/>
          </p:cNvSpPr>
          <p:nvPr>
            <p:ph type="body" idx="3"/>
          </p:nvPr>
        </p:nvSpPr>
        <p:spPr>
          <a:xfrm>
            <a:off x="453306" y="5868498"/>
            <a:ext cx="6191968" cy="3672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</a:rPr>
              <a:t>Copyright © Infineon Technologies AG 2021. All rights reserved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</a:rPr>
              <a:t>restricted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Verdana" pitchFamily="34" charset="0"/>
              <a:ea typeface="Verdana" pitchFamily="34" charset="0"/>
            </a:endParaRPr>
          </a:p>
        </p:txBody>
      </p:sp>
      <p:sp>
        <p:nvSpPr>
          <p:cNvPr id="16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2-1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7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6DF08C-57E6-45A4-8BE2-F78FD27B3CD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5188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2925763" y="669925"/>
            <a:ext cx="4090987" cy="2300288"/>
          </a:xfrm>
        </p:spPr>
      </p:sp>
      <p:sp>
        <p:nvSpPr>
          <p:cNvPr id="3" name="IFXSHAP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lide 65</a:t>
            </a:r>
          </a:p>
        </p:txBody>
      </p:sp>
      <p:sp>
        <p:nvSpPr>
          <p:cNvPr id="4" name="IFXSHAPE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22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FXSHAP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IFXSHAPE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l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1-17</a:t>
            </a:r>
          </a:p>
        </p:txBody>
      </p:sp>
      <p:sp>
        <p:nvSpPr>
          <p:cNvPr id="7" name="IFXSHAPE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8822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D8EF9D-9AC7-4D08-A60A-1E7B54F297F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8822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436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, let me introduce you to Infine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752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32338"/>
            <a:ext cx="6191968" cy="4808160"/>
          </a:xfrm>
        </p:spPr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ineon is one of the top 10 semiconductor companies. It’s separated in 4divisions :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V : Automotive Division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SS : Power and Sensors Systems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ial Power Control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SS : Connected Secure Systems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rge domain of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catz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of B to B clients.  Especially as a Materials Engineer,  it gave me great insight into the wide range of application of the semiconductor, but also how essential it is in nowadays society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6" y="295163"/>
            <a:ext cx="4422857" cy="419422"/>
          </a:xfrm>
        </p:spPr>
        <p:txBody>
          <a:bodyPr/>
          <a:lstStyle/>
          <a:p>
            <a:pPr marL="0" marR="0" lvl="0" indent="0" algn="l" defTabSz="9558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6"/>
            <a:ext cx="4824411" cy="144933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E30034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6"/>
            <a:ext cx="864320" cy="144933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2-04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6"/>
            <a:ext cx="503237" cy="144933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DDCBF1-8D0F-4C0B-B124-7035218A6C4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2572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2438" y="1012825"/>
            <a:ext cx="6191250" cy="3482975"/>
          </a:xfrm>
        </p:spPr>
      </p:sp>
      <p:sp>
        <p:nvSpPr>
          <p:cNvPr id="13" name="IFXSHAPE"/>
          <p:cNvSpPr>
            <a:spLocks noGrp="1"/>
          </p:cNvSpPr>
          <p:nvPr>
            <p:ph type="body" idx="3"/>
          </p:nvPr>
        </p:nvSpPr>
        <p:spPr>
          <a:xfrm>
            <a:off x="453306" y="4732338"/>
            <a:ext cx="6191968" cy="4808160"/>
          </a:xfrm>
        </p:spPr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emiconductor market is expected to grow 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raordinarelly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quick, as we can  see on this graph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underlines two main challenges :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ip manufacturing which takes a lot of time and takes a time to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nsw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o a demand boom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/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ly chain issues : SCI is at the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this demand explosion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IFXSHAPE"/>
          <p:cNvSpPr>
            <a:spLocks noGrp="1"/>
          </p:cNvSpPr>
          <p:nvPr>
            <p:ph type="hdr" sz="quarter"/>
          </p:nvPr>
        </p:nvSpPr>
        <p:spPr>
          <a:xfrm>
            <a:off x="454028" y="295163"/>
            <a:ext cx="4422857" cy="419422"/>
          </a:xfrm>
        </p:spPr>
        <p:txBody>
          <a:bodyPr/>
          <a:lstStyle/>
          <a:p>
            <a:pPr marL="0" marR="0" lvl="0" indent="0" algn="l" defTabSz="9557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8"/>
            <a:ext cx="4824411" cy="144933"/>
          </a:xfrm>
        </p:spPr>
        <p:txBody>
          <a:bodyPr/>
          <a:lstStyle/>
          <a:p>
            <a:pPr marL="0" marR="0" lvl="0" indent="0" algn="ctr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1. All rights reserved.</a:t>
            </a:r>
          </a:p>
          <a:p>
            <a:pPr marL="0" marR="0" lvl="0" indent="0" algn="ctr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IFXSHAPE"/>
          <p:cNvSpPr>
            <a:spLocks noGrp="1"/>
          </p:cNvSpPr>
          <p:nvPr>
            <p:ph type="dt" idx="1"/>
          </p:nvPr>
        </p:nvSpPr>
        <p:spPr>
          <a:xfrm>
            <a:off x="453307" y="9940928"/>
            <a:ext cx="1224084" cy="144933"/>
          </a:xfrm>
        </p:spPr>
        <p:txBody>
          <a:bodyPr/>
          <a:lstStyle/>
          <a:p>
            <a:pPr marL="0" marR="0" lvl="0" indent="0" algn="l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1-04-26</a:t>
            </a:r>
          </a:p>
          <a:p>
            <a:pPr marL="0" marR="0" lvl="0" indent="0" algn="l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7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8"/>
            <a:ext cx="503237" cy="144933"/>
          </a:xfrm>
        </p:spPr>
        <p:txBody>
          <a:bodyPr/>
          <a:lstStyle/>
          <a:p>
            <a:pPr marL="0" marR="0" lvl="0" indent="0" algn="r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7D466E-6FA2-414A-AE7E-80ADD544E75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 marL="0" marR="0" lvl="0" indent="0" algn="r" defTabSz="9476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r" defTabSz="9476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90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oth aspects interesting and give an overview of SC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612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5924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630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 this in mind, Peter and I started building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2021-07-27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56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 hidden="1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3" name="empower_classification_placeholder" hidden="1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3" name="empower_classification_placeholder" hidden="1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14" name="empower_classification_placeholder" hidden="1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11" name="empower_classification_placeholder" hidden="1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0" name="empower_classification_placeholder" hidden="1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FXSHAPE">
            <a:extLst>
              <a:ext uri="{FF2B5EF4-FFF2-40B4-BE49-F238E27FC236}">
                <a16:creationId xmlns:a16="http://schemas.microsoft.com/office/drawing/2014/main" id="{B5D712F3-AD63-46FB-971F-4D1FE4B4D98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07964" y="6553200"/>
            <a:ext cx="576072" cy="304800"/>
          </a:xfrm>
        </p:spPr>
        <p:txBody>
          <a:bodyPr wrap="none" lIns="0" tIns="0" rIns="0" bIns="0" anchor="ctr">
            <a:noAutofit/>
          </a:bodyPr>
          <a:lstStyle>
            <a:lvl1pPr algn="ctr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/>
              <a:t>Copyright © Infineon Technologies AG 2021. All rights reserved.</a:t>
            </a:r>
            <a:endParaRPr lang="de-DE"/>
          </a:p>
        </p:txBody>
      </p:sp>
      <p:sp>
        <p:nvSpPr>
          <p:cNvPr id="3" name="IFXSHAPE">
            <a:extLst>
              <a:ext uri="{FF2B5EF4-FFF2-40B4-BE49-F238E27FC236}">
                <a16:creationId xmlns:a16="http://schemas.microsoft.com/office/drawing/2014/main" id="{AE595A4B-4F1D-45EA-B11D-5D8F042338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9378" y="6553200"/>
            <a:ext cx="288036" cy="304800"/>
          </a:xfrm>
        </p:spPr>
        <p:txBody>
          <a:bodyPr wrap="none" lIns="0" tIns="0" rIns="0" bIns="0" anchor="ctr">
            <a:noAutofit/>
          </a:bodyPr>
          <a:lstStyle>
            <a:lvl1pPr algn="r" fontAlgn="t">
              <a:buClr>
                <a:srgbClr val="928285"/>
              </a:buClr>
              <a:defRPr sz="1600" b="0">
                <a:solidFill>
                  <a:srgbClr val="FFFFFF"/>
                </a:solidFill>
                <a:latin typeface="Verdana" panose="020B0604030504040204" pitchFamily="34" charset="0"/>
              </a:defRPr>
            </a:lvl1pPr>
          </a:lstStyle>
          <a:p>
            <a:fld id="{E0FC2C8A-9BDE-45CF-9A23-76702116785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IFXSHAPE"/>
          <p:cNvSpPr>
            <a:spLocks noGrp="1"/>
          </p:cNvSpPr>
          <p:nvPr>
            <p:ph type="title" hasCustomPrompt="1"/>
          </p:nvPr>
        </p:nvSpPr>
        <p:spPr>
          <a:xfrm>
            <a:off x="335360" y="188720"/>
            <a:ext cx="9631680" cy="720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title</a:t>
            </a:r>
          </a:p>
        </p:txBody>
      </p:sp>
      <p:sp>
        <p:nvSpPr>
          <p:cNvPr id="7" name="IFXSHAPE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4"/>
            <a:ext cx="11522207" cy="5113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IFXSHAPE">
            <a:extLst>
              <a:ext uri="{FF2B5EF4-FFF2-40B4-BE49-F238E27FC236}">
                <a16:creationId xmlns:a16="http://schemas.microsoft.com/office/drawing/2014/main" id="{FA2EFC20-6430-4AD4-8185-0283ECCD202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432" y="6553200"/>
            <a:ext cx="288036" cy="304800"/>
          </a:xfrm>
        </p:spPr>
        <p:txBody>
          <a:bodyPr wrap="none" lIns="0" tIns="0" rIns="0" bIns="0" anchor="ctr">
            <a:noAutofit/>
          </a:bodyPr>
          <a:lstStyle>
            <a:lvl1pPr algn="l" fontAlgn="t">
              <a:buClr>
                <a:schemeClr val="accent2"/>
              </a:buClr>
              <a:defRPr sz="800" b="0">
                <a:solidFill>
                  <a:schemeClr val="accent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/>
              <a:t>2021-07-21             </a:t>
            </a:r>
            <a:r>
              <a:rPr lang="de-DE" b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332354262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8" name="empower_classification_placeholder" hidden="1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0" name="empower_classification_placeholder" hidden="1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1" name="empower_classification_placeholder" hidden="1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13" name="empower_classification_placeholder" hidden="1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´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7-27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6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8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de-DE" b="1"/>
              <a:t> </a:t>
            </a:r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>
            <p:custDataLst>
              <p:tags r:id="rId29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  <p:sldLayoutId id="2147483756" r:id="rId20"/>
  </p:sldLayoutIdLst>
  <p:hf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9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0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13.xml"/><Relationship Id="rId7" Type="http://schemas.openxmlformats.org/officeDocument/2006/relationships/image" Target="../media/image27.png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26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9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image" Target="../media/image9.png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notesSlide" Target="../notesSlides/notesSlide14.xml"/><Relationship Id="rId2" Type="http://schemas.openxmlformats.org/officeDocument/2006/relationships/tags" Target="../tags/tag217.xml"/><Relationship Id="rId16" Type="http://schemas.openxmlformats.org/officeDocument/2006/relationships/slideLayout" Target="../slideLayouts/slideLayout5.xml"/><Relationship Id="rId20" Type="http://schemas.openxmlformats.org/officeDocument/2006/relationships/slide" Target="slide8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10" Type="http://schemas.openxmlformats.org/officeDocument/2006/relationships/tags" Target="../tags/tag225.xml"/><Relationship Id="rId19" Type="http://schemas.openxmlformats.org/officeDocument/2006/relationships/slide" Target="slide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9.xml"/><Relationship Id="rId6" Type="http://schemas.openxmlformats.org/officeDocument/2006/relationships/image" Target="../media/image8.png"/><Relationship Id="rId11" Type="http://schemas.openxmlformats.org/officeDocument/2006/relationships/image" Target="../media/image13.jp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9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53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8.jpeg"/><Relationship Id="rId20" Type="http://schemas.openxmlformats.org/officeDocument/2006/relationships/image" Target="../media/image52.png"/><Relationship Id="rId1" Type="http://schemas.openxmlformats.org/officeDocument/2006/relationships/tags" Target="../tags/tag231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24" Type="http://schemas.openxmlformats.org/officeDocument/2006/relationships/image" Target="../media/image56.jpeg"/><Relationship Id="rId5" Type="http://schemas.openxmlformats.org/officeDocument/2006/relationships/chart" Target="../charts/chart5.xml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10" Type="http://schemas.openxmlformats.org/officeDocument/2006/relationships/image" Target="../media/image42.png"/><Relationship Id="rId19" Type="http://schemas.openxmlformats.org/officeDocument/2006/relationships/image" Target="../media/image51.gif"/><Relationship Id="rId4" Type="http://schemas.openxmlformats.org/officeDocument/2006/relationships/chart" Target="../charts/chart4.xml"/><Relationship Id="rId9" Type="http://schemas.openxmlformats.org/officeDocument/2006/relationships/image" Target="../media/image41.jpeg"/><Relationship Id="rId14" Type="http://schemas.openxmlformats.org/officeDocument/2006/relationships/image" Target="../media/image46.png"/><Relationship Id="rId22" Type="http://schemas.openxmlformats.org/officeDocument/2006/relationships/image" Target="../media/image54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11" Type="http://schemas.openxmlformats.org/officeDocument/2006/relationships/image" Target="../media/image9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18" Type="http://schemas.openxmlformats.org/officeDocument/2006/relationships/slide" Target="slide4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image" Target="../media/image9.png"/><Relationship Id="rId2" Type="http://schemas.openxmlformats.org/officeDocument/2006/relationships/tags" Target="../tags/tag161.xml"/><Relationship Id="rId16" Type="http://schemas.openxmlformats.org/officeDocument/2006/relationships/slideLayout" Target="../slideLayouts/slideLayout5.xml"/><Relationship Id="rId20" Type="http://schemas.openxmlformats.org/officeDocument/2006/relationships/slide" Target="slide19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10" Type="http://schemas.openxmlformats.org/officeDocument/2006/relationships/tags" Target="../tags/tag169.xml"/><Relationship Id="rId19" Type="http://schemas.openxmlformats.org/officeDocument/2006/relationships/slide" Target="slide8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13" Type="http://schemas.openxmlformats.org/officeDocument/2006/relationships/comments" Target="../comments/comment1.xml"/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pn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jpeg"/><Relationship Id="rId9" Type="http://schemas.openxmlformats.org/officeDocument/2006/relationships/image" Target="../media/image7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4" Type="http://schemas.openxmlformats.org/officeDocument/2006/relationships/image" Target="../media/image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publication/325675749_Advances_in_Photopletysmography_Signal_Analysis_for_Biomedical_Applications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18" Type="http://schemas.openxmlformats.org/officeDocument/2006/relationships/image" Target="../media/image9.png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76.xml"/><Relationship Id="rId16" Type="http://schemas.openxmlformats.org/officeDocument/2006/relationships/slideLayout" Target="../slideLayouts/slideLayout5.xml"/><Relationship Id="rId20" Type="http://schemas.openxmlformats.org/officeDocument/2006/relationships/slide" Target="slide19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tags" Target="../tags/tag189.xml"/><Relationship Id="rId10" Type="http://schemas.openxmlformats.org/officeDocument/2006/relationships/tags" Target="../tags/tag184.xml"/><Relationship Id="rId19" Type="http://schemas.openxmlformats.org/officeDocument/2006/relationships/slide" Target="slide8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0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10" Type="http://schemas.openxmlformats.org/officeDocument/2006/relationships/image" Target="../media/image9.png"/><Relationship Id="rId4" Type="http://schemas.openxmlformats.org/officeDocument/2006/relationships/image" Target="../media/image16.jpeg"/><Relationship Id="rId9" Type="http://schemas.openxmlformats.org/officeDocument/2006/relationships/hyperlink" Target="https://www.infineon.com/dgdl/Infineon+Annual+Report+2020.pdf?fileId=5546d46175b876680175e6dd0540001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92.xml"/><Relationship Id="rId7" Type="http://schemas.openxmlformats.org/officeDocument/2006/relationships/image" Target="../media/image19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18" Type="http://schemas.openxmlformats.org/officeDocument/2006/relationships/image" Target="../media/image9.png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194.xml"/><Relationship Id="rId16" Type="http://schemas.openxmlformats.org/officeDocument/2006/relationships/slideLayout" Target="../slideLayouts/slideLayout5.xml"/><Relationship Id="rId20" Type="http://schemas.openxmlformats.org/officeDocument/2006/relationships/slide" Target="slide19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10" Type="http://schemas.openxmlformats.org/officeDocument/2006/relationships/tags" Target="../tags/tag202.xml"/><Relationship Id="rId19" Type="http://schemas.openxmlformats.org/officeDocument/2006/relationships/slide" Target="slide4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0FB4B93-C8A3-4772-95CB-637AB21ECF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2822711"/>
            <a:ext cx="9576456" cy="648000"/>
          </a:xfrm>
          <a:noFill/>
          <a:ln/>
        </p:spPr>
        <p:txBody>
          <a:bodyPr lIns="0" tIns="0" rIns="0" bIns="10800" anchor="b"/>
          <a:lstStyle/>
          <a:p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Graduate Project Defense</a:t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</a:rPr>
              <a:t>Simulation of the light-skin interaction for PPG application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DA6F03B-135E-4A07-9E16-F11132F741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enza Benkirane </a:t>
            </a:r>
          </a:p>
          <a:p>
            <a:r>
              <a:rPr lang="en-US" dirty="0"/>
              <a:t>5eme </a:t>
            </a:r>
            <a:r>
              <a:rPr lang="en-US" dirty="0" err="1"/>
              <a:t>annee</a:t>
            </a:r>
            <a:r>
              <a:rPr lang="en-US" dirty="0"/>
              <a:t> Sciences et Genie des </a:t>
            </a:r>
            <a:r>
              <a:rPr lang="en-US" dirty="0" err="1"/>
              <a:t>Materiaux</a:t>
            </a:r>
            <a:r>
              <a:rPr lang="en-US" dirty="0"/>
              <a:t> - </a:t>
            </a:r>
            <a:r>
              <a:rPr lang="de-DE" dirty="0"/>
              <a:t>IFAG CSC E IN</a:t>
            </a:r>
          </a:p>
          <a:p>
            <a:r>
              <a:rPr lang="de-DE" dirty="0"/>
              <a:t>July 27th, 2021</a:t>
            </a:r>
            <a:endParaRPr lang="en-US" dirty="0"/>
          </a:p>
        </p:txBody>
      </p:sp>
      <p:pic>
        <p:nvPicPr>
          <p:cNvPr id="1026" name="Picture 2" descr="Partenaires | Board of European Students of Technology">
            <a:extLst>
              <a:ext uri="{FF2B5EF4-FFF2-40B4-BE49-F238E27FC236}">
                <a16:creationId xmlns:a16="http://schemas.microsoft.com/office/drawing/2014/main" id="{5BA23633-2BBF-49CE-B850-294ACE30E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0" y="188640"/>
            <a:ext cx="1937792" cy="1090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7CF7AFC-8003-47B1-B61A-DDAB17206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736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B56DC77-7FC3-4985-90FA-F46EFE3DE7A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51521507"/>
              </p:ext>
            </p:extLst>
          </p:nvPr>
        </p:nvGraphicFramePr>
        <p:xfrm>
          <a:off x="334963" y="1268413"/>
          <a:ext cx="11520487" cy="5113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719BBA1-3352-45A0-94A6-0B6669011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s and Learning Introdu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A1CB1-B171-4BA6-A73B-0600673D9A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58932F-EDC3-4D22-B14D-A64E5EE5FB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040A7-AD98-4BD2-AD44-E19884DBA7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Picture 4" descr="Partenaires | Board of European Students of Technology">
            <a:extLst>
              <a:ext uri="{FF2B5EF4-FFF2-40B4-BE49-F238E27FC236}">
                <a16:creationId xmlns:a16="http://schemas.microsoft.com/office/drawing/2014/main" id="{3A440207-5F1B-480C-9BC3-3E42E0EA2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88571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0A2E88-135E-4A1F-B463-C9094CCDA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Distribution of the different projec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0532F-E4F7-4CAB-A4F3-2F662B26CE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4FCEA6-0A92-4934-BA1B-0705EF72EF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41ED9-61E9-4324-B2EC-4D0E8CD672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11" name="07 Stacked Area 100%">
            <a:extLst>
              <a:ext uri="{FF2B5EF4-FFF2-40B4-BE49-F238E27FC236}">
                <a16:creationId xmlns:a16="http://schemas.microsoft.com/office/drawing/2014/main" id="{9C89AC15-6E5A-46ED-A8AD-CDE690055AF9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871152"/>
              </p:ext>
            </p:extLst>
          </p:nvPr>
        </p:nvGraphicFramePr>
        <p:xfrm>
          <a:off x="334963" y="1268413"/>
          <a:ext cx="11520487" cy="5113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2" name="Picture 4" descr="Partenaires | Board of European Students of Technology">
            <a:extLst>
              <a:ext uri="{FF2B5EF4-FFF2-40B4-BE49-F238E27FC236}">
                <a16:creationId xmlns:a16="http://schemas.microsoft.com/office/drawing/2014/main" id="{486ECF54-C4F1-4D1E-9A5F-B843BB769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3468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AD51940F-D224-4AF7-91C9-2139F4A5C4D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214124867"/>
              </p:ext>
            </p:extLst>
          </p:nvPr>
        </p:nvGraphicFramePr>
        <p:xfrm>
          <a:off x="334963" y="1268413"/>
          <a:ext cx="11520487" cy="5113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PALS : 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Proximity Ambient Light Sensor</a:t>
            </a:r>
            <a:b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 passionate subject of multiple Master Theses in the last year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4" descr="Partenaires | Board of European Students of Technology">
            <a:extLst>
              <a:ext uri="{FF2B5EF4-FFF2-40B4-BE49-F238E27FC236}">
                <a16:creationId xmlns:a16="http://schemas.microsoft.com/office/drawing/2014/main" id="{A700079B-7D50-4E46-80F7-BA9FCCD70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8910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 descr="Partenaires | Board of European Students of Technology">
            <a:extLst>
              <a:ext uri="{FF2B5EF4-FFF2-40B4-BE49-F238E27FC236}">
                <a16:creationId xmlns:a16="http://schemas.microsoft.com/office/drawing/2014/main" id="{A700079B-7D50-4E46-80F7-BA9FCCD70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8A87EC78-904E-4EED-B5FF-4EC86A8D6BEE}"/>
              </a:ext>
            </a:extLst>
          </p:cNvPr>
          <p:cNvGrpSpPr/>
          <p:nvPr/>
        </p:nvGrpSpPr>
        <p:grpSpPr>
          <a:xfrm>
            <a:off x="4900987" y="2199789"/>
            <a:ext cx="2407490" cy="2181321"/>
            <a:chOff x="0" y="0"/>
            <a:chExt cx="1950084" cy="1437198"/>
          </a:xfrm>
        </p:grpSpPr>
        <p:sp>
          <p:nvSpPr>
            <p:cNvPr id="21" name="Trapezoid 20">
              <a:extLst>
                <a:ext uri="{FF2B5EF4-FFF2-40B4-BE49-F238E27FC236}">
                  <a16:creationId xmlns:a16="http://schemas.microsoft.com/office/drawing/2014/main" id="{02C56D6E-0986-4CFF-AF85-9DC9F3957154}"/>
                </a:ext>
              </a:extLst>
            </p:cNvPr>
            <p:cNvSpPr/>
            <p:nvPr/>
          </p:nvSpPr>
          <p:spPr>
            <a:xfrm>
              <a:off x="0" y="0"/>
              <a:ext cx="1950084" cy="1437198"/>
            </a:xfrm>
            <a:prstGeom prst="trapezoid">
              <a:avLst>
                <a:gd name="adj" fmla="val 67843"/>
              </a:avLst>
            </a:prstGeom>
            <a:solidFill>
              <a:srgbClr val="E3631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22" name="Trapezoid 4">
              <a:extLst>
                <a:ext uri="{FF2B5EF4-FFF2-40B4-BE49-F238E27FC236}">
                  <a16:creationId xmlns:a16="http://schemas.microsoft.com/office/drawing/2014/main" id="{F80F4148-8649-4F44-829F-0A8114FB7BC0}"/>
                </a:ext>
              </a:extLst>
            </p:cNvPr>
            <p:cNvSpPr txBox="1"/>
            <p:nvPr/>
          </p:nvSpPr>
          <p:spPr>
            <a:xfrm>
              <a:off x="0" y="0"/>
              <a:ext cx="1950084" cy="143719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marR="0" lvl="0" indent="0" algn="ctr" defTabSz="10668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PG </a:t>
              </a:r>
            </a:p>
            <a:p>
              <a:pPr marL="0" marR="0" lvl="0" indent="0" algn="ctr" defTabSz="10668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onitoring</a:t>
              </a:r>
            </a:p>
          </p:txBody>
        </p:sp>
      </p:grpSp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09B8E26C-6ADF-4F9D-BEBB-645E692A71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1212433"/>
              </p:ext>
            </p:extLst>
          </p:nvPr>
        </p:nvGraphicFramePr>
        <p:xfrm>
          <a:off x="576568" y="2016920"/>
          <a:ext cx="4680520" cy="2824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21503043-1D90-4AF7-8495-9FA59691C9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9107246"/>
              </p:ext>
            </p:extLst>
          </p:nvPr>
        </p:nvGraphicFramePr>
        <p:xfrm>
          <a:off x="6985282" y="2476889"/>
          <a:ext cx="4439310" cy="1904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6" name="Right Brace 25">
            <a:extLst>
              <a:ext uri="{FF2B5EF4-FFF2-40B4-BE49-F238E27FC236}">
                <a16:creationId xmlns:a16="http://schemas.microsoft.com/office/drawing/2014/main" id="{C730E056-ECEB-4130-B10E-899368687462}"/>
              </a:ext>
            </a:extLst>
          </p:cNvPr>
          <p:cNvSpPr/>
          <p:nvPr/>
        </p:nvSpPr>
        <p:spPr>
          <a:xfrm rot="5400000">
            <a:off x="9027937" y="2328489"/>
            <a:ext cx="693420" cy="4099890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2E09865F-9F36-493E-8C72-FF0389619E45}"/>
              </a:ext>
            </a:extLst>
          </p:cNvPr>
          <p:cNvSpPr/>
          <p:nvPr/>
        </p:nvSpPr>
        <p:spPr>
          <a:xfrm rot="5400000">
            <a:off x="2514645" y="2331165"/>
            <a:ext cx="693420" cy="4099890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8" name="Text Box 32">
            <a:extLst>
              <a:ext uri="{FF2B5EF4-FFF2-40B4-BE49-F238E27FC236}">
                <a16:creationId xmlns:a16="http://schemas.microsoft.com/office/drawing/2014/main" id="{ABBDE5A2-756E-44F2-8DBA-56A4F2676370}"/>
              </a:ext>
            </a:extLst>
          </p:cNvPr>
          <p:cNvSpPr txBox="1"/>
          <p:nvPr/>
        </p:nvSpPr>
        <p:spPr>
          <a:xfrm>
            <a:off x="2046932" y="4792205"/>
            <a:ext cx="1476779" cy="693418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2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ter</a:t>
            </a:r>
            <a:endParaRPr lang="de-DE" sz="2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ext Box 32">
            <a:extLst>
              <a:ext uri="{FF2B5EF4-FFF2-40B4-BE49-F238E27FC236}">
                <a16:creationId xmlns:a16="http://schemas.microsoft.com/office/drawing/2014/main" id="{FAA1837C-33C1-4387-A1F7-A9BF58C04A1C}"/>
              </a:ext>
            </a:extLst>
          </p:cNvPr>
          <p:cNvSpPr txBox="1"/>
          <p:nvPr/>
        </p:nvSpPr>
        <p:spPr>
          <a:xfrm>
            <a:off x="8661088" y="4792204"/>
            <a:ext cx="1316264" cy="693419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2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nza</a:t>
            </a:r>
            <a:endParaRPr lang="de-DE" sz="2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itle 3">
            <a:extLst>
              <a:ext uri="{FF2B5EF4-FFF2-40B4-BE49-F238E27FC236}">
                <a16:creationId xmlns:a16="http://schemas.microsoft.com/office/drawing/2014/main" id="{C03B43C4-AEE3-4F89-9736-45A13BA78A74}"/>
              </a:ext>
            </a:extLst>
          </p:cNvPr>
          <p:cNvSpPr txBox="1">
            <a:spLocks/>
          </p:cNvSpPr>
          <p:nvPr/>
        </p:nvSpPr>
        <p:spPr>
          <a:xfrm>
            <a:off x="364284" y="202484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/>
              <a:t>PALS</a:t>
            </a:r>
            <a:r>
              <a:rPr lang="en-US" kern="0" dirty="0"/>
              <a:t> : </a:t>
            </a:r>
            <a:r>
              <a:rPr lang="en-GB" kern="0" dirty="0"/>
              <a:t>Proximity Ambient Light Sensor</a:t>
            </a:r>
            <a:br>
              <a:rPr lang="en-GB" kern="0" dirty="0"/>
            </a:br>
            <a:r>
              <a:rPr lang="en-GB" kern="0" dirty="0"/>
              <a:t>A great teamwork and skills sharing</a:t>
            </a:r>
            <a:endParaRPr lang="en-US" kern="0" dirty="0"/>
          </a:p>
        </p:txBody>
      </p:sp>
      <p:sp>
        <p:nvSpPr>
          <p:cNvPr id="37" name="Text Box 32">
            <a:extLst>
              <a:ext uri="{FF2B5EF4-FFF2-40B4-BE49-F238E27FC236}">
                <a16:creationId xmlns:a16="http://schemas.microsoft.com/office/drawing/2014/main" id="{323C04FD-0B4E-44E1-A633-F239042654AA}"/>
              </a:ext>
            </a:extLst>
          </p:cNvPr>
          <p:cNvSpPr txBox="1"/>
          <p:nvPr/>
        </p:nvSpPr>
        <p:spPr>
          <a:xfrm>
            <a:off x="1167145" y="5661429"/>
            <a:ext cx="3236351" cy="693418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 algn="ctr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medical Engineering</a:t>
            </a:r>
          </a:p>
          <a:p>
            <a:pPr marL="457200" indent="-457200" algn="ctr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notechnologies</a:t>
            </a:r>
          </a:p>
          <a:p>
            <a:pPr marL="457200" indent="-457200" algn="ctr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ct Design</a:t>
            </a:r>
            <a:endParaRPr lang="de-DE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934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  <p:bldP spid="29" grpId="0" animBg="1"/>
      <p:bldP spid="3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 descr="Partenaires | Board of European Students of Technology">
            <a:extLst>
              <a:ext uri="{FF2B5EF4-FFF2-40B4-BE49-F238E27FC236}">
                <a16:creationId xmlns:a16="http://schemas.microsoft.com/office/drawing/2014/main" id="{A700079B-7D50-4E46-80F7-BA9FCCD70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le 3">
            <a:extLst>
              <a:ext uri="{FF2B5EF4-FFF2-40B4-BE49-F238E27FC236}">
                <a16:creationId xmlns:a16="http://schemas.microsoft.com/office/drawing/2014/main" id="{C03B43C4-AEE3-4F89-9736-45A13BA78A74}"/>
              </a:ext>
            </a:extLst>
          </p:cNvPr>
          <p:cNvSpPr txBox="1">
            <a:spLocks/>
          </p:cNvSpPr>
          <p:nvPr/>
        </p:nvSpPr>
        <p:spPr>
          <a:xfrm>
            <a:off x="364284" y="202484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/>
              <a:t>PALS</a:t>
            </a:r>
            <a:r>
              <a:rPr lang="en-US" kern="0" dirty="0"/>
              <a:t> : </a:t>
            </a:r>
            <a:r>
              <a:rPr lang="en-GB" kern="0" dirty="0"/>
              <a:t>Proximity Ambient Light Sensor</a:t>
            </a:r>
            <a:br>
              <a:rPr lang="en-GB" kern="0" dirty="0"/>
            </a:br>
            <a:r>
              <a:rPr lang="en-GB" kern="0" dirty="0"/>
              <a:t>Defining the subject in more depth</a:t>
            </a:r>
            <a:endParaRPr lang="en-US" kern="0" dirty="0"/>
          </a:p>
        </p:txBody>
      </p:sp>
      <p:pic>
        <p:nvPicPr>
          <p:cNvPr id="19" name="Picture 49" descr="Machine generated alternative text:&#10;Optoelectronic sensor &#10;: Light emitting &#10;diodes &#10;Light in &#10;Photodetector : &#10;Light out &#10;Stratum &#10;corneum &#10;Epidermis &#10;Dermis &#10;Skin surface &#10;Erythrocytes &#10;Capillary vessel &#10;Figure 6. Working principle Of PPG sensors [19]. ">
            <a:extLst>
              <a:ext uri="{FF2B5EF4-FFF2-40B4-BE49-F238E27FC236}">
                <a16:creationId xmlns:a16="http://schemas.microsoft.com/office/drawing/2014/main" id="{555FF1C7-0E72-4B34-B5EB-108BEC11E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288332"/>
            <a:ext cx="7128792" cy="4814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0048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 descr="Partenaires | Board of European Students of Technology">
            <a:extLst>
              <a:ext uri="{FF2B5EF4-FFF2-40B4-BE49-F238E27FC236}">
                <a16:creationId xmlns:a16="http://schemas.microsoft.com/office/drawing/2014/main" id="{A700079B-7D50-4E46-80F7-BA9FCCD70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le 3">
            <a:extLst>
              <a:ext uri="{FF2B5EF4-FFF2-40B4-BE49-F238E27FC236}">
                <a16:creationId xmlns:a16="http://schemas.microsoft.com/office/drawing/2014/main" id="{C03B43C4-AEE3-4F89-9736-45A13BA78A74}"/>
              </a:ext>
            </a:extLst>
          </p:cNvPr>
          <p:cNvSpPr txBox="1">
            <a:spLocks/>
          </p:cNvSpPr>
          <p:nvPr/>
        </p:nvSpPr>
        <p:spPr>
          <a:xfrm>
            <a:off x="364284" y="202484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/>
              <a:t>PALS</a:t>
            </a:r>
            <a:r>
              <a:rPr lang="en-US" kern="0" dirty="0"/>
              <a:t> : </a:t>
            </a:r>
            <a:r>
              <a:rPr lang="en-GB" kern="0" dirty="0"/>
              <a:t>Proximity Ambient Light Sensor</a:t>
            </a:r>
            <a:br>
              <a:rPr lang="en-GB" kern="0" dirty="0"/>
            </a:br>
            <a:r>
              <a:rPr lang="en-GB" kern="0" dirty="0"/>
              <a:t>Defining the subject in more depth</a:t>
            </a:r>
            <a:endParaRPr lang="en-US" kern="0" dirty="0"/>
          </a:p>
        </p:txBody>
      </p:sp>
      <p:pic>
        <p:nvPicPr>
          <p:cNvPr id="18" name="Picture 17" descr="Diagram&#10;&#10;Description automatically generated">
            <a:extLst>
              <a:ext uri="{FF2B5EF4-FFF2-40B4-BE49-F238E27FC236}">
                <a16:creationId xmlns:a16="http://schemas.microsoft.com/office/drawing/2014/main" id="{320E7C5B-2842-44AD-8697-A3498F44C41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472" y="1510098"/>
            <a:ext cx="9217024" cy="422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501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Hand with smart watch and technological digital Vector Image">
            <a:extLst>
              <a:ext uri="{FF2B5EF4-FFF2-40B4-BE49-F238E27FC236}">
                <a16:creationId xmlns:a16="http://schemas.microsoft.com/office/drawing/2014/main" id="{97147718-98DB-4704-A04D-B73A82338F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50" b="14452"/>
          <a:stretch/>
        </p:blipFill>
        <p:spPr bwMode="auto">
          <a:xfrm>
            <a:off x="364162" y="886723"/>
            <a:ext cx="11526358" cy="5534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8" name="Google Shape;748;p72"/>
          <p:cNvGrpSpPr/>
          <p:nvPr/>
        </p:nvGrpSpPr>
        <p:grpSpPr>
          <a:xfrm>
            <a:off x="5199647" y="4902326"/>
            <a:ext cx="256381" cy="253732"/>
            <a:chOff x="3282325" y="2035675"/>
            <a:chExt cx="459575" cy="454825"/>
          </a:xfrm>
          <a:solidFill>
            <a:schemeClr val="bg2">
              <a:lumMod val="75000"/>
            </a:schemeClr>
          </a:solidFill>
        </p:grpSpPr>
        <p:sp>
          <p:nvSpPr>
            <p:cNvPr id="749" name="Google Shape;749;p72"/>
            <p:cNvSpPr/>
            <p:nvPr/>
          </p:nvSpPr>
          <p:spPr>
            <a:xfrm>
              <a:off x="3337050" y="2234125"/>
              <a:ext cx="85925" cy="206325"/>
            </a:xfrm>
            <a:custGeom>
              <a:avLst/>
              <a:gdLst/>
              <a:ahLst/>
              <a:cxnLst/>
              <a:rect l="l" t="t" r="r" b="b"/>
              <a:pathLst>
                <a:path w="3437" h="8253" extrusionOk="0">
                  <a:moveTo>
                    <a:pt x="2305" y="1133"/>
                  </a:moveTo>
                  <a:lnTo>
                    <a:pt x="2305" y="7120"/>
                  </a:lnTo>
                  <a:lnTo>
                    <a:pt x="1133" y="7120"/>
                  </a:lnTo>
                  <a:lnTo>
                    <a:pt x="1133" y="1133"/>
                  </a:lnTo>
                  <a:close/>
                  <a:moveTo>
                    <a:pt x="568" y="0"/>
                  </a:moveTo>
                  <a:cubicBezTo>
                    <a:pt x="254" y="0"/>
                    <a:pt x="1" y="254"/>
                    <a:pt x="1" y="568"/>
                  </a:cubicBezTo>
                  <a:lnTo>
                    <a:pt x="1" y="7688"/>
                  </a:lnTo>
                  <a:cubicBezTo>
                    <a:pt x="1" y="7999"/>
                    <a:pt x="254" y="8253"/>
                    <a:pt x="568" y="8253"/>
                  </a:cubicBezTo>
                  <a:lnTo>
                    <a:pt x="2869" y="8253"/>
                  </a:lnTo>
                  <a:cubicBezTo>
                    <a:pt x="3183" y="8253"/>
                    <a:pt x="3437" y="7999"/>
                    <a:pt x="3437" y="7688"/>
                  </a:cubicBezTo>
                  <a:lnTo>
                    <a:pt x="3437" y="568"/>
                  </a:lnTo>
                  <a:cubicBezTo>
                    <a:pt x="3437" y="254"/>
                    <a:pt x="3183" y="0"/>
                    <a:pt x="2869" y="0"/>
                  </a:cubicBezTo>
                  <a:close/>
                </a:path>
              </a:pathLst>
            </a:custGeom>
            <a:solidFill>
              <a:srgbClr val="BCB0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0" name="Google Shape;750;p72"/>
            <p:cNvSpPr/>
            <p:nvPr/>
          </p:nvSpPr>
          <p:spPr>
            <a:xfrm>
              <a:off x="3451275" y="2175475"/>
              <a:ext cx="84925" cy="264975"/>
            </a:xfrm>
            <a:custGeom>
              <a:avLst/>
              <a:gdLst/>
              <a:ahLst/>
              <a:cxnLst/>
              <a:rect l="l" t="t" r="r" b="b"/>
              <a:pathLst>
                <a:path w="3397" h="10599" extrusionOk="0">
                  <a:moveTo>
                    <a:pt x="2265" y="1133"/>
                  </a:moveTo>
                  <a:lnTo>
                    <a:pt x="2265" y="9466"/>
                  </a:lnTo>
                  <a:lnTo>
                    <a:pt x="1132" y="9466"/>
                  </a:lnTo>
                  <a:lnTo>
                    <a:pt x="1132" y="1133"/>
                  </a:lnTo>
                  <a:close/>
                  <a:moveTo>
                    <a:pt x="565" y="0"/>
                  </a:moveTo>
                  <a:cubicBezTo>
                    <a:pt x="254" y="0"/>
                    <a:pt x="0" y="254"/>
                    <a:pt x="0" y="565"/>
                  </a:cubicBezTo>
                  <a:lnTo>
                    <a:pt x="0" y="10034"/>
                  </a:lnTo>
                  <a:cubicBezTo>
                    <a:pt x="0" y="10345"/>
                    <a:pt x="254" y="10599"/>
                    <a:pt x="565" y="10599"/>
                  </a:cubicBezTo>
                  <a:lnTo>
                    <a:pt x="2829" y="10599"/>
                  </a:lnTo>
                  <a:cubicBezTo>
                    <a:pt x="3143" y="10599"/>
                    <a:pt x="3397" y="10345"/>
                    <a:pt x="3397" y="10034"/>
                  </a:cubicBezTo>
                  <a:lnTo>
                    <a:pt x="3397" y="565"/>
                  </a:lnTo>
                  <a:cubicBezTo>
                    <a:pt x="3397" y="254"/>
                    <a:pt x="3143" y="0"/>
                    <a:pt x="2829" y="0"/>
                  </a:cubicBezTo>
                  <a:close/>
                </a:path>
              </a:pathLst>
            </a:custGeom>
            <a:solidFill>
              <a:srgbClr val="BCB0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1" name="Google Shape;751;p72"/>
            <p:cNvSpPr/>
            <p:nvPr/>
          </p:nvSpPr>
          <p:spPr>
            <a:xfrm>
              <a:off x="3564500" y="2116825"/>
              <a:ext cx="84950" cy="323625"/>
            </a:xfrm>
            <a:custGeom>
              <a:avLst/>
              <a:gdLst/>
              <a:ahLst/>
              <a:cxnLst/>
              <a:rect l="l" t="t" r="r" b="b"/>
              <a:pathLst>
                <a:path w="3398" h="12945" extrusionOk="0">
                  <a:moveTo>
                    <a:pt x="2265" y="1132"/>
                  </a:moveTo>
                  <a:lnTo>
                    <a:pt x="2265" y="11812"/>
                  </a:lnTo>
                  <a:lnTo>
                    <a:pt x="1133" y="11812"/>
                  </a:lnTo>
                  <a:lnTo>
                    <a:pt x="1133" y="1132"/>
                  </a:lnTo>
                  <a:close/>
                  <a:moveTo>
                    <a:pt x="565" y="0"/>
                  </a:moveTo>
                  <a:cubicBezTo>
                    <a:pt x="254" y="0"/>
                    <a:pt x="0" y="251"/>
                    <a:pt x="0" y="565"/>
                  </a:cubicBezTo>
                  <a:lnTo>
                    <a:pt x="0" y="12380"/>
                  </a:lnTo>
                  <a:cubicBezTo>
                    <a:pt x="0" y="12691"/>
                    <a:pt x="254" y="12945"/>
                    <a:pt x="565" y="12945"/>
                  </a:cubicBezTo>
                  <a:lnTo>
                    <a:pt x="2829" y="12945"/>
                  </a:lnTo>
                  <a:cubicBezTo>
                    <a:pt x="3144" y="12945"/>
                    <a:pt x="3397" y="12691"/>
                    <a:pt x="3397" y="12380"/>
                  </a:cubicBezTo>
                  <a:lnTo>
                    <a:pt x="3397" y="565"/>
                  </a:lnTo>
                  <a:cubicBezTo>
                    <a:pt x="3397" y="251"/>
                    <a:pt x="3144" y="0"/>
                    <a:pt x="2829" y="0"/>
                  </a:cubicBezTo>
                  <a:close/>
                </a:path>
              </a:pathLst>
            </a:custGeom>
            <a:solidFill>
              <a:srgbClr val="BCB0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2" name="Google Shape;752;p72"/>
            <p:cNvSpPr/>
            <p:nvPr/>
          </p:nvSpPr>
          <p:spPr>
            <a:xfrm>
              <a:off x="3282325" y="2035675"/>
              <a:ext cx="459575" cy="454825"/>
            </a:xfrm>
            <a:custGeom>
              <a:avLst/>
              <a:gdLst/>
              <a:ahLst/>
              <a:cxnLst/>
              <a:rect l="l" t="t" r="r" b="b"/>
              <a:pathLst>
                <a:path w="18383" h="18193" extrusionOk="0">
                  <a:moveTo>
                    <a:pt x="568" y="0"/>
                  </a:moveTo>
                  <a:cubicBezTo>
                    <a:pt x="254" y="0"/>
                    <a:pt x="1" y="251"/>
                    <a:pt x="1" y="565"/>
                  </a:cubicBezTo>
                  <a:lnTo>
                    <a:pt x="1" y="17625"/>
                  </a:lnTo>
                  <a:cubicBezTo>
                    <a:pt x="1" y="17939"/>
                    <a:pt x="254" y="18192"/>
                    <a:pt x="568" y="18192"/>
                  </a:cubicBezTo>
                  <a:lnTo>
                    <a:pt x="17815" y="18192"/>
                  </a:lnTo>
                  <a:cubicBezTo>
                    <a:pt x="18129" y="18192"/>
                    <a:pt x="18383" y="17939"/>
                    <a:pt x="18383" y="17625"/>
                  </a:cubicBezTo>
                  <a:cubicBezTo>
                    <a:pt x="18383" y="17311"/>
                    <a:pt x="18129" y="17060"/>
                    <a:pt x="17815" y="17060"/>
                  </a:cubicBezTo>
                  <a:lnTo>
                    <a:pt x="1133" y="17060"/>
                  </a:lnTo>
                  <a:lnTo>
                    <a:pt x="1133" y="565"/>
                  </a:lnTo>
                  <a:cubicBezTo>
                    <a:pt x="1133" y="251"/>
                    <a:pt x="879" y="0"/>
                    <a:pt x="568" y="0"/>
                  </a:cubicBezTo>
                  <a:close/>
                </a:path>
              </a:pathLst>
            </a:custGeom>
            <a:solidFill>
              <a:srgbClr val="BCB0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</p:grpSp>
      <p:sp>
        <p:nvSpPr>
          <p:cNvPr id="769" name="Google Shape;769;p72"/>
          <p:cNvSpPr/>
          <p:nvPr/>
        </p:nvSpPr>
        <p:spPr>
          <a:xfrm>
            <a:off x="131" y="5398397"/>
            <a:ext cx="38128" cy="43"/>
          </a:xfrm>
          <a:custGeom>
            <a:avLst/>
            <a:gdLst/>
            <a:ahLst/>
            <a:cxnLst/>
            <a:rect l="l" t="t" r="r" b="b"/>
            <a:pathLst>
              <a:path w="893" h="1" fill="none" extrusionOk="0">
                <a:moveTo>
                  <a:pt x="0" y="1"/>
                </a:moveTo>
                <a:lnTo>
                  <a:pt x="892" y="1"/>
                </a:lnTo>
              </a:path>
            </a:pathLst>
          </a:custGeom>
          <a:noFill/>
          <a:ln w="3800" cap="flat" cmpd="sng" algn="ctr">
            <a:solidFill>
              <a:schemeClr val="dk1"/>
            </a:solidFill>
            <a:prstDash val="solid"/>
            <a:miter lim="8921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82" name="Google Shape;782;p72"/>
          <p:cNvSpPr txBox="1">
            <a:spLocks noGrp="1"/>
          </p:cNvSpPr>
          <p:nvPr>
            <p:ph type="ctr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dirty="0"/>
              <a:t>PALS</a:t>
            </a:r>
            <a:r>
              <a:rPr lang="en-US" dirty="0"/>
              <a:t> : </a:t>
            </a:r>
            <a:r>
              <a:rPr lang="en-GB" dirty="0"/>
              <a:t>Proximity Ambient Light Sensor </a:t>
            </a:r>
            <a:br>
              <a:rPr lang="en-GB" dirty="0"/>
            </a:b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  <a:t>Problem Description and Value Proposal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9" name="Picture 4" descr="Partenaires | Board of European Students of Technology">
            <a:extLst>
              <a:ext uri="{FF2B5EF4-FFF2-40B4-BE49-F238E27FC236}">
                <a16:creationId xmlns:a16="http://schemas.microsoft.com/office/drawing/2014/main" id="{87F5D2F3-2C1F-47EB-9B4F-7675EC8157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ED566CE-699C-4EC6-9E6E-BB89BDB61414}"/>
              </a:ext>
            </a:extLst>
          </p:cNvPr>
          <p:cNvGrpSpPr/>
          <p:nvPr/>
        </p:nvGrpSpPr>
        <p:grpSpPr>
          <a:xfrm>
            <a:off x="827627" y="4901812"/>
            <a:ext cx="4628401" cy="1479938"/>
            <a:chOff x="827627" y="4901812"/>
            <a:chExt cx="4628401" cy="1479938"/>
          </a:xfrm>
        </p:grpSpPr>
        <p:sp>
          <p:nvSpPr>
            <p:cNvPr id="785" name="Google Shape;785;p72"/>
            <p:cNvSpPr txBox="1"/>
            <p:nvPr/>
          </p:nvSpPr>
          <p:spPr>
            <a:xfrm>
              <a:off x="1423580" y="4901812"/>
              <a:ext cx="4032448" cy="1479938"/>
            </a:xfrm>
            <a:prstGeom prst="rect">
              <a:avLst/>
            </a:prstGeom>
            <a:ln w="25400" cap="flat" cmpd="sng" algn="ctr">
              <a:solidFill>
                <a:srgbClr val="644F5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2133"/>
                </a:spcAft>
              </a:pPr>
              <a:r>
                <a:rPr lang="en" sz="1600" dirty="0">
                  <a:solidFill>
                    <a:schemeClr val="lt1"/>
                  </a:solidFill>
                  <a:latin typeface="Josefin Slab"/>
                  <a:ea typeface="Josefin Slab"/>
                  <a:cs typeface="Josefin Slab"/>
                  <a:sym typeface="Josefin Slab"/>
                </a:rPr>
                <a:t>- Healthcare is going through a deep transformation</a:t>
              </a:r>
              <a:b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</a:br>
              <a: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  <a:t>- PPG models are more popular</a:t>
              </a:r>
              <a:b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</a:br>
              <a: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  <a:t>- For PPG to become a replacement of ECG, it needs to be patient adaptative and accurate.</a:t>
              </a:r>
              <a:endParaRPr lang="en" sz="1600" dirty="0">
                <a:solidFill>
                  <a:schemeClr val="lt1"/>
                </a:solidFill>
                <a:latin typeface="Josefin Slab"/>
                <a:ea typeface="Josefin Slab"/>
                <a:cs typeface="Josefin Slab"/>
                <a:sym typeface="Josefin Slab"/>
              </a:endParaRPr>
            </a:p>
          </p:txBody>
        </p:sp>
        <p:sp>
          <p:nvSpPr>
            <p:cNvPr id="50" name="Google Shape;785;p72">
              <a:extLst>
                <a:ext uri="{FF2B5EF4-FFF2-40B4-BE49-F238E27FC236}">
                  <a16:creationId xmlns:a16="http://schemas.microsoft.com/office/drawing/2014/main" id="{B0131384-E542-483D-B44C-F9A7D8B9E764}"/>
                </a:ext>
              </a:extLst>
            </p:cNvPr>
            <p:cNvSpPr txBox="1"/>
            <p:nvPr/>
          </p:nvSpPr>
          <p:spPr>
            <a:xfrm>
              <a:off x="827627" y="4901812"/>
              <a:ext cx="587853" cy="1479938"/>
            </a:xfrm>
            <a:prstGeom prst="rect">
              <a:avLst/>
            </a:prstGeom>
            <a:ln w="25400" cap="flat" cmpd="sng" algn="ctr">
              <a:solidFill>
                <a:srgbClr val="644F5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1" vert="vert270" wrap="square" lIns="121900" tIns="121900" rIns="121900" bIns="121900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2133"/>
                </a:spcAft>
              </a:pPr>
              <a:r>
                <a:rPr lang="en" sz="2000" b="1" dirty="0">
                  <a:solidFill>
                    <a:schemeClr val="lt1"/>
                  </a:solidFill>
                  <a:latin typeface="Josefin Slab"/>
                  <a:ea typeface="Josefin Slab"/>
                  <a:cs typeface="Josefin Slab"/>
                  <a:sym typeface="Josefin Slab"/>
                </a:rPr>
                <a:t>CONTEXT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66241D1-54E1-4DA2-8AE1-8ADA95E2CEFF}"/>
              </a:ext>
            </a:extLst>
          </p:cNvPr>
          <p:cNvGrpSpPr/>
          <p:nvPr/>
        </p:nvGrpSpPr>
        <p:grpSpPr>
          <a:xfrm>
            <a:off x="7178266" y="1268414"/>
            <a:ext cx="4686267" cy="1574131"/>
            <a:chOff x="7178266" y="1268414"/>
            <a:chExt cx="4686267" cy="1574131"/>
          </a:xfrm>
        </p:grpSpPr>
        <p:sp>
          <p:nvSpPr>
            <p:cNvPr id="783" name="Google Shape;783;p72"/>
            <p:cNvSpPr txBox="1"/>
            <p:nvPr/>
          </p:nvSpPr>
          <p:spPr>
            <a:xfrm>
              <a:off x="7953246" y="1268526"/>
              <a:ext cx="3911287" cy="1574019"/>
            </a:xfrm>
            <a:prstGeom prst="rect">
              <a:avLst/>
            </a:prstGeom>
            <a:ln w="25400" cap="flat" cmpd="sng" algn="ctr">
              <a:solidFill>
                <a:srgbClr val="644F5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2133"/>
                </a:spcAft>
              </a:pPr>
              <a:r>
                <a:rPr lang="en" sz="1600" dirty="0">
                  <a:solidFill>
                    <a:schemeClr val="lt1"/>
                  </a:solidFill>
                  <a:latin typeface="Josefin Slab"/>
                  <a:ea typeface="Josefin Slab"/>
                  <a:cs typeface="Josefin Slab"/>
                  <a:sym typeface="Josefin Slab"/>
                </a:rPr>
                <a:t>This simulation aims at evaluating the effect of three main parameters on PPG signal optimisation: </a:t>
              </a:r>
              <a:b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</a:br>
              <a: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  <a:t>- Wavelength</a:t>
              </a:r>
              <a:b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</a:br>
              <a:r>
                <a:rPr lang="en" sz="1600" dirty="0">
                  <a:latin typeface="Josefin Slab"/>
                  <a:ea typeface="Josefin Slab"/>
                  <a:cs typeface="Josefin Slab"/>
                  <a:sym typeface="Josefin Slab"/>
                </a:rPr>
                <a:t>- LED power</a:t>
              </a:r>
            </a:p>
          </p:txBody>
        </p:sp>
        <p:sp>
          <p:nvSpPr>
            <p:cNvPr id="51" name="Google Shape;785;p72">
              <a:extLst>
                <a:ext uri="{FF2B5EF4-FFF2-40B4-BE49-F238E27FC236}">
                  <a16:creationId xmlns:a16="http://schemas.microsoft.com/office/drawing/2014/main" id="{2F1BDD99-C3C2-42DB-960A-8A9ABEF0EF82}"/>
                </a:ext>
              </a:extLst>
            </p:cNvPr>
            <p:cNvSpPr txBox="1"/>
            <p:nvPr/>
          </p:nvSpPr>
          <p:spPr>
            <a:xfrm>
              <a:off x="7178266" y="1268414"/>
              <a:ext cx="775961" cy="1574020"/>
            </a:xfrm>
            <a:prstGeom prst="rect">
              <a:avLst/>
            </a:prstGeom>
            <a:ln w="25400" cap="flat" cmpd="sng" algn="ctr">
              <a:solidFill>
                <a:srgbClr val="644F5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spcFirstLastPara="1" vert="vert270" wrap="square" lIns="121900" tIns="121900" rIns="121900" bIns="121900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2133"/>
                </a:spcAft>
              </a:pPr>
              <a:r>
                <a:rPr lang="en" sz="2000" b="1" dirty="0">
                  <a:solidFill>
                    <a:schemeClr val="lt1"/>
                  </a:solidFill>
                  <a:latin typeface="Josefin Slab"/>
                  <a:ea typeface="Josefin Slab"/>
                  <a:cs typeface="Josefin Slab"/>
                  <a:sym typeface="Josefin Slab"/>
                </a:rPr>
                <a:t>PROPOSED SOLU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4142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03 Banded Columns - Engineering">
            <a:extLst>
              <a:ext uri="{FF2B5EF4-FFF2-40B4-BE49-F238E27FC236}">
                <a16:creationId xmlns:a16="http://schemas.microsoft.com/office/drawing/2014/main" id="{B7A37DCD-B0DF-42D6-AB05-95B179DD36F1}"/>
              </a:ext>
            </a:extLst>
          </p:cNvPr>
          <p:cNvGraphicFramePr>
            <a:graphicFrameLocks noGrp="1"/>
          </p:cNvGraphicFramePr>
          <p:nvPr>
            <p:ph sz="quarter" idx="13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318531"/>
              </p:ext>
            </p:extLst>
          </p:nvPr>
        </p:nvGraphicFramePr>
        <p:xfrm>
          <a:off x="508866" y="3537289"/>
          <a:ext cx="3421225" cy="2844461"/>
        </p:xfrm>
        <a:graphic>
          <a:graphicData uri="http://schemas.openxmlformats.org/drawingml/2006/table">
            <a:tbl>
              <a:tblPr firstRow="1" bandCol="1">
                <a:tableStyleId>{21E4AEA4-8DFA-4A89-87EB-49C32662AFE0}</a:tableStyleId>
              </a:tblPr>
              <a:tblGrid>
                <a:gridCol w="3421225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M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Project understanding </a:t>
                      </a:r>
                    </a:p>
                    <a:p>
                      <a:pPr algn="ctr"/>
                      <a:r>
                        <a:rPr lang="de-DE" sz="2800" dirty="0"/>
                        <a:t>Choice of subje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9E98CE6-DC77-414E-8A94-925D16C9F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onthly Achievements</a:t>
            </a:r>
            <a:br>
              <a:rPr lang="de-DE" dirty="0"/>
            </a:br>
            <a:r>
              <a:rPr lang="de-DE" dirty="0"/>
              <a:t>Introduction to the project and first model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52EA4B-9475-4F19-8CD6-EDFC8B46716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28415E-8AD6-486A-9880-550CD5272F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0B9C1D-439B-413F-B2D0-35A706AD99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11" name="03 Banded Columns - Engineering">
            <a:extLst>
              <a:ext uri="{FF2B5EF4-FFF2-40B4-BE49-F238E27FC236}">
                <a16:creationId xmlns:a16="http://schemas.microsoft.com/office/drawing/2014/main" id="{6A8CAD81-CD84-47E1-998B-396D3AA02F4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094289"/>
              </p:ext>
            </p:extLst>
          </p:nvPr>
        </p:nvGraphicFramePr>
        <p:xfrm>
          <a:off x="4387662" y="3511004"/>
          <a:ext cx="3528491" cy="2844461"/>
        </p:xfrm>
        <a:graphic>
          <a:graphicData uri="http://schemas.openxmlformats.org/drawingml/2006/table">
            <a:tbl>
              <a:tblPr firstRow="1" bandCol="1">
                <a:tableStyleId>{21E4AEA4-8DFA-4A89-87EB-49C32662AFE0}</a:tableStyleId>
              </a:tblPr>
              <a:tblGrid>
                <a:gridCol w="3528491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Apri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Starting the Front End</a:t>
                      </a:r>
                    </a:p>
                    <a:p>
                      <a:pPr algn="ctr"/>
                      <a:r>
                        <a:rPr lang="de-DE" sz="2800" dirty="0"/>
                        <a:t>Lab Access </a:t>
                      </a:r>
                    </a:p>
                    <a:p>
                      <a:pPr algn="ctr"/>
                      <a:r>
                        <a:rPr lang="de-DE" sz="2800" dirty="0"/>
                        <a:t>Biological Mode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graphicFrame>
        <p:nvGraphicFramePr>
          <p:cNvPr id="12" name="03 Banded Columns - Engineering">
            <a:extLst>
              <a:ext uri="{FF2B5EF4-FFF2-40B4-BE49-F238E27FC236}">
                <a16:creationId xmlns:a16="http://schemas.microsoft.com/office/drawing/2014/main" id="{9A2EAFAD-0E11-47A1-A317-9546895A73B2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2871725"/>
              </p:ext>
            </p:extLst>
          </p:nvPr>
        </p:nvGraphicFramePr>
        <p:xfrm>
          <a:off x="8188913" y="3566001"/>
          <a:ext cx="3528491" cy="2787036"/>
        </p:xfrm>
        <a:graphic>
          <a:graphicData uri="http://schemas.openxmlformats.org/drawingml/2006/table">
            <a:tbl>
              <a:tblPr firstRow="1" bandCol="1">
                <a:tableStyleId>{21E4AEA4-8DFA-4A89-87EB-49C32662AFE0}</a:tableStyleId>
              </a:tblPr>
              <a:tblGrid>
                <a:gridCol w="3528491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143191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Ma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Photon Model</a:t>
                      </a:r>
                    </a:p>
                    <a:p>
                      <a:pPr algn="ctr"/>
                      <a:r>
                        <a:rPr lang="de-DE" sz="2800" dirty="0"/>
                        <a:t>Internship Report writing</a:t>
                      </a:r>
                    </a:p>
                    <a:p>
                      <a:pPr algn="ctr"/>
                      <a:r>
                        <a:rPr lang="de-DE" sz="2800" dirty="0"/>
                        <a:t>Back end writing</a:t>
                      </a:r>
                    </a:p>
                    <a:p>
                      <a:pPr algn="ctr"/>
                      <a:endParaRPr lang="de-DE" sz="2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4C6DB532-779D-4185-BBBC-D902B96C8D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7972" y="1437697"/>
            <a:ext cx="1883014" cy="188301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F13720C-24AC-4025-B7BB-FE1A8B061B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8951" y="1260859"/>
            <a:ext cx="2153966" cy="215396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DED258-AEF4-4142-97BF-C7EE4EE293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46654" y="1629858"/>
            <a:ext cx="1498692" cy="1498692"/>
          </a:xfrm>
          <a:prstGeom prst="rect">
            <a:avLst/>
          </a:prstGeom>
        </p:spPr>
      </p:pic>
      <p:pic>
        <p:nvPicPr>
          <p:cNvPr id="14" name="Picture 4" descr="Partenaires | Board of European Students of Technology">
            <a:extLst>
              <a:ext uri="{FF2B5EF4-FFF2-40B4-BE49-F238E27FC236}">
                <a16:creationId xmlns:a16="http://schemas.microsoft.com/office/drawing/2014/main" id="{78BFB93E-FA52-474F-8345-A948203E0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152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A731BA-A321-46CA-9841-B42AAA823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</a:rPr>
              <a:t>Monthly Achievements </a:t>
            </a:r>
            <a:b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  <a:t>Code and writing finalisation in the last two month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C7065D-5B58-4193-A98F-13709B55C94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B5D942-5CA6-4942-B323-177C4400B9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DE8C00-54F3-491A-ADC8-D5EBC68FBFD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8" name="03 Banded Columns - Engineering">
            <a:extLst>
              <a:ext uri="{FF2B5EF4-FFF2-40B4-BE49-F238E27FC236}">
                <a16:creationId xmlns:a16="http://schemas.microsoft.com/office/drawing/2014/main" id="{7D634594-1379-4C5C-B61A-4C36F07C028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732602"/>
              </p:ext>
            </p:extLst>
          </p:nvPr>
        </p:nvGraphicFramePr>
        <p:xfrm>
          <a:off x="767408" y="3537289"/>
          <a:ext cx="4806822" cy="2844461"/>
        </p:xfrm>
        <a:graphic>
          <a:graphicData uri="http://schemas.openxmlformats.org/drawingml/2006/table">
            <a:tbl>
              <a:tblPr firstRow="1" bandCol="1">
                <a:tableStyleId>{21E4AEA4-8DFA-4A89-87EB-49C32662AFE0}</a:tableStyleId>
              </a:tblPr>
              <a:tblGrid>
                <a:gridCol w="4806822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Ju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Finished the back end</a:t>
                      </a:r>
                    </a:p>
                    <a:p>
                      <a:pPr algn="ctr"/>
                      <a:r>
                        <a:rPr lang="de-DE" sz="2800" dirty="0"/>
                        <a:t>First presentation of the prototype</a:t>
                      </a:r>
                    </a:p>
                    <a:p>
                      <a:pPr algn="ctr"/>
                      <a:r>
                        <a:rPr lang="de-DE" sz="2800" dirty="0"/>
                        <a:t>First draft of the internship re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graphicFrame>
        <p:nvGraphicFramePr>
          <p:cNvPr id="9" name="03 Banded Columns - Engineering">
            <a:extLst>
              <a:ext uri="{FF2B5EF4-FFF2-40B4-BE49-F238E27FC236}">
                <a16:creationId xmlns:a16="http://schemas.microsoft.com/office/drawing/2014/main" id="{65AC7D32-0559-435F-B9B2-F730B43CC76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6617772" y="3543184"/>
          <a:ext cx="4806822" cy="2844461"/>
        </p:xfrm>
        <a:graphic>
          <a:graphicData uri="http://schemas.openxmlformats.org/drawingml/2006/table">
            <a:tbl>
              <a:tblPr firstRow="1" bandCol="1">
                <a:tableStyleId>{21E4AEA4-8DFA-4A89-87EB-49C32662AFE0}</a:tableStyleId>
              </a:tblPr>
              <a:tblGrid>
                <a:gridCol w="4806822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Jul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Connected the front end and back end</a:t>
                      </a:r>
                    </a:p>
                    <a:p>
                      <a:pPr algn="ctr"/>
                      <a:r>
                        <a:rPr lang="de-DE" sz="2800" dirty="0"/>
                        <a:t>Code Documen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6CF1684-95DD-4550-8916-C5973C22DE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1177" y="1442608"/>
            <a:ext cx="1872208" cy="18722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AE7BE42-EFFA-4F6F-AB30-05E898CAEE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6471" y="1706000"/>
            <a:ext cx="1573256" cy="1573256"/>
          </a:xfrm>
          <a:prstGeom prst="rect">
            <a:avLst/>
          </a:prstGeom>
        </p:spPr>
      </p:pic>
      <p:pic>
        <p:nvPicPr>
          <p:cNvPr id="10" name="Picture 4" descr="Partenaires | Board of European Students of Technology">
            <a:extLst>
              <a:ext uri="{FF2B5EF4-FFF2-40B4-BE49-F238E27FC236}">
                <a16:creationId xmlns:a16="http://schemas.microsoft.com/office/drawing/2014/main" id="{BDA5438D-B7B7-4EF2-A78A-A8D858820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540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C8DA05-24AE-44CF-91E3-334792848A8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pic>
        <p:nvPicPr>
          <p:cNvPr id="27" name="Picture 4" descr="Partenaires | Board of European Students of Technology">
            <a:extLst>
              <a:ext uri="{FF2B5EF4-FFF2-40B4-BE49-F238E27FC236}">
                <a16:creationId xmlns:a16="http://schemas.microsoft.com/office/drawing/2014/main" id="{0C3BF00B-EEA9-47EF-840A-ABC8BCEA1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1C35B-2A56-40D4-94D6-4AF3EBD56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8BC9B6-7423-4891-B59C-03BAF13D1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ED99F-86FC-4A29-8851-13A199D84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9D8B46-2DD7-4397-BEAF-C6BB421B72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34433" y="1268413"/>
            <a:ext cx="11521021" cy="3168399"/>
            <a:chOff x="334433" y="1268413"/>
            <a:chExt cx="11521021" cy="3168399"/>
          </a:xfrm>
        </p:grpSpPr>
        <p:sp>
          <p:nvSpPr>
            <p:cNvPr id="6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5EAAE904-AF66-4A04-A2E0-F05A0D2B792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solidFill>
                    <a:srgbClr val="928285"/>
                  </a:solidFill>
                  <a:latin typeface="+mn-lt"/>
                </a:rPr>
                <a:t>Presentation of the company, division and department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7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1218631B-F6C8-4DF7-ADDF-F49FE6798D6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3" y="1268413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CB85DC80-4628-44CA-8C4D-862388B83C29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4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9" name="MIO_AGENDA_ELEMENT_TITEL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217E4645-3256-46C2-B56D-4A381E0C8FED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916493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solidFill>
                    <a:srgbClr val="928285"/>
                  </a:solidFill>
                  <a:latin typeface="+mn-lt"/>
                </a:rPr>
                <a:t>Main Projects, Objectives and Achievements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0" name="MIO_AGENDA_ELEMENT_ELEMENT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58A19345-E837-4B91-892B-F89F60083B42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3" y="1916493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MIO_AGENDA_ELEMENT_PAGENUMBER_2">
              <a:hlinkClick r:id="rId20" action="ppaction://hlinksldjump"/>
              <a:extLst>
                <a:ext uri="{FF2B5EF4-FFF2-40B4-BE49-F238E27FC236}">
                  <a16:creationId xmlns:a16="http://schemas.microsoft.com/office/drawing/2014/main" id="{2E3528C9-9D09-4525-B03C-F67D7B93E5F9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916493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8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2" name="MIO_AGENDA_ELEMENT_TITEL_2_1">
              <a:extLst>
                <a:ext uri="{FF2B5EF4-FFF2-40B4-BE49-F238E27FC236}">
                  <a16:creationId xmlns:a16="http://schemas.microsoft.com/office/drawing/2014/main" id="{5574DF71-E62B-4BC1-951B-5662291F815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564575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ALS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3" name="MIO_AGENDA_ELEMENT_ELEMENTNUMBER_2_1">
              <a:extLst>
                <a:ext uri="{FF2B5EF4-FFF2-40B4-BE49-F238E27FC236}">
                  <a16:creationId xmlns:a16="http://schemas.microsoft.com/office/drawing/2014/main" id="{6FDD3F27-E1F9-4520-A848-B35DA2AB97EC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3" y="2564575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1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MIO_AGENDA_ELEMENT_TITEL_2_2">
              <a:extLst>
                <a:ext uri="{FF2B5EF4-FFF2-40B4-BE49-F238E27FC236}">
                  <a16:creationId xmlns:a16="http://schemas.microsoft.com/office/drawing/2014/main" id="{8C9D3A3B-F463-49FD-A5DD-26E17F64A105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235076" y="3212657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SS Reporting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5" name="MIO_AGENDA_ELEMENT_ELEMENTNUMBER_2_2">
              <a:extLst>
                <a:ext uri="{FF2B5EF4-FFF2-40B4-BE49-F238E27FC236}">
                  <a16:creationId xmlns:a16="http://schemas.microsoft.com/office/drawing/2014/main" id="{394AB264-81EF-4245-91CF-6FD3284605EF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334433" y="3212657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2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MIO_AGENDA_ELEMENT_TITEL_3">
              <a:extLst>
                <a:ext uri="{FF2B5EF4-FFF2-40B4-BE49-F238E27FC236}">
                  <a16:creationId xmlns:a16="http://schemas.microsoft.com/office/drawing/2014/main" id="{EC446552-ECF6-4A0D-8D88-36258FAC42CA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235075" y="3860740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latin typeface="+mn-lt"/>
                </a:rPr>
                <a:t>Conclusion and internship added-value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20" name="MIO_AGENDA_ELEMENT_ELEMENTNUMBER_3">
              <a:extLst>
                <a:ext uri="{FF2B5EF4-FFF2-40B4-BE49-F238E27FC236}">
                  <a16:creationId xmlns:a16="http://schemas.microsoft.com/office/drawing/2014/main" id="{4ECCBE2D-7969-4E9C-A832-22D510C8B5F5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334433" y="3860740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MIO_AGENDA_ELEMENT_PAGENUMBER_3">
              <a:extLst>
                <a:ext uri="{FF2B5EF4-FFF2-40B4-BE49-F238E27FC236}">
                  <a16:creationId xmlns:a16="http://schemas.microsoft.com/office/drawing/2014/main" id="{82FE9B70-CD62-45D1-BBD2-B945688E0E4D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1026666" y="3860740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19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0223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rief introduction of myself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78448" y="1484782"/>
            <a:ext cx="8924170" cy="2355991"/>
          </a:xfrm>
          <a:ln w="19050">
            <a:solidFill>
              <a:schemeClr val="tx2"/>
            </a:solidFill>
          </a:ln>
        </p:spPr>
        <p:txBody>
          <a:bodyPr>
            <a:noAutofit/>
          </a:bodyPr>
          <a:lstStyle/>
          <a:p>
            <a:pPr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GB" sz="1500" dirty="0"/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dirty="0">
                <a:latin typeface="Arial" panose="020B0604020202020204" pitchFamily="34" charset="0"/>
                <a:cs typeface="Arial" panose="020B0604020202020204" pitchFamily="34" charset="0"/>
              </a:rPr>
              <a:t>2020 – 2021: Unitech Programme Participant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dirty="0">
                <a:latin typeface="Arial" panose="020B0604020202020204" pitchFamily="34" charset="0"/>
                <a:cs typeface="Arial" panose="020B0604020202020204" pitchFamily="34" charset="0"/>
              </a:rPr>
              <a:t>2020 – 2020: Erasmus : Biomedical Engineering, Politecnico di Milano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dirty="0">
                <a:latin typeface="Arial" panose="020B0604020202020204" pitchFamily="34" charset="0"/>
                <a:cs typeface="Arial" panose="020B0604020202020204" pitchFamily="34" charset="0"/>
              </a:rPr>
              <a:t>2028 – 2021: Materials Sciences and Engineering, INSA Lyon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dirty="0">
                <a:latin typeface="Arial" panose="020B0604020202020204" pitchFamily="34" charset="0"/>
                <a:cs typeface="Arial" panose="020B0604020202020204" pitchFamily="34" charset="0"/>
              </a:rPr>
              <a:t>2015 – 2018: CPGE – Physics and Chemistry, </a:t>
            </a:r>
            <a:r>
              <a:rPr lang="en-GB" sz="1500" dirty="0" err="1">
                <a:latin typeface="Arial" panose="020B0604020202020204" pitchFamily="34" charset="0"/>
                <a:cs typeface="Arial" panose="020B0604020202020204" pitchFamily="34" charset="0"/>
              </a:rPr>
              <a:t>Lycee</a:t>
            </a:r>
            <a:r>
              <a:rPr lang="en-GB" sz="1500" dirty="0">
                <a:latin typeface="Arial" panose="020B0604020202020204" pitchFamily="34" charset="0"/>
                <a:cs typeface="Arial" panose="020B0604020202020204" pitchFamily="34" charset="0"/>
              </a:rPr>
              <a:t> Janson-de Sailly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619864" y="1316028"/>
            <a:ext cx="3575064" cy="33814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cademic background</a:t>
            </a:r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E0E05B86-7563-4C85-9358-17E56B3ABE8A}"/>
              </a:ext>
            </a:extLst>
          </p:cNvPr>
          <p:cNvSpPr txBox="1">
            <a:spLocks/>
          </p:cNvSpPr>
          <p:nvPr/>
        </p:nvSpPr>
        <p:spPr>
          <a:xfrm>
            <a:off x="9536028" y="3958523"/>
            <a:ext cx="2357652" cy="720000"/>
          </a:xfrm>
          <a:prstGeom prst="rect">
            <a:avLst/>
          </a:prstGeom>
        </p:spPr>
        <p:txBody>
          <a:bodyPr vert="horz" lIns="0" tIns="0" rIns="0" bIns="1080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en-GB" sz="4800" b="0" noProof="0" dirty="0" smtClean="0">
                <a:solidFill>
                  <a:schemeClr val="tx1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400" kern="0" dirty="0"/>
              <a:t>Kenza Benkirane </a:t>
            </a:r>
          </a:p>
          <a:p>
            <a:pPr algn="ctr"/>
            <a:r>
              <a:rPr lang="en-US" sz="1400" kern="0" dirty="0"/>
              <a:t>(IFAG CSC E IN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EE8921D-B693-492D-9AF1-0E894E7E15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2021-07-21             </a:t>
            </a:r>
            <a:r>
              <a:rPr lang="de-DE" b="1"/>
              <a:t>restricted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8A389BC-DDAD-4C8E-97AF-5AA6F0AB93E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Infineon Technologies AG 2021. All rights reserved.</a:t>
            </a:r>
            <a:endParaRPr lang="de-DE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FF6C0FA-BFFB-4ADE-BE77-BB59A87EC815}"/>
              </a:ext>
            </a:extLst>
          </p:cNvPr>
          <p:cNvSpPr txBox="1">
            <a:spLocks/>
          </p:cNvSpPr>
          <p:nvPr/>
        </p:nvSpPr>
        <p:spPr>
          <a:xfrm>
            <a:off x="478448" y="4141691"/>
            <a:ext cx="8924169" cy="1712045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0" tIns="0" rIns="0" bIns="0" rtlCol="0">
            <a:noAutofit/>
          </a:bodyPr>
          <a:lstStyle>
            <a:lvl1pPr marL="288000" indent="-28800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 sz="2000" baseline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576000" indent="-288000" algn="l" rtl="0" eaLnBrk="1" fontAlgn="base" hangingPunct="1"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864000" indent="-28800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Verdana" pitchFamily="34" charset="0"/>
              <a:buChar char="–"/>
              <a:defRPr sz="1800" baseline="0">
                <a:solidFill>
                  <a:schemeClr val="tx1"/>
                </a:solidFill>
                <a:latin typeface="Verdana" pitchFamily="34" charset="0"/>
              </a:defRPr>
            </a:lvl3pPr>
            <a:lvl4pPr marL="1080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600" baseline="0">
                <a:solidFill>
                  <a:schemeClr val="tx1"/>
                </a:solidFill>
                <a:latin typeface="Verdana" pitchFamily="34" charset="0"/>
              </a:defRPr>
            </a:lvl4pPr>
            <a:lvl5pPr marL="1296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</a:defRPr>
            </a:lvl5pPr>
            <a:lvl6pPr marL="1296000" indent="-21600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  <a:latin typeface="Verdana" pitchFamily="34" charset="0"/>
              </a:defRPr>
            </a:lvl6pPr>
            <a:lvl7pPr marL="25146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rgbClr val="666666"/>
                </a:solidFill>
                <a:latin typeface="+mn-lt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15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kern="0" dirty="0">
                <a:latin typeface="Arial" panose="020B0604020202020204" pitchFamily="34" charset="0"/>
                <a:cs typeface="Arial" panose="020B0604020202020204" pitchFamily="34" charset="0"/>
              </a:rPr>
              <a:t>03/2021 – 07/2021: Internship at Infineon Technologies SC Innovation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kern="0" dirty="0">
                <a:latin typeface="Arial" panose="020B0604020202020204" pitchFamily="34" charset="0"/>
                <a:cs typeface="Arial" panose="020B0604020202020204" pitchFamily="34" charset="0"/>
              </a:rPr>
              <a:t>07/2020– 08/202: Internship at </a:t>
            </a:r>
            <a:r>
              <a:rPr lang="en-GB" sz="1500" kern="0" dirty="0" err="1">
                <a:latin typeface="Arial" panose="020B0604020202020204" pitchFamily="34" charset="0"/>
                <a:cs typeface="Arial" panose="020B0604020202020204" pitchFamily="34" charset="0"/>
              </a:rPr>
              <a:t>Skairos</a:t>
            </a:r>
            <a:endParaRPr lang="en-GB" sz="15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500" kern="0" dirty="0">
                <a:latin typeface="Arial" panose="020B0604020202020204" pitchFamily="34" charset="0"/>
                <a:cs typeface="Arial" panose="020B0604020202020204" pitchFamily="34" charset="0"/>
              </a:rPr>
              <a:t>06/2019– 08/2019: Internship at the Hospital for Special Surgery (HSS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A5DB9D-241E-4D8A-B416-BF3BA26B9EE1}"/>
              </a:ext>
            </a:extLst>
          </p:cNvPr>
          <p:cNvSpPr/>
          <p:nvPr/>
        </p:nvSpPr>
        <p:spPr bwMode="auto">
          <a:xfrm>
            <a:off x="619864" y="3972936"/>
            <a:ext cx="3122578" cy="3525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actical experience</a:t>
            </a:r>
          </a:p>
        </p:txBody>
      </p:sp>
      <p:pic>
        <p:nvPicPr>
          <p:cNvPr id="13" name="Picture 8" descr="See the source image">
            <a:extLst>
              <a:ext uri="{FF2B5EF4-FFF2-40B4-BE49-F238E27FC236}">
                <a16:creationId xmlns:a16="http://schemas.microsoft.com/office/drawing/2014/main" id="{DAFD3033-84A4-4620-90DF-72B1A1C12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701" y="4254480"/>
            <a:ext cx="1367032" cy="602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ome">
            <a:extLst>
              <a:ext uri="{FF2B5EF4-FFF2-40B4-BE49-F238E27FC236}">
                <a16:creationId xmlns:a16="http://schemas.microsoft.com/office/drawing/2014/main" id="{718655A5-078A-4B81-BDD8-B7A207236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269" y="2709812"/>
            <a:ext cx="653540" cy="91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Polytechnic University of Milan - Wikipedia">
            <a:extLst>
              <a:ext uri="{FF2B5EF4-FFF2-40B4-BE49-F238E27FC236}">
                <a16:creationId xmlns:a16="http://schemas.microsoft.com/office/drawing/2014/main" id="{FD26A2E2-5F53-43EA-B523-D816F403A1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830" y="2895499"/>
            <a:ext cx="995630" cy="73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Partenaires | Board of European Students of Technology">
            <a:extLst>
              <a:ext uri="{FF2B5EF4-FFF2-40B4-BE49-F238E27FC236}">
                <a16:creationId xmlns:a16="http://schemas.microsoft.com/office/drawing/2014/main" id="{C41D39C5-89BF-49FE-8B37-A96CC003E1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Partenaires | Board of European Students of Technology">
            <a:extLst>
              <a:ext uri="{FF2B5EF4-FFF2-40B4-BE49-F238E27FC236}">
                <a16:creationId xmlns:a16="http://schemas.microsoft.com/office/drawing/2014/main" id="{1F48CA8C-1734-43A8-9CA1-A7E91DD4C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460" y="1800593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8" name="Picture 2" descr="Lycée Janson-de-Sailly | LinkedIn">
            <a:extLst>
              <a:ext uri="{FF2B5EF4-FFF2-40B4-BE49-F238E27FC236}">
                <a16:creationId xmlns:a16="http://schemas.microsoft.com/office/drawing/2014/main" id="{46AD5778-9C18-4519-B9FB-82A0737958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42" b="19526"/>
          <a:stretch/>
        </p:blipFill>
        <p:spPr bwMode="auto">
          <a:xfrm>
            <a:off x="7019016" y="1785981"/>
            <a:ext cx="111230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WishBone Medical, Inc. and Hospital for Special Surgery (HSS) Collaborate  to Develop a Novel Pediatric Total Hip Implant – WishBone Medical – Because  kids are not just little adults.®">
            <a:extLst>
              <a:ext uri="{FF2B5EF4-FFF2-40B4-BE49-F238E27FC236}">
                <a16:creationId xmlns:a16="http://schemas.microsoft.com/office/drawing/2014/main" id="{49207E02-7488-4E3A-9AA8-F06FC6B23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596" y="4966031"/>
            <a:ext cx="779015" cy="779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Logo Skairos wp - Réseau Entreprendre Paris">
            <a:extLst>
              <a:ext uri="{FF2B5EF4-FFF2-40B4-BE49-F238E27FC236}">
                <a16:creationId xmlns:a16="http://schemas.microsoft.com/office/drawing/2014/main" id="{3FB17FA0-C89F-4DE0-A49F-0F36003397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91" t="33359" r="10951" b="32933"/>
          <a:stretch/>
        </p:blipFill>
        <p:spPr bwMode="auto">
          <a:xfrm>
            <a:off x="8027366" y="5124981"/>
            <a:ext cx="1279767" cy="602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0C2A2E8-F8F4-4A60-8492-5ABC8F1AA0BE}"/>
              </a:ext>
            </a:extLst>
          </p:cNvPr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643" y="1510593"/>
            <a:ext cx="1859027" cy="23588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84" name="Picture 8" descr="Datei:Flag of France.svg – Wikipedia">
            <a:extLst>
              <a:ext uri="{FF2B5EF4-FFF2-40B4-BE49-F238E27FC236}">
                <a16:creationId xmlns:a16="http://schemas.microsoft.com/office/drawing/2014/main" id="{B5CAD6A1-FCB1-46D7-B58B-7E13001E4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6479" y="4487475"/>
            <a:ext cx="565722" cy="377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6" name="Picture 10" descr="Datei:Flag of Morocco.svg – Wikipedia">
            <a:extLst>
              <a:ext uri="{FF2B5EF4-FFF2-40B4-BE49-F238E27FC236}">
                <a16:creationId xmlns:a16="http://schemas.microsoft.com/office/drawing/2014/main" id="{21516426-F1A0-42A0-BC75-C844BA5BC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7494" y="4480193"/>
            <a:ext cx="565722" cy="37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30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5364"/>
    </mc:Choice>
    <mc:Fallback xmlns="">
      <p:transition spd="slow" advTm="45364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7DE85D8-00BE-4B29-A95D-B99E309D8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ALS</a:t>
            </a:r>
            <a:r>
              <a:rPr lang="en-US" dirty="0"/>
              <a:t> : </a:t>
            </a:r>
            <a:r>
              <a:rPr lang="en-GB" dirty="0"/>
              <a:t>Proximity Ambient Light Sensor </a:t>
            </a:r>
            <a:br>
              <a:rPr lang="en-GB" dirty="0"/>
            </a:br>
            <a:r>
              <a:rPr lang="de-DE" dirty="0"/>
              <a:t>Desktop App and Patient paramete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43CBDE-D872-48C4-886C-B1DDC7C74C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71A54D-05DD-48D0-AB8E-C0B15B34BD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F27090-1B3B-4146-A6C2-E522026FCF2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Content Placeholder 8">
            <a:extLst>
              <a:ext uri="{FF2B5EF4-FFF2-40B4-BE49-F238E27FC236}">
                <a16:creationId xmlns:a16="http://schemas.microsoft.com/office/drawing/2014/main" id="{1AC75409-C6F0-4DCC-AD86-C196243321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l="5779" r="3847"/>
          <a:stretch/>
        </p:blipFill>
        <p:spPr>
          <a:xfrm>
            <a:off x="911424" y="1383091"/>
            <a:ext cx="4320877" cy="3266018"/>
          </a:xfrm>
          <a:prstGeom prst="rect">
            <a:avLst/>
          </a:prstGeom>
          <a:solidFill>
            <a:schemeClr val="lt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Content Placeholder 9">
            <a:extLst>
              <a:ext uri="{FF2B5EF4-FFF2-40B4-BE49-F238E27FC236}">
                <a16:creationId xmlns:a16="http://schemas.microsoft.com/office/drawing/2014/main" id="{3735D6A7-A342-40AF-B003-A4947D881F7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7176120" y="1352999"/>
            <a:ext cx="3858163" cy="1648055"/>
          </a:xfrm>
          <a:prstGeom prst="rect">
            <a:avLst/>
          </a:prstGeom>
          <a:solidFill>
            <a:schemeClr val="lt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82589AC9-BF6F-4383-BE21-307A406EA03D}"/>
              </a:ext>
            </a:extLst>
          </p:cNvPr>
          <p:cNvSpPr/>
          <p:nvPr/>
        </p:nvSpPr>
        <p:spPr bwMode="auto">
          <a:xfrm>
            <a:off x="3159803" y="4832317"/>
            <a:ext cx="2160240" cy="108054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de-DE" sz="28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elanin rate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95D5242-0783-4F21-9125-82E76C353FF4}"/>
              </a:ext>
            </a:extLst>
          </p:cNvPr>
          <p:cNvSpPr/>
          <p:nvPr/>
        </p:nvSpPr>
        <p:spPr bwMode="auto">
          <a:xfrm>
            <a:off x="847800" y="5156762"/>
            <a:ext cx="2160240" cy="108054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de-DE" sz="28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MI 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6CAE786-1ADE-447E-842C-A489AB941E1E}"/>
              </a:ext>
            </a:extLst>
          </p:cNvPr>
          <p:cNvSpPr/>
          <p:nvPr/>
        </p:nvSpPr>
        <p:spPr bwMode="auto">
          <a:xfrm>
            <a:off x="8025081" y="3904175"/>
            <a:ext cx="2160240" cy="108054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de-DE" sz="28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ED Power </a:t>
            </a:r>
          </a:p>
        </p:txBody>
      </p:sp>
    </p:spTree>
    <p:extLst>
      <p:ext uri="{BB962C8B-B14F-4D97-AF65-F5344CB8AC3E}">
        <p14:creationId xmlns:p14="http://schemas.microsoft.com/office/powerpoint/2010/main" val="534835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72"/>
          <p:cNvSpPr txBox="1"/>
          <p:nvPr/>
        </p:nvSpPr>
        <p:spPr>
          <a:xfrm>
            <a:off x="3597022" y="2517204"/>
            <a:ext cx="1770000" cy="60800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2133"/>
              </a:spcAft>
            </a:pPr>
            <a:r>
              <a:rPr lang="en" sz="1600" dirty="0">
                <a:solidFill>
                  <a:schemeClr val="tx1"/>
                </a:solidFill>
                <a:latin typeface="Josefin Slab"/>
                <a:ea typeface="Josefin Slab"/>
                <a:cs typeface="Josefin Slab"/>
                <a:sym typeface="Josefin Slab"/>
              </a:rPr>
              <a:t>Choosing the parameter</a:t>
            </a:r>
            <a:endParaRPr sz="1600" dirty="0">
              <a:solidFill>
                <a:schemeClr val="tx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744" name="Google Shape;744;p72"/>
          <p:cNvSpPr txBox="1">
            <a:spLocks noGrp="1"/>
          </p:cNvSpPr>
          <p:nvPr>
            <p:ph type="ctrTitle" idx="4294967295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dirty="0">
                <a:solidFill>
                  <a:srgbClr val="000000"/>
                </a:solidFill>
                <a:latin typeface="Arial" panose="020B0604020202020204" pitchFamily="34" charset="0"/>
              </a:rPr>
              <a:t>Research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745" name="Google Shape;745;p72"/>
          <p:cNvGrpSpPr/>
          <p:nvPr/>
        </p:nvGrpSpPr>
        <p:grpSpPr>
          <a:xfrm>
            <a:off x="4278509" y="2245426"/>
            <a:ext cx="306585" cy="161033"/>
            <a:chOff x="2080675" y="352325"/>
            <a:chExt cx="485000" cy="254800"/>
          </a:xfrm>
          <a:solidFill>
            <a:schemeClr val="accent5"/>
          </a:solidFill>
        </p:grpSpPr>
        <p:sp>
          <p:nvSpPr>
            <p:cNvPr id="746" name="Google Shape;746;p72"/>
            <p:cNvSpPr/>
            <p:nvPr/>
          </p:nvSpPr>
          <p:spPr>
            <a:xfrm>
              <a:off x="2080675" y="352325"/>
              <a:ext cx="485000" cy="254800"/>
            </a:xfrm>
            <a:custGeom>
              <a:avLst/>
              <a:gdLst/>
              <a:ahLst/>
              <a:cxnLst/>
              <a:rect l="l" t="t" r="r" b="b"/>
              <a:pathLst>
                <a:path w="19400" h="10192" extrusionOk="0">
                  <a:moveTo>
                    <a:pt x="5514" y="2183"/>
                  </a:moveTo>
                  <a:cubicBezTo>
                    <a:pt x="4291" y="3932"/>
                    <a:pt x="4291" y="6254"/>
                    <a:pt x="5514" y="8002"/>
                  </a:cubicBezTo>
                  <a:cubicBezTo>
                    <a:pt x="4858" y="7685"/>
                    <a:pt x="4230" y="7320"/>
                    <a:pt x="3632" y="6909"/>
                  </a:cubicBezTo>
                  <a:cubicBezTo>
                    <a:pt x="2841" y="6368"/>
                    <a:pt x="2099" y="5762"/>
                    <a:pt x="1410" y="5097"/>
                  </a:cubicBezTo>
                  <a:cubicBezTo>
                    <a:pt x="2071" y="4454"/>
                    <a:pt x="3572" y="3126"/>
                    <a:pt x="5514" y="2183"/>
                  </a:cubicBezTo>
                  <a:close/>
                  <a:moveTo>
                    <a:pt x="13865" y="2171"/>
                  </a:moveTo>
                  <a:cubicBezTo>
                    <a:pt x="14527" y="2491"/>
                    <a:pt x="15167" y="2866"/>
                    <a:pt x="15774" y="3283"/>
                  </a:cubicBezTo>
                  <a:cubicBezTo>
                    <a:pt x="16562" y="3823"/>
                    <a:pt x="17304" y="4430"/>
                    <a:pt x="17996" y="5094"/>
                  </a:cubicBezTo>
                  <a:cubicBezTo>
                    <a:pt x="17307" y="5759"/>
                    <a:pt x="16565" y="6365"/>
                    <a:pt x="15774" y="6909"/>
                  </a:cubicBezTo>
                  <a:cubicBezTo>
                    <a:pt x="15167" y="7326"/>
                    <a:pt x="14530" y="7697"/>
                    <a:pt x="13865" y="8017"/>
                  </a:cubicBezTo>
                  <a:cubicBezTo>
                    <a:pt x="15097" y="6263"/>
                    <a:pt x="15097" y="3926"/>
                    <a:pt x="13865" y="2171"/>
                  </a:cubicBezTo>
                  <a:close/>
                  <a:moveTo>
                    <a:pt x="9801" y="1133"/>
                  </a:moveTo>
                  <a:cubicBezTo>
                    <a:pt x="11948" y="1190"/>
                    <a:pt x="13657" y="2947"/>
                    <a:pt x="13657" y="5091"/>
                  </a:cubicBezTo>
                  <a:cubicBezTo>
                    <a:pt x="13657" y="7238"/>
                    <a:pt x="11948" y="8995"/>
                    <a:pt x="9801" y="9053"/>
                  </a:cubicBezTo>
                  <a:lnTo>
                    <a:pt x="9566" y="9053"/>
                  </a:lnTo>
                  <a:cubicBezTo>
                    <a:pt x="7431" y="8983"/>
                    <a:pt x="5734" y="7232"/>
                    <a:pt x="5728" y="5094"/>
                  </a:cubicBezTo>
                  <a:cubicBezTo>
                    <a:pt x="5731" y="2947"/>
                    <a:pt x="7440" y="1190"/>
                    <a:pt x="9587" y="1133"/>
                  </a:cubicBezTo>
                  <a:close/>
                  <a:moveTo>
                    <a:pt x="9557" y="0"/>
                  </a:moveTo>
                  <a:cubicBezTo>
                    <a:pt x="7440" y="37"/>
                    <a:pt x="5166" y="852"/>
                    <a:pt x="2965" y="2362"/>
                  </a:cubicBezTo>
                  <a:cubicBezTo>
                    <a:pt x="1283" y="3518"/>
                    <a:pt x="239" y="4665"/>
                    <a:pt x="196" y="4714"/>
                  </a:cubicBezTo>
                  <a:cubicBezTo>
                    <a:pt x="0" y="4928"/>
                    <a:pt x="0" y="5257"/>
                    <a:pt x="196" y="5472"/>
                  </a:cubicBezTo>
                  <a:cubicBezTo>
                    <a:pt x="239" y="5523"/>
                    <a:pt x="1283" y="6670"/>
                    <a:pt x="2965" y="7827"/>
                  </a:cubicBezTo>
                  <a:cubicBezTo>
                    <a:pt x="5166" y="9337"/>
                    <a:pt x="7440" y="10149"/>
                    <a:pt x="9557" y="10188"/>
                  </a:cubicBezTo>
                  <a:cubicBezTo>
                    <a:pt x="9602" y="10188"/>
                    <a:pt x="9647" y="10191"/>
                    <a:pt x="9692" y="10191"/>
                  </a:cubicBezTo>
                  <a:lnTo>
                    <a:pt x="9717" y="10191"/>
                  </a:lnTo>
                  <a:cubicBezTo>
                    <a:pt x="11869" y="10185"/>
                    <a:pt x="14194" y="9367"/>
                    <a:pt x="16435" y="7827"/>
                  </a:cubicBezTo>
                  <a:cubicBezTo>
                    <a:pt x="18120" y="6670"/>
                    <a:pt x="19161" y="5523"/>
                    <a:pt x="19207" y="5475"/>
                  </a:cubicBezTo>
                  <a:cubicBezTo>
                    <a:pt x="19400" y="5257"/>
                    <a:pt x="19400" y="4931"/>
                    <a:pt x="19207" y="4714"/>
                  </a:cubicBezTo>
                  <a:cubicBezTo>
                    <a:pt x="19161" y="4665"/>
                    <a:pt x="18120" y="3521"/>
                    <a:pt x="16435" y="2365"/>
                  </a:cubicBezTo>
                  <a:cubicBezTo>
                    <a:pt x="14191" y="822"/>
                    <a:pt x="11869" y="6"/>
                    <a:pt x="97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47" name="Google Shape;747;p72"/>
            <p:cNvSpPr/>
            <p:nvPr/>
          </p:nvSpPr>
          <p:spPr>
            <a:xfrm>
              <a:off x="2246650" y="408900"/>
              <a:ext cx="147075" cy="141600"/>
            </a:xfrm>
            <a:custGeom>
              <a:avLst/>
              <a:gdLst/>
              <a:ahLst/>
              <a:cxnLst/>
              <a:rect l="l" t="t" r="r" b="b"/>
              <a:pathLst>
                <a:path w="5883" h="5664" extrusionOk="0">
                  <a:moveTo>
                    <a:pt x="3054" y="1132"/>
                  </a:moveTo>
                  <a:cubicBezTo>
                    <a:pt x="3495" y="1132"/>
                    <a:pt x="3930" y="1304"/>
                    <a:pt x="4255" y="1630"/>
                  </a:cubicBezTo>
                  <a:cubicBezTo>
                    <a:pt x="4738" y="2116"/>
                    <a:pt x="4886" y="2846"/>
                    <a:pt x="4624" y="3480"/>
                  </a:cubicBezTo>
                  <a:cubicBezTo>
                    <a:pt x="4358" y="4115"/>
                    <a:pt x="3739" y="4531"/>
                    <a:pt x="3053" y="4531"/>
                  </a:cubicBezTo>
                  <a:cubicBezTo>
                    <a:pt x="2114" y="4528"/>
                    <a:pt x="1357" y="3770"/>
                    <a:pt x="1353" y="2831"/>
                  </a:cubicBezTo>
                  <a:cubicBezTo>
                    <a:pt x="1353" y="2143"/>
                    <a:pt x="1767" y="1524"/>
                    <a:pt x="2404" y="1261"/>
                  </a:cubicBezTo>
                  <a:cubicBezTo>
                    <a:pt x="2614" y="1174"/>
                    <a:pt x="2835" y="1132"/>
                    <a:pt x="3054" y="1132"/>
                  </a:cubicBezTo>
                  <a:close/>
                  <a:moveTo>
                    <a:pt x="3053" y="1"/>
                  </a:moveTo>
                  <a:cubicBezTo>
                    <a:pt x="2316" y="1"/>
                    <a:pt x="1593" y="288"/>
                    <a:pt x="1052" y="829"/>
                  </a:cubicBezTo>
                  <a:cubicBezTo>
                    <a:pt x="242" y="1639"/>
                    <a:pt x="1" y="2855"/>
                    <a:pt x="439" y="3915"/>
                  </a:cubicBezTo>
                  <a:cubicBezTo>
                    <a:pt x="876" y="4972"/>
                    <a:pt x="1909" y="5663"/>
                    <a:pt x="3053" y="5663"/>
                  </a:cubicBezTo>
                  <a:cubicBezTo>
                    <a:pt x="4614" y="5660"/>
                    <a:pt x="5883" y="4395"/>
                    <a:pt x="5883" y="2831"/>
                  </a:cubicBezTo>
                  <a:cubicBezTo>
                    <a:pt x="5883" y="1687"/>
                    <a:pt x="5194" y="654"/>
                    <a:pt x="4137" y="216"/>
                  </a:cubicBezTo>
                  <a:cubicBezTo>
                    <a:pt x="3786" y="71"/>
                    <a:pt x="3418" y="1"/>
                    <a:pt x="30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</p:grpSp>
      <p:grpSp>
        <p:nvGrpSpPr>
          <p:cNvPr id="748" name="Google Shape;748;p72"/>
          <p:cNvGrpSpPr/>
          <p:nvPr/>
        </p:nvGrpSpPr>
        <p:grpSpPr>
          <a:xfrm>
            <a:off x="5238832" y="5661098"/>
            <a:ext cx="256381" cy="253732"/>
            <a:chOff x="3282325" y="2035675"/>
            <a:chExt cx="459575" cy="454825"/>
          </a:xfrm>
          <a:solidFill>
            <a:schemeClr val="accent5"/>
          </a:solidFill>
        </p:grpSpPr>
        <p:sp>
          <p:nvSpPr>
            <p:cNvPr id="749" name="Google Shape;749;p72"/>
            <p:cNvSpPr/>
            <p:nvPr/>
          </p:nvSpPr>
          <p:spPr>
            <a:xfrm>
              <a:off x="3337050" y="2234125"/>
              <a:ext cx="85925" cy="206325"/>
            </a:xfrm>
            <a:custGeom>
              <a:avLst/>
              <a:gdLst/>
              <a:ahLst/>
              <a:cxnLst/>
              <a:rect l="l" t="t" r="r" b="b"/>
              <a:pathLst>
                <a:path w="3437" h="8253" extrusionOk="0">
                  <a:moveTo>
                    <a:pt x="2305" y="1133"/>
                  </a:moveTo>
                  <a:lnTo>
                    <a:pt x="2305" y="7120"/>
                  </a:lnTo>
                  <a:lnTo>
                    <a:pt x="1133" y="7120"/>
                  </a:lnTo>
                  <a:lnTo>
                    <a:pt x="1133" y="1133"/>
                  </a:lnTo>
                  <a:close/>
                  <a:moveTo>
                    <a:pt x="568" y="0"/>
                  </a:moveTo>
                  <a:cubicBezTo>
                    <a:pt x="254" y="0"/>
                    <a:pt x="1" y="254"/>
                    <a:pt x="1" y="568"/>
                  </a:cubicBezTo>
                  <a:lnTo>
                    <a:pt x="1" y="7688"/>
                  </a:lnTo>
                  <a:cubicBezTo>
                    <a:pt x="1" y="7999"/>
                    <a:pt x="254" y="8253"/>
                    <a:pt x="568" y="8253"/>
                  </a:cubicBezTo>
                  <a:lnTo>
                    <a:pt x="2869" y="8253"/>
                  </a:lnTo>
                  <a:cubicBezTo>
                    <a:pt x="3183" y="8253"/>
                    <a:pt x="3437" y="7999"/>
                    <a:pt x="3437" y="7688"/>
                  </a:cubicBezTo>
                  <a:lnTo>
                    <a:pt x="3437" y="568"/>
                  </a:lnTo>
                  <a:cubicBezTo>
                    <a:pt x="3437" y="254"/>
                    <a:pt x="3183" y="0"/>
                    <a:pt x="28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0" name="Google Shape;750;p72"/>
            <p:cNvSpPr/>
            <p:nvPr/>
          </p:nvSpPr>
          <p:spPr>
            <a:xfrm>
              <a:off x="3451275" y="2175475"/>
              <a:ext cx="84925" cy="264975"/>
            </a:xfrm>
            <a:custGeom>
              <a:avLst/>
              <a:gdLst/>
              <a:ahLst/>
              <a:cxnLst/>
              <a:rect l="l" t="t" r="r" b="b"/>
              <a:pathLst>
                <a:path w="3397" h="10599" extrusionOk="0">
                  <a:moveTo>
                    <a:pt x="2265" y="1133"/>
                  </a:moveTo>
                  <a:lnTo>
                    <a:pt x="2265" y="9466"/>
                  </a:lnTo>
                  <a:lnTo>
                    <a:pt x="1132" y="9466"/>
                  </a:lnTo>
                  <a:lnTo>
                    <a:pt x="1132" y="1133"/>
                  </a:lnTo>
                  <a:close/>
                  <a:moveTo>
                    <a:pt x="565" y="0"/>
                  </a:moveTo>
                  <a:cubicBezTo>
                    <a:pt x="254" y="0"/>
                    <a:pt x="0" y="254"/>
                    <a:pt x="0" y="565"/>
                  </a:cubicBezTo>
                  <a:lnTo>
                    <a:pt x="0" y="10034"/>
                  </a:lnTo>
                  <a:cubicBezTo>
                    <a:pt x="0" y="10345"/>
                    <a:pt x="254" y="10599"/>
                    <a:pt x="565" y="10599"/>
                  </a:cubicBezTo>
                  <a:lnTo>
                    <a:pt x="2829" y="10599"/>
                  </a:lnTo>
                  <a:cubicBezTo>
                    <a:pt x="3143" y="10599"/>
                    <a:pt x="3397" y="10345"/>
                    <a:pt x="3397" y="10034"/>
                  </a:cubicBezTo>
                  <a:lnTo>
                    <a:pt x="3397" y="565"/>
                  </a:lnTo>
                  <a:cubicBezTo>
                    <a:pt x="3397" y="254"/>
                    <a:pt x="3143" y="0"/>
                    <a:pt x="2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1" name="Google Shape;751;p72"/>
            <p:cNvSpPr/>
            <p:nvPr/>
          </p:nvSpPr>
          <p:spPr>
            <a:xfrm>
              <a:off x="3564500" y="2116825"/>
              <a:ext cx="84950" cy="323625"/>
            </a:xfrm>
            <a:custGeom>
              <a:avLst/>
              <a:gdLst/>
              <a:ahLst/>
              <a:cxnLst/>
              <a:rect l="l" t="t" r="r" b="b"/>
              <a:pathLst>
                <a:path w="3398" h="12945" extrusionOk="0">
                  <a:moveTo>
                    <a:pt x="2265" y="1132"/>
                  </a:moveTo>
                  <a:lnTo>
                    <a:pt x="2265" y="11812"/>
                  </a:lnTo>
                  <a:lnTo>
                    <a:pt x="1133" y="11812"/>
                  </a:lnTo>
                  <a:lnTo>
                    <a:pt x="1133" y="1132"/>
                  </a:lnTo>
                  <a:close/>
                  <a:moveTo>
                    <a:pt x="565" y="0"/>
                  </a:moveTo>
                  <a:cubicBezTo>
                    <a:pt x="254" y="0"/>
                    <a:pt x="0" y="251"/>
                    <a:pt x="0" y="565"/>
                  </a:cubicBezTo>
                  <a:lnTo>
                    <a:pt x="0" y="12380"/>
                  </a:lnTo>
                  <a:cubicBezTo>
                    <a:pt x="0" y="12691"/>
                    <a:pt x="254" y="12945"/>
                    <a:pt x="565" y="12945"/>
                  </a:cubicBezTo>
                  <a:lnTo>
                    <a:pt x="2829" y="12945"/>
                  </a:lnTo>
                  <a:cubicBezTo>
                    <a:pt x="3144" y="12945"/>
                    <a:pt x="3397" y="12691"/>
                    <a:pt x="3397" y="12380"/>
                  </a:cubicBezTo>
                  <a:lnTo>
                    <a:pt x="3397" y="565"/>
                  </a:lnTo>
                  <a:cubicBezTo>
                    <a:pt x="3397" y="251"/>
                    <a:pt x="3144" y="0"/>
                    <a:pt x="2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  <p:sp>
          <p:nvSpPr>
            <p:cNvPr id="752" name="Google Shape;752;p72"/>
            <p:cNvSpPr/>
            <p:nvPr/>
          </p:nvSpPr>
          <p:spPr>
            <a:xfrm>
              <a:off x="3282325" y="2035675"/>
              <a:ext cx="459575" cy="454825"/>
            </a:xfrm>
            <a:custGeom>
              <a:avLst/>
              <a:gdLst/>
              <a:ahLst/>
              <a:cxnLst/>
              <a:rect l="l" t="t" r="r" b="b"/>
              <a:pathLst>
                <a:path w="18383" h="18193" extrusionOk="0">
                  <a:moveTo>
                    <a:pt x="568" y="0"/>
                  </a:moveTo>
                  <a:cubicBezTo>
                    <a:pt x="254" y="0"/>
                    <a:pt x="1" y="251"/>
                    <a:pt x="1" y="565"/>
                  </a:cubicBezTo>
                  <a:lnTo>
                    <a:pt x="1" y="17625"/>
                  </a:lnTo>
                  <a:cubicBezTo>
                    <a:pt x="1" y="17939"/>
                    <a:pt x="254" y="18192"/>
                    <a:pt x="568" y="18192"/>
                  </a:cubicBezTo>
                  <a:lnTo>
                    <a:pt x="17815" y="18192"/>
                  </a:lnTo>
                  <a:cubicBezTo>
                    <a:pt x="18129" y="18192"/>
                    <a:pt x="18383" y="17939"/>
                    <a:pt x="18383" y="17625"/>
                  </a:cubicBezTo>
                  <a:cubicBezTo>
                    <a:pt x="18383" y="17311"/>
                    <a:pt x="18129" y="17060"/>
                    <a:pt x="17815" y="17060"/>
                  </a:cubicBezTo>
                  <a:lnTo>
                    <a:pt x="1133" y="17060"/>
                  </a:lnTo>
                  <a:lnTo>
                    <a:pt x="1133" y="565"/>
                  </a:lnTo>
                  <a:cubicBezTo>
                    <a:pt x="1133" y="251"/>
                    <a:pt x="879" y="0"/>
                    <a:pt x="5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>
                <a:solidFill>
                  <a:srgbClr val="435D74"/>
                </a:solidFill>
              </a:endParaRPr>
            </a:p>
          </p:txBody>
        </p:sp>
      </p:grpSp>
      <p:grpSp>
        <p:nvGrpSpPr>
          <p:cNvPr id="753" name="Google Shape;753;p72"/>
          <p:cNvGrpSpPr/>
          <p:nvPr/>
        </p:nvGrpSpPr>
        <p:grpSpPr>
          <a:xfrm>
            <a:off x="5988709" y="1082273"/>
            <a:ext cx="274852" cy="270079"/>
            <a:chOff x="-60988625" y="2310475"/>
            <a:chExt cx="316650" cy="311150"/>
          </a:xfrm>
          <a:solidFill>
            <a:schemeClr val="accent5"/>
          </a:solidFill>
        </p:grpSpPr>
        <p:sp>
          <p:nvSpPr>
            <p:cNvPr id="754" name="Google Shape;754;p72"/>
            <p:cNvSpPr/>
            <p:nvPr/>
          </p:nvSpPr>
          <p:spPr>
            <a:xfrm>
              <a:off x="-60988625" y="2310475"/>
              <a:ext cx="311125" cy="311150"/>
            </a:xfrm>
            <a:custGeom>
              <a:avLst/>
              <a:gdLst/>
              <a:ahLst/>
              <a:cxnLst/>
              <a:rect l="l" t="t" r="r" b="b"/>
              <a:pathLst>
                <a:path w="12445" h="12446" extrusionOk="0">
                  <a:moveTo>
                    <a:pt x="7877" y="883"/>
                  </a:moveTo>
                  <a:cubicBezTo>
                    <a:pt x="8097" y="883"/>
                    <a:pt x="8318" y="1072"/>
                    <a:pt x="8318" y="1324"/>
                  </a:cubicBezTo>
                  <a:lnTo>
                    <a:pt x="8318" y="10398"/>
                  </a:lnTo>
                  <a:cubicBezTo>
                    <a:pt x="8318" y="10870"/>
                    <a:pt x="8444" y="11311"/>
                    <a:pt x="8727" y="11626"/>
                  </a:cubicBezTo>
                  <a:lnTo>
                    <a:pt x="2111" y="11626"/>
                  </a:lnTo>
                  <a:cubicBezTo>
                    <a:pt x="1450" y="11626"/>
                    <a:pt x="851" y="11091"/>
                    <a:pt x="851" y="10398"/>
                  </a:cubicBezTo>
                  <a:lnTo>
                    <a:pt x="851" y="1324"/>
                  </a:lnTo>
                  <a:lnTo>
                    <a:pt x="820" y="1324"/>
                  </a:lnTo>
                  <a:cubicBezTo>
                    <a:pt x="820" y="1072"/>
                    <a:pt x="1009" y="883"/>
                    <a:pt x="1261" y="883"/>
                  </a:cubicBezTo>
                  <a:close/>
                  <a:moveTo>
                    <a:pt x="11500" y="10807"/>
                  </a:moveTo>
                  <a:cubicBezTo>
                    <a:pt x="11342" y="11280"/>
                    <a:pt x="10870" y="11626"/>
                    <a:pt x="10303" y="11626"/>
                  </a:cubicBezTo>
                  <a:cubicBezTo>
                    <a:pt x="9767" y="11626"/>
                    <a:pt x="9326" y="11280"/>
                    <a:pt x="9137" y="10807"/>
                  </a:cubicBezTo>
                  <a:close/>
                  <a:moveTo>
                    <a:pt x="1261" y="1"/>
                  </a:moveTo>
                  <a:cubicBezTo>
                    <a:pt x="568" y="1"/>
                    <a:pt x="32" y="568"/>
                    <a:pt x="32" y="1230"/>
                  </a:cubicBezTo>
                  <a:lnTo>
                    <a:pt x="32" y="10334"/>
                  </a:lnTo>
                  <a:cubicBezTo>
                    <a:pt x="0" y="11563"/>
                    <a:pt x="946" y="12445"/>
                    <a:pt x="2080" y="12445"/>
                  </a:cubicBezTo>
                  <a:lnTo>
                    <a:pt x="10334" y="12445"/>
                  </a:lnTo>
                  <a:cubicBezTo>
                    <a:pt x="11500" y="12445"/>
                    <a:pt x="12445" y="11500"/>
                    <a:pt x="12445" y="10366"/>
                  </a:cubicBezTo>
                  <a:cubicBezTo>
                    <a:pt x="12445" y="10145"/>
                    <a:pt x="12224" y="9925"/>
                    <a:pt x="12004" y="9925"/>
                  </a:cubicBezTo>
                  <a:lnTo>
                    <a:pt x="9074" y="9925"/>
                  </a:lnTo>
                  <a:lnTo>
                    <a:pt x="9074" y="1230"/>
                  </a:lnTo>
                  <a:cubicBezTo>
                    <a:pt x="9074" y="568"/>
                    <a:pt x="8538" y="1"/>
                    <a:pt x="78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55" name="Google Shape;755;p72"/>
            <p:cNvSpPr/>
            <p:nvPr/>
          </p:nvSpPr>
          <p:spPr>
            <a:xfrm>
              <a:off x="-60947675" y="2353025"/>
              <a:ext cx="145725" cy="20500"/>
            </a:xfrm>
            <a:custGeom>
              <a:avLst/>
              <a:gdLst/>
              <a:ahLst/>
              <a:cxnLst/>
              <a:rect l="l" t="t" r="r" b="b"/>
              <a:pathLst>
                <a:path w="5829" h="820" extrusionOk="0">
                  <a:moveTo>
                    <a:pt x="442" y="0"/>
                  </a:moveTo>
                  <a:cubicBezTo>
                    <a:pt x="190" y="0"/>
                    <a:pt x="1" y="189"/>
                    <a:pt x="1" y="441"/>
                  </a:cubicBezTo>
                  <a:cubicBezTo>
                    <a:pt x="1" y="630"/>
                    <a:pt x="190" y="819"/>
                    <a:pt x="442" y="819"/>
                  </a:cubicBezTo>
                  <a:lnTo>
                    <a:pt x="5388" y="819"/>
                  </a:lnTo>
                  <a:cubicBezTo>
                    <a:pt x="5640" y="819"/>
                    <a:pt x="5829" y="630"/>
                    <a:pt x="5829" y="441"/>
                  </a:cubicBezTo>
                  <a:cubicBezTo>
                    <a:pt x="5829" y="189"/>
                    <a:pt x="5640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56" name="Google Shape;756;p72"/>
            <p:cNvSpPr/>
            <p:nvPr/>
          </p:nvSpPr>
          <p:spPr>
            <a:xfrm>
              <a:off x="-60947675" y="2415250"/>
              <a:ext cx="145725" cy="20500"/>
            </a:xfrm>
            <a:custGeom>
              <a:avLst/>
              <a:gdLst/>
              <a:ahLst/>
              <a:cxnLst/>
              <a:rect l="l" t="t" r="r" b="b"/>
              <a:pathLst>
                <a:path w="5829" h="820" extrusionOk="0">
                  <a:moveTo>
                    <a:pt x="442" y="0"/>
                  </a:moveTo>
                  <a:cubicBezTo>
                    <a:pt x="190" y="0"/>
                    <a:pt x="1" y="189"/>
                    <a:pt x="1" y="378"/>
                  </a:cubicBezTo>
                  <a:cubicBezTo>
                    <a:pt x="1" y="630"/>
                    <a:pt x="190" y="819"/>
                    <a:pt x="442" y="819"/>
                  </a:cubicBezTo>
                  <a:lnTo>
                    <a:pt x="5388" y="819"/>
                  </a:lnTo>
                  <a:cubicBezTo>
                    <a:pt x="5640" y="819"/>
                    <a:pt x="5829" y="630"/>
                    <a:pt x="5829" y="378"/>
                  </a:cubicBezTo>
                  <a:cubicBezTo>
                    <a:pt x="5829" y="158"/>
                    <a:pt x="5640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57" name="Google Shape;757;p72"/>
            <p:cNvSpPr/>
            <p:nvPr/>
          </p:nvSpPr>
          <p:spPr>
            <a:xfrm>
              <a:off x="-60947675" y="2475875"/>
              <a:ext cx="145725" cy="22100"/>
            </a:xfrm>
            <a:custGeom>
              <a:avLst/>
              <a:gdLst/>
              <a:ahLst/>
              <a:cxnLst/>
              <a:rect l="l" t="t" r="r" b="b"/>
              <a:pathLst>
                <a:path w="5829" h="884" extrusionOk="0">
                  <a:moveTo>
                    <a:pt x="442" y="1"/>
                  </a:moveTo>
                  <a:cubicBezTo>
                    <a:pt x="190" y="1"/>
                    <a:pt x="1" y="221"/>
                    <a:pt x="1" y="442"/>
                  </a:cubicBezTo>
                  <a:cubicBezTo>
                    <a:pt x="1" y="694"/>
                    <a:pt x="190" y="883"/>
                    <a:pt x="442" y="883"/>
                  </a:cubicBezTo>
                  <a:lnTo>
                    <a:pt x="5388" y="883"/>
                  </a:lnTo>
                  <a:cubicBezTo>
                    <a:pt x="5640" y="883"/>
                    <a:pt x="5829" y="694"/>
                    <a:pt x="5829" y="442"/>
                  </a:cubicBezTo>
                  <a:cubicBezTo>
                    <a:pt x="5829" y="221"/>
                    <a:pt x="5640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58" name="Google Shape;758;p72"/>
            <p:cNvSpPr/>
            <p:nvPr/>
          </p:nvSpPr>
          <p:spPr>
            <a:xfrm>
              <a:off x="-60947675" y="2538100"/>
              <a:ext cx="145725" cy="22075"/>
            </a:xfrm>
            <a:custGeom>
              <a:avLst/>
              <a:gdLst/>
              <a:ahLst/>
              <a:cxnLst/>
              <a:rect l="l" t="t" r="r" b="b"/>
              <a:pathLst>
                <a:path w="5829" h="883" extrusionOk="0">
                  <a:moveTo>
                    <a:pt x="442" y="1"/>
                  </a:moveTo>
                  <a:cubicBezTo>
                    <a:pt x="190" y="1"/>
                    <a:pt x="1" y="190"/>
                    <a:pt x="1" y="442"/>
                  </a:cubicBezTo>
                  <a:cubicBezTo>
                    <a:pt x="1" y="662"/>
                    <a:pt x="190" y="883"/>
                    <a:pt x="442" y="883"/>
                  </a:cubicBezTo>
                  <a:lnTo>
                    <a:pt x="5388" y="883"/>
                  </a:lnTo>
                  <a:cubicBezTo>
                    <a:pt x="5640" y="883"/>
                    <a:pt x="5829" y="662"/>
                    <a:pt x="5829" y="442"/>
                  </a:cubicBezTo>
                  <a:cubicBezTo>
                    <a:pt x="5829" y="190"/>
                    <a:pt x="5640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59" name="Google Shape;759;p72"/>
            <p:cNvSpPr/>
            <p:nvPr/>
          </p:nvSpPr>
          <p:spPr>
            <a:xfrm>
              <a:off x="-60740525" y="2312050"/>
              <a:ext cx="68550" cy="233950"/>
            </a:xfrm>
            <a:custGeom>
              <a:avLst/>
              <a:gdLst/>
              <a:ahLst/>
              <a:cxnLst/>
              <a:rect l="l" t="t" r="r" b="b"/>
              <a:pathLst>
                <a:path w="2742" h="9358" extrusionOk="0">
                  <a:moveTo>
                    <a:pt x="1796" y="789"/>
                  </a:moveTo>
                  <a:cubicBezTo>
                    <a:pt x="1891" y="789"/>
                    <a:pt x="1922" y="852"/>
                    <a:pt x="1922" y="946"/>
                  </a:cubicBezTo>
                  <a:lnTo>
                    <a:pt x="1922" y="1639"/>
                  </a:lnTo>
                  <a:lnTo>
                    <a:pt x="820" y="1639"/>
                  </a:lnTo>
                  <a:lnTo>
                    <a:pt x="820" y="946"/>
                  </a:lnTo>
                  <a:cubicBezTo>
                    <a:pt x="820" y="852"/>
                    <a:pt x="883" y="789"/>
                    <a:pt x="977" y="789"/>
                  </a:cubicBezTo>
                  <a:close/>
                  <a:moveTo>
                    <a:pt x="1922" y="2458"/>
                  </a:moveTo>
                  <a:lnTo>
                    <a:pt x="1922" y="6617"/>
                  </a:lnTo>
                  <a:lnTo>
                    <a:pt x="820" y="6617"/>
                  </a:lnTo>
                  <a:lnTo>
                    <a:pt x="820" y="2458"/>
                  </a:lnTo>
                  <a:close/>
                  <a:moveTo>
                    <a:pt x="1639" y="7436"/>
                  </a:moveTo>
                  <a:lnTo>
                    <a:pt x="1355" y="8035"/>
                  </a:lnTo>
                  <a:lnTo>
                    <a:pt x="1040" y="7436"/>
                  </a:lnTo>
                  <a:close/>
                  <a:moveTo>
                    <a:pt x="977" y="1"/>
                  </a:moveTo>
                  <a:cubicBezTo>
                    <a:pt x="410" y="1"/>
                    <a:pt x="1" y="410"/>
                    <a:pt x="1" y="946"/>
                  </a:cubicBezTo>
                  <a:lnTo>
                    <a:pt x="1" y="6995"/>
                  </a:lnTo>
                  <a:cubicBezTo>
                    <a:pt x="1" y="7090"/>
                    <a:pt x="1" y="7121"/>
                    <a:pt x="32" y="7184"/>
                  </a:cubicBezTo>
                  <a:lnTo>
                    <a:pt x="1009" y="9137"/>
                  </a:lnTo>
                  <a:cubicBezTo>
                    <a:pt x="1103" y="9295"/>
                    <a:pt x="1198" y="9358"/>
                    <a:pt x="1355" y="9358"/>
                  </a:cubicBezTo>
                  <a:cubicBezTo>
                    <a:pt x="1513" y="9358"/>
                    <a:pt x="1670" y="9295"/>
                    <a:pt x="1733" y="9137"/>
                  </a:cubicBezTo>
                  <a:lnTo>
                    <a:pt x="2678" y="7184"/>
                  </a:lnTo>
                  <a:cubicBezTo>
                    <a:pt x="2710" y="7153"/>
                    <a:pt x="2710" y="7090"/>
                    <a:pt x="2710" y="6995"/>
                  </a:cubicBezTo>
                  <a:lnTo>
                    <a:pt x="2710" y="946"/>
                  </a:lnTo>
                  <a:cubicBezTo>
                    <a:pt x="2741" y="410"/>
                    <a:pt x="2300" y="1"/>
                    <a:pt x="17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</p:grpSp>
      <p:grpSp>
        <p:nvGrpSpPr>
          <p:cNvPr id="760" name="Google Shape;760;p72"/>
          <p:cNvGrpSpPr/>
          <p:nvPr/>
        </p:nvGrpSpPr>
        <p:grpSpPr>
          <a:xfrm>
            <a:off x="6938040" y="5596101"/>
            <a:ext cx="325500" cy="327004"/>
            <a:chOff x="-1333975" y="2365850"/>
            <a:chExt cx="292225" cy="293575"/>
          </a:xfrm>
          <a:solidFill>
            <a:schemeClr val="accent5"/>
          </a:solidFill>
        </p:grpSpPr>
        <p:sp>
          <p:nvSpPr>
            <p:cNvPr id="761" name="Google Shape;761;p72"/>
            <p:cNvSpPr/>
            <p:nvPr/>
          </p:nvSpPr>
          <p:spPr>
            <a:xfrm>
              <a:off x="-1285150" y="2365850"/>
              <a:ext cx="191225" cy="293575"/>
            </a:xfrm>
            <a:custGeom>
              <a:avLst/>
              <a:gdLst/>
              <a:ahLst/>
              <a:cxnLst/>
              <a:rect l="l" t="t" r="r" b="b"/>
              <a:pathLst>
                <a:path w="7649" h="11743" extrusionOk="0">
                  <a:moveTo>
                    <a:pt x="3813" y="684"/>
                  </a:moveTo>
                  <a:cubicBezTo>
                    <a:pt x="5545" y="684"/>
                    <a:pt x="6900" y="2039"/>
                    <a:pt x="6900" y="3740"/>
                  </a:cubicBezTo>
                  <a:cubicBezTo>
                    <a:pt x="6931" y="4780"/>
                    <a:pt x="6553" y="5347"/>
                    <a:pt x="6270" y="5788"/>
                  </a:cubicBezTo>
                  <a:cubicBezTo>
                    <a:pt x="5797" y="6544"/>
                    <a:pt x="5608" y="6922"/>
                    <a:pt x="5608" y="7930"/>
                  </a:cubicBezTo>
                  <a:cubicBezTo>
                    <a:pt x="5608" y="8119"/>
                    <a:pt x="5451" y="8277"/>
                    <a:pt x="5230" y="8277"/>
                  </a:cubicBezTo>
                  <a:lnTo>
                    <a:pt x="2489" y="8277"/>
                  </a:lnTo>
                  <a:cubicBezTo>
                    <a:pt x="2300" y="8277"/>
                    <a:pt x="2143" y="8119"/>
                    <a:pt x="2143" y="7930"/>
                  </a:cubicBezTo>
                  <a:cubicBezTo>
                    <a:pt x="2143" y="6922"/>
                    <a:pt x="1922" y="6576"/>
                    <a:pt x="1450" y="5820"/>
                  </a:cubicBezTo>
                  <a:cubicBezTo>
                    <a:pt x="1198" y="5347"/>
                    <a:pt x="567" y="4528"/>
                    <a:pt x="788" y="3205"/>
                  </a:cubicBezTo>
                  <a:cubicBezTo>
                    <a:pt x="1040" y="1819"/>
                    <a:pt x="2237" y="684"/>
                    <a:pt x="3813" y="684"/>
                  </a:cubicBezTo>
                  <a:close/>
                  <a:moveTo>
                    <a:pt x="4852" y="8907"/>
                  </a:moveTo>
                  <a:lnTo>
                    <a:pt x="4852" y="9569"/>
                  </a:lnTo>
                  <a:lnTo>
                    <a:pt x="4506" y="9569"/>
                  </a:lnTo>
                  <a:cubicBezTo>
                    <a:pt x="4285" y="9569"/>
                    <a:pt x="4128" y="9726"/>
                    <a:pt x="4128" y="9915"/>
                  </a:cubicBezTo>
                  <a:cubicBezTo>
                    <a:pt x="4128" y="10136"/>
                    <a:pt x="4285" y="10293"/>
                    <a:pt x="4506" y="10293"/>
                  </a:cubicBezTo>
                  <a:lnTo>
                    <a:pt x="4852" y="10293"/>
                  </a:lnTo>
                  <a:lnTo>
                    <a:pt x="4852" y="10640"/>
                  </a:lnTo>
                  <a:cubicBezTo>
                    <a:pt x="4884" y="10829"/>
                    <a:pt x="4726" y="10986"/>
                    <a:pt x="4537" y="10986"/>
                  </a:cubicBezTo>
                  <a:lnTo>
                    <a:pt x="3151" y="10986"/>
                  </a:lnTo>
                  <a:cubicBezTo>
                    <a:pt x="2962" y="10986"/>
                    <a:pt x="2804" y="10829"/>
                    <a:pt x="2804" y="10640"/>
                  </a:cubicBezTo>
                  <a:lnTo>
                    <a:pt x="2804" y="10293"/>
                  </a:lnTo>
                  <a:lnTo>
                    <a:pt x="3151" y="10293"/>
                  </a:lnTo>
                  <a:cubicBezTo>
                    <a:pt x="3371" y="10293"/>
                    <a:pt x="3529" y="10136"/>
                    <a:pt x="3529" y="9915"/>
                  </a:cubicBezTo>
                  <a:cubicBezTo>
                    <a:pt x="3529" y="9726"/>
                    <a:pt x="3371" y="9569"/>
                    <a:pt x="3151" y="9569"/>
                  </a:cubicBezTo>
                  <a:lnTo>
                    <a:pt x="2804" y="9569"/>
                  </a:lnTo>
                  <a:lnTo>
                    <a:pt x="2804" y="8907"/>
                  </a:lnTo>
                  <a:close/>
                  <a:moveTo>
                    <a:pt x="3897" y="1"/>
                  </a:moveTo>
                  <a:cubicBezTo>
                    <a:pt x="3632" y="1"/>
                    <a:pt x="3361" y="28"/>
                    <a:pt x="3088" y="86"/>
                  </a:cubicBezTo>
                  <a:cubicBezTo>
                    <a:pt x="1607" y="401"/>
                    <a:pt x="441" y="1566"/>
                    <a:pt x="158" y="3079"/>
                  </a:cubicBezTo>
                  <a:cubicBezTo>
                    <a:pt x="0" y="3992"/>
                    <a:pt x="158" y="4969"/>
                    <a:pt x="631" y="5757"/>
                  </a:cubicBezTo>
                  <a:cubicBezTo>
                    <a:pt x="757" y="5914"/>
                    <a:pt x="820" y="6072"/>
                    <a:pt x="914" y="6229"/>
                  </a:cubicBezTo>
                  <a:cubicBezTo>
                    <a:pt x="1355" y="6891"/>
                    <a:pt x="1450" y="7143"/>
                    <a:pt x="1450" y="7962"/>
                  </a:cubicBezTo>
                  <a:cubicBezTo>
                    <a:pt x="1450" y="8403"/>
                    <a:pt x="1733" y="8781"/>
                    <a:pt x="2143" y="8939"/>
                  </a:cubicBezTo>
                  <a:lnTo>
                    <a:pt x="2143" y="10703"/>
                  </a:lnTo>
                  <a:cubicBezTo>
                    <a:pt x="2143" y="11270"/>
                    <a:pt x="2615" y="11743"/>
                    <a:pt x="3151" y="11743"/>
                  </a:cubicBezTo>
                  <a:lnTo>
                    <a:pt x="4537" y="11743"/>
                  </a:lnTo>
                  <a:cubicBezTo>
                    <a:pt x="5073" y="11743"/>
                    <a:pt x="5545" y="11270"/>
                    <a:pt x="5545" y="10703"/>
                  </a:cubicBezTo>
                  <a:lnTo>
                    <a:pt x="5545" y="8939"/>
                  </a:lnTo>
                  <a:cubicBezTo>
                    <a:pt x="5955" y="8781"/>
                    <a:pt x="6238" y="8435"/>
                    <a:pt x="6238" y="7962"/>
                  </a:cubicBezTo>
                  <a:lnTo>
                    <a:pt x="6238" y="7930"/>
                  </a:lnTo>
                  <a:cubicBezTo>
                    <a:pt x="6238" y="7143"/>
                    <a:pt x="6427" y="6828"/>
                    <a:pt x="6805" y="6229"/>
                  </a:cubicBezTo>
                  <a:cubicBezTo>
                    <a:pt x="7089" y="5788"/>
                    <a:pt x="7593" y="5032"/>
                    <a:pt x="7593" y="3835"/>
                  </a:cubicBezTo>
                  <a:cubicBezTo>
                    <a:pt x="7649" y="1658"/>
                    <a:pt x="5950" y="1"/>
                    <a:pt x="38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2" name="Google Shape;762;p72"/>
            <p:cNvSpPr/>
            <p:nvPr/>
          </p:nvSpPr>
          <p:spPr>
            <a:xfrm>
              <a:off x="-1076425" y="2452250"/>
              <a:ext cx="34675" cy="18150"/>
            </a:xfrm>
            <a:custGeom>
              <a:avLst/>
              <a:gdLst/>
              <a:ahLst/>
              <a:cxnLst/>
              <a:rect l="l" t="t" r="r" b="b"/>
              <a:pathLst>
                <a:path w="1387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68"/>
                    <a:pt x="158" y="725"/>
                    <a:pt x="347" y="725"/>
                  </a:cubicBezTo>
                  <a:lnTo>
                    <a:pt x="1040" y="725"/>
                  </a:lnTo>
                  <a:cubicBezTo>
                    <a:pt x="1229" y="725"/>
                    <a:pt x="1386" y="568"/>
                    <a:pt x="1386" y="379"/>
                  </a:cubicBezTo>
                  <a:cubicBezTo>
                    <a:pt x="1386" y="158"/>
                    <a:pt x="1229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3" name="Google Shape;763;p72"/>
            <p:cNvSpPr/>
            <p:nvPr/>
          </p:nvSpPr>
          <p:spPr>
            <a:xfrm>
              <a:off x="-1333975" y="2452250"/>
              <a:ext cx="34675" cy="18150"/>
            </a:xfrm>
            <a:custGeom>
              <a:avLst/>
              <a:gdLst/>
              <a:ahLst/>
              <a:cxnLst/>
              <a:rect l="l" t="t" r="r" b="b"/>
              <a:pathLst>
                <a:path w="1387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68"/>
                    <a:pt x="158" y="725"/>
                    <a:pt x="347" y="725"/>
                  </a:cubicBezTo>
                  <a:lnTo>
                    <a:pt x="1008" y="725"/>
                  </a:lnTo>
                  <a:cubicBezTo>
                    <a:pt x="1197" y="694"/>
                    <a:pt x="1386" y="536"/>
                    <a:pt x="1386" y="379"/>
                  </a:cubicBezTo>
                  <a:cubicBezTo>
                    <a:pt x="1386" y="158"/>
                    <a:pt x="1197" y="1"/>
                    <a:pt x="10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4" name="Google Shape;764;p72"/>
            <p:cNvSpPr/>
            <p:nvPr/>
          </p:nvSpPr>
          <p:spPr>
            <a:xfrm>
              <a:off x="-1093750" y="2383050"/>
              <a:ext cx="35450" cy="26575"/>
            </a:xfrm>
            <a:custGeom>
              <a:avLst/>
              <a:gdLst/>
              <a:ahLst/>
              <a:cxnLst/>
              <a:rect l="l" t="t" r="r" b="b"/>
              <a:pathLst>
                <a:path w="1418" h="1063" extrusionOk="0">
                  <a:moveTo>
                    <a:pt x="992" y="1"/>
                  </a:moveTo>
                  <a:cubicBezTo>
                    <a:pt x="931" y="1"/>
                    <a:pt x="870" y="19"/>
                    <a:pt x="819" y="59"/>
                  </a:cubicBezTo>
                  <a:lnTo>
                    <a:pt x="221" y="406"/>
                  </a:lnTo>
                  <a:cubicBezTo>
                    <a:pt x="63" y="500"/>
                    <a:pt x="0" y="721"/>
                    <a:pt x="95" y="878"/>
                  </a:cubicBezTo>
                  <a:cubicBezTo>
                    <a:pt x="159" y="985"/>
                    <a:pt x="295" y="1063"/>
                    <a:pt x="415" y="1063"/>
                  </a:cubicBezTo>
                  <a:cubicBezTo>
                    <a:pt x="473" y="1063"/>
                    <a:pt x="527" y="1045"/>
                    <a:pt x="567" y="1005"/>
                  </a:cubicBezTo>
                  <a:lnTo>
                    <a:pt x="1166" y="658"/>
                  </a:lnTo>
                  <a:cubicBezTo>
                    <a:pt x="1323" y="563"/>
                    <a:pt x="1418" y="343"/>
                    <a:pt x="1292" y="185"/>
                  </a:cubicBezTo>
                  <a:cubicBezTo>
                    <a:pt x="1249" y="79"/>
                    <a:pt x="1120" y="1"/>
                    <a:pt x="9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5" name="Google Shape;765;p72"/>
            <p:cNvSpPr/>
            <p:nvPr/>
          </p:nvSpPr>
          <p:spPr>
            <a:xfrm>
              <a:off x="-1317450" y="2512575"/>
              <a:ext cx="35475" cy="26225"/>
            </a:xfrm>
            <a:custGeom>
              <a:avLst/>
              <a:gdLst/>
              <a:ahLst/>
              <a:cxnLst/>
              <a:rect l="l" t="t" r="r" b="b"/>
              <a:pathLst>
                <a:path w="1419" h="1049" extrusionOk="0">
                  <a:moveTo>
                    <a:pt x="1005" y="1"/>
                  </a:moveTo>
                  <a:cubicBezTo>
                    <a:pt x="944" y="1"/>
                    <a:pt x="880" y="15"/>
                    <a:pt x="820" y="45"/>
                  </a:cubicBezTo>
                  <a:lnTo>
                    <a:pt x="221" y="392"/>
                  </a:lnTo>
                  <a:cubicBezTo>
                    <a:pt x="64" y="486"/>
                    <a:pt x="1" y="707"/>
                    <a:pt x="127" y="864"/>
                  </a:cubicBezTo>
                  <a:cubicBezTo>
                    <a:pt x="169" y="971"/>
                    <a:pt x="299" y="1049"/>
                    <a:pt x="427" y="1049"/>
                  </a:cubicBezTo>
                  <a:cubicBezTo>
                    <a:pt x="488" y="1049"/>
                    <a:pt x="548" y="1031"/>
                    <a:pt x="599" y="990"/>
                  </a:cubicBezTo>
                  <a:lnTo>
                    <a:pt x="1166" y="644"/>
                  </a:lnTo>
                  <a:cubicBezTo>
                    <a:pt x="1324" y="549"/>
                    <a:pt x="1418" y="329"/>
                    <a:pt x="1292" y="171"/>
                  </a:cubicBezTo>
                  <a:cubicBezTo>
                    <a:pt x="1250" y="64"/>
                    <a:pt x="1134" y="1"/>
                    <a:pt x="10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6" name="Google Shape;766;p72"/>
            <p:cNvSpPr/>
            <p:nvPr/>
          </p:nvSpPr>
          <p:spPr>
            <a:xfrm>
              <a:off x="-1092975" y="2512575"/>
              <a:ext cx="34675" cy="25525"/>
            </a:xfrm>
            <a:custGeom>
              <a:avLst/>
              <a:gdLst/>
              <a:ahLst/>
              <a:cxnLst/>
              <a:rect l="l" t="t" r="r" b="b"/>
              <a:pathLst>
                <a:path w="1387" h="1021" extrusionOk="0">
                  <a:moveTo>
                    <a:pt x="378" y="1"/>
                  </a:moveTo>
                  <a:cubicBezTo>
                    <a:pt x="264" y="1"/>
                    <a:pt x="149" y="64"/>
                    <a:pt x="64" y="171"/>
                  </a:cubicBezTo>
                  <a:cubicBezTo>
                    <a:pt x="1" y="329"/>
                    <a:pt x="32" y="518"/>
                    <a:pt x="190" y="644"/>
                  </a:cubicBezTo>
                  <a:lnTo>
                    <a:pt x="788" y="990"/>
                  </a:lnTo>
                  <a:cubicBezTo>
                    <a:pt x="838" y="1010"/>
                    <a:pt x="891" y="1021"/>
                    <a:pt x="944" y="1021"/>
                  </a:cubicBezTo>
                  <a:cubicBezTo>
                    <a:pt x="1059" y="1021"/>
                    <a:pt x="1175" y="972"/>
                    <a:pt x="1261" y="864"/>
                  </a:cubicBezTo>
                  <a:cubicBezTo>
                    <a:pt x="1387" y="675"/>
                    <a:pt x="1292" y="486"/>
                    <a:pt x="1135" y="392"/>
                  </a:cubicBezTo>
                  <a:lnTo>
                    <a:pt x="536" y="45"/>
                  </a:lnTo>
                  <a:cubicBezTo>
                    <a:pt x="486" y="15"/>
                    <a:pt x="432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7" name="Google Shape;767;p72"/>
            <p:cNvSpPr/>
            <p:nvPr/>
          </p:nvSpPr>
          <p:spPr>
            <a:xfrm>
              <a:off x="-1316650" y="2383750"/>
              <a:ext cx="34675" cy="25525"/>
            </a:xfrm>
            <a:custGeom>
              <a:avLst/>
              <a:gdLst/>
              <a:ahLst/>
              <a:cxnLst/>
              <a:rect l="l" t="t" r="r" b="b"/>
              <a:pathLst>
                <a:path w="1387" h="1021" extrusionOk="0">
                  <a:moveTo>
                    <a:pt x="405" y="1"/>
                  </a:moveTo>
                  <a:cubicBezTo>
                    <a:pt x="283" y="1"/>
                    <a:pt x="159" y="50"/>
                    <a:pt x="95" y="157"/>
                  </a:cubicBezTo>
                  <a:cubicBezTo>
                    <a:pt x="0" y="315"/>
                    <a:pt x="63" y="504"/>
                    <a:pt x="221" y="630"/>
                  </a:cubicBezTo>
                  <a:lnTo>
                    <a:pt x="788" y="977"/>
                  </a:lnTo>
                  <a:cubicBezTo>
                    <a:pt x="838" y="1007"/>
                    <a:pt x="895" y="1021"/>
                    <a:pt x="953" y="1021"/>
                  </a:cubicBezTo>
                  <a:cubicBezTo>
                    <a:pt x="1074" y="1021"/>
                    <a:pt x="1196" y="958"/>
                    <a:pt x="1260" y="850"/>
                  </a:cubicBezTo>
                  <a:cubicBezTo>
                    <a:pt x="1386" y="693"/>
                    <a:pt x="1292" y="504"/>
                    <a:pt x="1134" y="378"/>
                  </a:cubicBezTo>
                  <a:lnTo>
                    <a:pt x="567" y="31"/>
                  </a:lnTo>
                  <a:cubicBezTo>
                    <a:pt x="517" y="11"/>
                    <a:pt x="461" y="1"/>
                    <a:pt x="4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68" name="Google Shape;768;p72"/>
            <p:cNvSpPr/>
            <p:nvPr/>
          </p:nvSpPr>
          <p:spPr>
            <a:xfrm>
              <a:off x="-1239475" y="2401575"/>
              <a:ext cx="102425" cy="153100"/>
            </a:xfrm>
            <a:custGeom>
              <a:avLst/>
              <a:gdLst/>
              <a:ahLst/>
              <a:cxnLst/>
              <a:rect l="l" t="t" r="r" b="b"/>
              <a:pathLst>
                <a:path w="4097" h="6124" extrusionOk="0">
                  <a:moveTo>
                    <a:pt x="1733" y="1492"/>
                  </a:moveTo>
                  <a:lnTo>
                    <a:pt x="1733" y="2343"/>
                  </a:lnTo>
                  <a:cubicBezTo>
                    <a:pt x="1733" y="2500"/>
                    <a:pt x="1796" y="2626"/>
                    <a:pt x="1922" y="2658"/>
                  </a:cubicBezTo>
                  <a:lnTo>
                    <a:pt x="3246" y="3225"/>
                  </a:lnTo>
                  <a:lnTo>
                    <a:pt x="2395" y="4611"/>
                  </a:lnTo>
                  <a:lnTo>
                    <a:pt x="2395" y="3729"/>
                  </a:lnTo>
                  <a:cubicBezTo>
                    <a:pt x="2395" y="3572"/>
                    <a:pt x="2332" y="3445"/>
                    <a:pt x="2206" y="3414"/>
                  </a:cubicBezTo>
                  <a:lnTo>
                    <a:pt x="851" y="2878"/>
                  </a:lnTo>
                  <a:lnTo>
                    <a:pt x="1733" y="1492"/>
                  </a:lnTo>
                  <a:close/>
                  <a:moveTo>
                    <a:pt x="2038" y="0"/>
                  </a:moveTo>
                  <a:cubicBezTo>
                    <a:pt x="1919" y="0"/>
                    <a:pt x="1814" y="47"/>
                    <a:pt x="1765" y="169"/>
                  </a:cubicBezTo>
                  <a:lnTo>
                    <a:pt x="64" y="2941"/>
                  </a:lnTo>
                  <a:cubicBezTo>
                    <a:pt x="32" y="3004"/>
                    <a:pt x="1" y="3130"/>
                    <a:pt x="32" y="3225"/>
                  </a:cubicBezTo>
                  <a:cubicBezTo>
                    <a:pt x="64" y="3288"/>
                    <a:pt x="158" y="3382"/>
                    <a:pt x="221" y="3414"/>
                  </a:cubicBezTo>
                  <a:lnTo>
                    <a:pt x="1733" y="4013"/>
                  </a:lnTo>
                  <a:lnTo>
                    <a:pt x="1733" y="5808"/>
                  </a:lnTo>
                  <a:cubicBezTo>
                    <a:pt x="1733" y="5966"/>
                    <a:pt x="1859" y="6092"/>
                    <a:pt x="1954" y="6123"/>
                  </a:cubicBezTo>
                  <a:lnTo>
                    <a:pt x="2049" y="6123"/>
                  </a:lnTo>
                  <a:cubicBezTo>
                    <a:pt x="2143" y="6123"/>
                    <a:pt x="2269" y="6092"/>
                    <a:pt x="2301" y="5966"/>
                  </a:cubicBezTo>
                  <a:lnTo>
                    <a:pt x="4002" y="3225"/>
                  </a:lnTo>
                  <a:cubicBezTo>
                    <a:pt x="4033" y="3130"/>
                    <a:pt x="4096" y="3004"/>
                    <a:pt x="4033" y="2941"/>
                  </a:cubicBezTo>
                  <a:cubicBezTo>
                    <a:pt x="4033" y="2878"/>
                    <a:pt x="3970" y="2784"/>
                    <a:pt x="3907" y="2752"/>
                  </a:cubicBezTo>
                  <a:lnTo>
                    <a:pt x="2395" y="2154"/>
                  </a:lnTo>
                  <a:lnTo>
                    <a:pt x="2395" y="358"/>
                  </a:lnTo>
                  <a:cubicBezTo>
                    <a:pt x="2395" y="169"/>
                    <a:pt x="2269" y="74"/>
                    <a:pt x="2143" y="11"/>
                  </a:cubicBezTo>
                  <a:cubicBezTo>
                    <a:pt x="2108" y="4"/>
                    <a:pt x="2072" y="0"/>
                    <a:pt x="20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</p:grpSp>
      <p:sp>
        <p:nvSpPr>
          <p:cNvPr id="769" name="Google Shape;769;p72"/>
          <p:cNvSpPr/>
          <p:nvPr/>
        </p:nvSpPr>
        <p:spPr>
          <a:xfrm>
            <a:off x="131" y="5398397"/>
            <a:ext cx="38128" cy="43"/>
          </a:xfrm>
          <a:custGeom>
            <a:avLst/>
            <a:gdLst/>
            <a:ahLst/>
            <a:cxnLst/>
            <a:rect l="l" t="t" r="r" b="b"/>
            <a:pathLst>
              <a:path w="893" h="1" fill="none" extrusionOk="0">
                <a:moveTo>
                  <a:pt x="0" y="1"/>
                </a:moveTo>
                <a:lnTo>
                  <a:pt x="892" y="1"/>
                </a:lnTo>
              </a:path>
            </a:pathLst>
          </a:custGeom>
          <a:noFill/>
          <a:ln w="3800" cap="flat" cmpd="sng" algn="ctr">
            <a:solidFill>
              <a:schemeClr val="dk1"/>
            </a:solidFill>
            <a:prstDash val="solid"/>
            <a:miter lim="8921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70" name="Google Shape;770;p72"/>
          <p:cNvSpPr/>
          <p:nvPr/>
        </p:nvSpPr>
        <p:spPr>
          <a:xfrm>
            <a:off x="5600865" y="2107202"/>
            <a:ext cx="1061995" cy="108236"/>
          </a:xfrm>
          <a:custGeom>
            <a:avLst/>
            <a:gdLst/>
            <a:ahLst/>
            <a:cxnLst/>
            <a:rect l="l" t="t" r="r" b="b"/>
            <a:pathLst>
              <a:path w="24873" h="2535" fill="none" extrusionOk="0">
                <a:moveTo>
                  <a:pt x="0" y="1"/>
                </a:moveTo>
                <a:lnTo>
                  <a:pt x="10188" y="1"/>
                </a:lnTo>
                <a:lnTo>
                  <a:pt x="12454" y="2534"/>
                </a:lnTo>
                <a:lnTo>
                  <a:pt x="14720" y="1"/>
                </a:lnTo>
                <a:lnTo>
                  <a:pt x="24872" y="1"/>
                </a:lnTo>
              </a:path>
            </a:pathLst>
          </a:custGeom>
          <a:solidFill>
            <a:srgbClr val="BCB0B1"/>
          </a:solidFill>
          <a:ln w="19050" cap="flat" cmpd="sng">
            <a:solidFill>
              <a:schemeClr val="lt1"/>
            </a:solidFill>
            <a:prstDash val="solid"/>
            <a:miter lim="8921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71" name="Google Shape;771;p72"/>
          <p:cNvSpPr/>
          <p:nvPr/>
        </p:nvSpPr>
        <p:spPr>
          <a:xfrm>
            <a:off x="4797913" y="4841659"/>
            <a:ext cx="1060116" cy="79245"/>
          </a:xfrm>
          <a:custGeom>
            <a:avLst/>
            <a:gdLst/>
            <a:ahLst/>
            <a:cxnLst/>
            <a:rect l="l" t="t" r="r" b="b"/>
            <a:pathLst>
              <a:path w="24829" h="1856" fill="none" extrusionOk="0">
                <a:moveTo>
                  <a:pt x="24828" y="1856"/>
                </a:moveTo>
                <a:lnTo>
                  <a:pt x="14685" y="1856"/>
                </a:lnTo>
                <a:lnTo>
                  <a:pt x="12410" y="0"/>
                </a:lnTo>
                <a:lnTo>
                  <a:pt x="10144" y="1856"/>
                </a:lnTo>
                <a:lnTo>
                  <a:pt x="1" y="1856"/>
                </a:lnTo>
              </a:path>
            </a:pathLst>
          </a:custGeom>
          <a:solidFill>
            <a:srgbClr val="BCB0B1"/>
          </a:solidFill>
          <a:ln w="19050" cap="flat" cmpd="sng">
            <a:solidFill>
              <a:schemeClr val="lt1"/>
            </a:solidFill>
            <a:prstDash val="solid"/>
            <a:miter lim="8921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72" name="Google Shape;772;p72"/>
          <p:cNvSpPr/>
          <p:nvPr/>
        </p:nvSpPr>
        <p:spPr>
          <a:xfrm>
            <a:off x="6407236" y="4465716"/>
            <a:ext cx="1061609" cy="107809"/>
          </a:xfrm>
          <a:custGeom>
            <a:avLst/>
            <a:gdLst/>
            <a:ahLst/>
            <a:cxnLst/>
            <a:rect l="l" t="t" r="r" b="b"/>
            <a:pathLst>
              <a:path w="24864" h="2525" fill="none" extrusionOk="0">
                <a:moveTo>
                  <a:pt x="24863" y="2525"/>
                </a:moveTo>
                <a:lnTo>
                  <a:pt x="14684" y="2525"/>
                </a:lnTo>
                <a:lnTo>
                  <a:pt x="12454" y="0"/>
                </a:lnTo>
                <a:lnTo>
                  <a:pt x="10179" y="2525"/>
                </a:lnTo>
                <a:lnTo>
                  <a:pt x="0" y="2525"/>
                </a:lnTo>
              </a:path>
            </a:pathLst>
          </a:custGeom>
          <a:solidFill>
            <a:srgbClr val="BCB0B1"/>
          </a:solidFill>
          <a:ln w="19050" cap="flat" cmpd="sng">
            <a:solidFill>
              <a:schemeClr val="lt1"/>
            </a:solidFill>
            <a:prstDash val="solid"/>
            <a:miter lim="8921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73" name="Google Shape;773;p72"/>
          <p:cNvSpPr txBox="1"/>
          <p:nvPr/>
        </p:nvSpPr>
        <p:spPr>
          <a:xfrm>
            <a:off x="5075487" y="1507400"/>
            <a:ext cx="1974007" cy="60800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2133"/>
              </a:spcAft>
            </a:pPr>
            <a:r>
              <a:rPr lang="en" sz="1600" dirty="0">
                <a:solidFill>
                  <a:schemeClr val="tx1"/>
                </a:solidFill>
                <a:latin typeface="Josefin Slab"/>
                <a:ea typeface="Josefin Slab"/>
                <a:cs typeface="Josefin Slab"/>
                <a:sym typeface="Josefin Slab"/>
              </a:rPr>
              <a:t>Keeping the other parameters constant</a:t>
            </a:r>
            <a:endParaRPr sz="1600" dirty="0">
              <a:solidFill>
                <a:schemeClr val="tx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774" name="Google Shape;774;p72"/>
          <p:cNvSpPr txBox="1">
            <a:spLocks noGrp="1"/>
          </p:cNvSpPr>
          <p:nvPr>
            <p:ph type="ctrTitle" idx="4294967295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>
                <a:solidFill>
                  <a:srgbClr val="000000"/>
                </a:solidFill>
                <a:latin typeface="Arial" panose="020B0604020202020204" pitchFamily="34" charset="0"/>
              </a:rPr>
              <a:t>Analysis</a:t>
            </a:r>
            <a:endParaRPr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775" name="Google Shape;775;p72"/>
          <p:cNvGrpSpPr/>
          <p:nvPr/>
        </p:nvGrpSpPr>
        <p:grpSpPr>
          <a:xfrm>
            <a:off x="131" y="1292729"/>
            <a:ext cx="12210175" cy="4272571"/>
            <a:chOff x="98" y="969547"/>
            <a:chExt cx="9157631" cy="3204428"/>
          </a:xfrm>
          <a:solidFill>
            <a:schemeClr val="bg2">
              <a:lumMod val="75000"/>
            </a:schemeClr>
          </a:solidFill>
        </p:grpSpPr>
        <p:sp>
          <p:nvSpPr>
            <p:cNvPr id="776" name="Google Shape;776;p72"/>
            <p:cNvSpPr/>
            <p:nvPr/>
          </p:nvSpPr>
          <p:spPr>
            <a:xfrm>
              <a:off x="13832" y="969547"/>
              <a:ext cx="9143897" cy="3182972"/>
            </a:xfrm>
            <a:custGeom>
              <a:avLst/>
              <a:gdLst/>
              <a:ahLst/>
              <a:cxnLst/>
              <a:rect l="l" t="t" r="r" b="b"/>
              <a:pathLst>
                <a:path w="285546" h="99398" extrusionOk="0">
                  <a:moveTo>
                    <a:pt x="178751" y="0"/>
                  </a:moveTo>
                  <a:cubicBezTo>
                    <a:pt x="171953" y="0"/>
                    <a:pt x="166449" y="5540"/>
                    <a:pt x="166449" y="12302"/>
                  </a:cubicBezTo>
                  <a:lnTo>
                    <a:pt x="166449" y="58691"/>
                  </a:lnTo>
                  <a:cubicBezTo>
                    <a:pt x="166449" y="61930"/>
                    <a:pt x="163809" y="64570"/>
                    <a:pt x="160579" y="64570"/>
                  </a:cubicBezTo>
                  <a:lnTo>
                    <a:pt x="160320" y="64570"/>
                  </a:lnTo>
                  <a:cubicBezTo>
                    <a:pt x="157082" y="64570"/>
                    <a:pt x="154486" y="61930"/>
                    <a:pt x="154486" y="58691"/>
                  </a:cubicBezTo>
                  <a:lnTo>
                    <a:pt x="154486" y="36094"/>
                  </a:lnTo>
                  <a:cubicBezTo>
                    <a:pt x="154486" y="29288"/>
                    <a:pt x="148946" y="23757"/>
                    <a:pt x="142139" y="23757"/>
                  </a:cubicBezTo>
                  <a:lnTo>
                    <a:pt x="141916" y="23757"/>
                  </a:lnTo>
                  <a:cubicBezTo>
                    <a:pt x="135118" y="23757"/>
                    <a:pt x="129579" y="29288"/>
                    <a:pt x="129579" y="36094"/>
                  </a:cubicBezTo>
                  <a:lnTo>
                    <a:pt x="129579" y="68058"/>
                  </a:lnTo>
                  <a:cubicBezTo>
                    <a:pt x="129579" y="71297"/>
                    <a:pt x="126938" y="73937"/>
                    <a:pt x="123708" y="73937"/>
                  </a:cubicBezTo>
                  <a:lnTo>
                    <a:pt x="123218" y="73937"/>
                  </a:lnTo>
                  <a:cubicBezTo>
                    <a:pt x="119988" y="73937"/>
                    <a:pt x="117383" y="71297"/>
                    <a:pt x="117383" y="68058"/>
                  </a:cubicBezTo>
                  <a:lnTo>
                    <a:pt x="117383" y="57130"/>
                  </a:lnTo>
                  <a:cubicBezTo>
                    <a:pt x="117383" y="50332"/>
                    <a:pt x="111843" y="44828"/>
                    <a:pt x="105046" y="44828"/>
                  </a:cubicBezTo>
                  <a:cubicBezTo>
                    <a:pt x="98239" y="44828"/>
                    <a:pt x="92744" y="50332"/>
                    <a:pt x="92744" y="57130"/>
                  </a:cubicBezTo>
                  <a:lnTo>
                    <a:pt x="92744" y="90102"/>
                  </a:lnTo>
                  <a:cubicBezTo>
                    <a:pt x="92744" y="91663"/>
                    <a:pt x="91441" y="92930"/>
                    <a:pt x="89880" y="92930"/>
                  </a:cubicBezTo>
                  <a:lnTo>
                    <a:pt x="0" y="92966"/>
                  </a:lnTo>
                  <a:lnTo>
                    <a:pt x="0" y="99398"/>
                  </a:lnTo>
                  <a:lnTo>
                    <a:pt x="89880" y="99398"/>
                  </a:lnTo>
                  <a:cubicBezTo>
                    <a:pt x="95009" y="99398"/>
                    <a:pt x="99176" y="95232"/>
                    <a:pt x="99176" y="90102"/>
                  </a:cubicBezTo>
                  <a:lnTo>
                    <a:pt x="99176" y="57130"/>
                  </a:lnTo>
                  <a:cubicBezTo>
                    <a:pt x="99176" y="53901"/>
                    <a:pt x="101807" y="51260"/>
                    <a:pt x="105046" y="51260"/>
                  </a:cubicBezTo>
                  <a:cubicBezTo>
                    <a:pt x="108275" y="51260"/>
                    <a:pt x="110916" y="53901"/>
                    <a:pt x="110916" y="57130"/>
                  </a:cubicBezTo>
                  <a:lnTo>
                    <a:pt x="110916" y="68058"/>
                  </a:lnTo>
                  <a:cubicBezTo>
                    <a:pt x="110916" y="74865"/>
                    <a:pt x="116456" y="80405"/>
                    <a:pt x="123218" y="80405"/>
                  </a:cubicBezTo>
                  <a:lnTo>
                    <a:pt x="123708" y="80405"/>
                  </a:lnTo>
                  <a:cubicBezTo>
                    <a:pt x="130506" y="80405"/>
                    <a:pt x="136046" y="74865"/>
                    <a:pt x="136046" y="68058"/>
                  </a:cubicBezTo>
                  <a:lnTo>
                    <a:pt x="136046" y="36094"/>
                  </a:lnTo>
                  <a:cubicBezTo>
                    <a:pt x="136046" y="32856"/>
                    <a:pt x="138687" y="30224"/>
                    <a:pt x="141916" y="30224"/>
                  </a:cubicBezTo>
                  <a:lnTo>
                    <a:pt x="142139" y="30224"/>
                  </a:lnTo>
                  <a:cubicBezTo>
                    <a:pt x="145378" y="30224"/>
                    <a:pt x="148018" y="32856"/>
                    <a:pt x="148018" y="36094"/>
                  </a:cubicBezTo>
                  <a:lnTo>
                    <a:pt x="148018" y="58691"/>
                  </a:lnTo>
                  <a:cubicBezTo>
                    <a:pt x="148018" y="65498"/>
                    <a:pt x="153549" y="71038"/>
                    <a:pt x="160320" y="71038"/>
                  </a:cubicBezTo>
                  <a:lnTo>
                    <a:pt x="160579" y="71038"/>
                  </a:lnTo>
                  <a:cubicBezTo>
                    <a:pt x="167377" y="71038"/>
                    <a:pt x="172881" y="65498"/>
                    <a:pt x="172881" y="58691"/>
                  </a:cubicBezTo>
                  <a:lnTo>
                    <a:pt x="172881" y="12302"/>
                  </a:lnTo>
                  <a:cubicBezTo>
                    <a:pt x="172881" y="9073"/>
                    <a:pt x="175522" y="6468"/>
                    <a:pt x="178751" y="6468"/>
                  </a:cubicBezTo>
                  <a:lnTo>
                    <a:pt x="179019" y="6468"/>
                  </a:lnTo>
                  <a:cubicBezTo>
                    <a:pt x="182248" y="6468"/>
                    <a:pt x="184889" y="9073"/>
                    <a:pt x="184889" y="12302"/>
                  </a:cubicBezTo>
                  <a:lnTo>
                    <a:pt x="184889" y="33490"/>
                  </a:lnTo>
                  <a:cubicBezTo>
                    <a:pt x="184889" y="38699"/>
                    <a:pt x="189091" y="42892"/>
                    <a:pt x="194292" y="42892"/>
                  </a:cubicBezTo>
                  <a:lnTo>
                    <a:pt x="285545" y="42892"/>
                  </a:lnTo>
                  <a:lnTo>
                    <a:pt x="285545" y="36505"/>
                  </a:lnTo>
                  <a:lnTo>
                    <a:pt x="194292" y="36469"/>
                  </a:lnTo>
                  <a:cubicBezTo>
                    <a:pt x="192659" y="36469"/>
                    <a:pt x="191321" y="35131"/>
                    <a:pt x="191321" y="33490"/>
                  </a:cubicBezTo>
                  <a:lnTo>
                    <a:pt x="191321" y="12302"/>
                  </a:lnTo>
                  <a:cubicBezTo>
                    <a:pt x="191321" y="5540"/>
                    <a:pt x="185781" y="0"/>
                    <a:pt x="179019" y="0"/>
                  </a:cubicBezTo>
                  <a:close/>
                </a:path>
              </a:pathLst>
            </a:cu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77" name="Google Shape;777;p72"/>
            <p:cNvSpPr/>
            <p:nvPr/>
          </p:nvSpPr>
          <p:spPr>
            <a:xfrm>
              <a:off x="98" y="990970"/>
              <a:ext cx="9143897" cy="2975883"/>
            </a:xfrm>
            <a:custGeom>
              <a:avLst/>
              <a:gdLst/>
              <a:ahLst/>
              <a:cxnLst/>
              <a:rect l="l" t="t" r="r" b="b"/>
              <a:pathLst>
                <a:path w="285546" h="92931" fill="none" extrusionOk="0">
                  <a:moveTo>
                    <a:pt x="285545" y="36469"/>
                  </a:moveTo>
                  <a:lnTo>
                    <a:pt x="195630" y="36469"/>
                  </a:lnTo>
                  <a:cubicBezTo>
                    <a:pt x="193997" y="36469"/>
                    <a:pt x="192659" y="35131"/>
                    <a:pt x="192659" y="33490"/>
                  </a:cubicBezTo>
                  <a:lnTo>
                    <a:pt x="192659" y="12302"/>
                  </a:lnTo>
                  <a:cubicBezTo>
                    <a:pt x="192659" y="5540"/>
                    <a:pt x="187119" y="0"/>
                    <a:pt x="180357" y="0"/>
                  </a:cubicBezTo>
                  <a:lnTo>
                    <a:pt x="180089" y="0"/>
                  </a:lnTo>
                  <a:cubicBezTo>
                    <a:pt x="173292" y="0"/>
                    <a:pt x="167787" y="5540"/>
                    <a:pt x="167787" y="12302"/>
                  </a:cubicBezTo>
                  <a:lnTo>
                    <a:pt x="167787" y="58691"/>
                  </a:lnTo>
                  <a:cubicBezTo>
                    <a:pt x="167787" y="61930"/>
                    <a:pt x="165147" y="64570"/>
                    <a:pt x="161917" y="64570"/>
                  </a:cubicBezTo>
                  <a:lnTo>
                    <a:pt x="161659" y="64570"/>
                  </a:lnTo>
                  <a:cubicBezTo>
                    <a:pt x="158420" y="64570"/>
                    <a:pt x="155824" y="61930"/>
                    <a:pt x="155824" y="58691"/>
                  </a:cubicBezTo>
                  <a:lnTo>
                    <a:pt x="155824" y="36095"/>
                  </a:lnTo>
                  <a:cubicBezTo>
                    <a:pt x="155824" y="29288"/>
                    <a:pt x="150284" y="23757"/>
                    <a:pt x="143477" y="23757"/>
                  </a:cubicBezTo>
                  <a:lnTo>
                    <a:pt x="143254" y="23757"/>
                  </a:lnTo>
                  <a:cubicBezTo>
                    <a:pt x="136457" y="23757"/>
                    <a:pt x="130917" y="29288"/>
                    <a:pt x="130917" y="36095"/>
                  </a:cubicBezTo>
                  <a:lnTo>
                    <a:pt x="130917" y="68059"/>
                  </a:lnTo>
                  <a:cubicBezTo>
                    <a:pt x="130917" y="71297"/>
                    <a:pt x="128276" y="73937"/>
                    <a:pt x="125047" y="73937"/>
                  </a:cubicBezTo>
                  <a:lnTo>
                    <a:pt x="124556" y="73937"/>
                  </a:lnTo>
                  <a:cubicBezTo>
                    <a:pt x="121327" y="73937"/>
                    <a:pt x="118686" y="71297"/>
                    <a:pt x="118686" y="68059"/>
                  </a:cubicBezTo>
                  <a:lnTo>
                    <a:pt x="118686" y="57130"/>
                  </a:lnTo>
                  <a:cubicBezTo>
                    <a:pt x="118686" y="50332"/>
                    <a:pt x="113182" y="44793"/>
                    <a:pt x="106384" y="44793"/>
                  </a:cubicBezTo>
                  <a:cubicBezTo>
                    <a:pt x="99577" y="44793"/>
                    <a:pt x="94082" y="50332"/>
                    <a:pt x="94082" y="57130"/>
                  </a:cubicBezTo>
                  <a:lnTo>
                    <a:pt x="94082" y="90102"/>
                  </a:lnTo>
                  <a:cubicBezTo>
                    <a:pt x="94082" y="91664"/>
                    <a:pt x="92779" y="92930"/>
                    <a:pt x="91218" y="92930"/>
                  </a:cubicBezTo>
                  <a:lnTo>
                    <a:pt x="0" y="92930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78" name="Google Shape;778;p72"/>
            <p:cNvSpPr/>
            <p:nvPr/>
          </p:nvSpPr>
          <p:spPr>
            <a:xfrm>
              <a:off x="98" y="1198059"/>
              <a:ext cx="9143897" cy="2975915"/>
            </a:xfrm>
            <a:custGeom>
              <a:avLst/>
              <a:gdLst/>
              <a:ahLst/>
              <a:cxnLst/>
              <a:rect l="l" t="t" r="r" b="b"/>
              <a:pathLst>
                <a:path w="285546" h="92932" fill="none" extrusionOk="0">
                  <a:moveTo>
                    <a:pt x="285545" y="36425"/>
                  </a:moveTo>
                  <a:lnTo>
                    <a:pt x="195630" y="36425"/>
                  </a:lnTo>
                  <a:cubicBezTo>
                    <a:pt x="190429" y="36425"/>
                    <a:pt x="186191" y="32188"/>
                    <a:pt x="186191" y="27023"/>
                  </a:cubicBezTo>
                  <a:lnTo>
                    <a:pt x="186191" y="5835"/>
                  </a:lnTo>
                  <a:cubicBezTo>
                    <a:pt x="186191" y="2606"/>
                    <a:pt x="183587" y="1"/>
                    <a:pt x="180357" y="1"/>
                  </a:cubicBezTo>
                  <a:lnTo>
                    <a:pt x="180089" y="1"/>
                  </a:lnTo>
                  <a:cubicBezTo>
                    <a:pt x="176860" y="1"/>
                    <a:pt x="174219" y="2606"/>
                    <a:pt x="174219" y="5835"/>
                  </a:cubicBezTo>
                  <a:lnTo>
                    <a:pt x="174219" y="52224"/>
                  </a:lnTo>
                  <a:cubicBezTo>
                    <a:pt x="174219" y="59031"/>
                    <a:pt x="168715" y="64527"/>
                    <a:pt x="161917" y="64527"/>
                  </a:cubicBezTo>
                  <a:lnTo>
                    <a:pt x="161659" y="64527"/>
                  </a:lnTo>
                  <a:cubicBezTo>
                    <a:pt x="154888" y="64527"/>
                    <a:pt x="149356" y="59031"/>
                    <a:pt x="149356" y="52224"/>
                  </a:cubicBezTo>
                  <a:lnTo>
                    <a:pt x="149356" y="29628"/>
                  </a:lnTo>
                  <a:cubicBezTo>
                    <a:pt x="149356" y="26389"/>
                    <a:pt x="146716" y="23757"/>
                    <a:pt x="143477" y="23757"/>
                  </a:cubicBezTo>
                  <a:lnTo>
                    <a:pt x="143254" y="23757"/>
                  </a:lnTo>
                  <a:cubicBezTo>
                    <a:pt x="140025" y="23757"/>
                    <a:pt x="137384" y="26389"/>
                    <a:pt x="137384" y="29628"/>
                  </a:cubicBezTo>
                  <a:lnTo>
                    <a:pt x="137384" y="61592"/>
                  </a:lnTo>
                  <a:cubicBezTo>
                    <a:pt x="137384" y="68398"/>
                    <a:pt x="131844" y="73938"/>
                    <a:pt x="125047" y="73938"/>
                  </a:cubicBezTo>
                  <a:lnTo>
                    <a:pt x="124556" y="73938"/>
                  </a:lnTo>
                  <a:cubicBezTo>
                    <a:pt x="117794" y="73938"/>
                    <a:pt x="112254" y="68398"/>
                    <a:pt x="112254" y="61592"/>
                  </a:cubicBezTo>
                  <a:lnTo>
                    <a:pt x="112254" y="50663"/>
                  </a:lnTo>
                  <a:cubicBezTo>
                    <a:pt x="112254" y="47434"/>
                    <a:pt x="109613" y="44793"/>
                    <a:pt x="106384" y="44793"/>
                  </a:cubicBezTo>
                  <a:cubicBezTo>
                    <a:pt x="103145" y="44793"/>
                    <a:pt x="100514" y="47434"/>
                    <a:pt x="100514" y="50663"/>
                  </a:cubicBezTo>
                  <a:lnTo>
                    <a:pt x="100514" y="83635"/>
                  </a:lnTo>
                  <a:cubicBezTo>
                    <a:pt x="100514" y="88765"/>
                    <a:pt x="96348" y="92931"/>
                    <a:pt x="91218" y="92931"/>
                  </a:cubicBezTo>
                  <a:lnTo>
                    <a:pt x="0" y="92931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779" name="Google Shape;779;p72"/>
            <p:cNvSpPr/>
            <p:nvPr/>
          </p:nvSpPr>
          <p:spPr>
            <a:xfrm>
              <a:off x="9115399" y="2240776"/>
              <a:ext cx="28596" cy="32"/>
            </a:xfrm>
            <a:custGeom>
              <a:avLst/>
              <a:gdLst/>
              <a:ahLst/>
              <a:cxnLst/>
              <a:rect l="l" t="t" r="r" b="b"/>
              <a:pathLst>
                <a:path w="893" h="1" fill="none" extrusionOk="0">
                  <a:moveTo>
                    <a:pt x="0" y="1"/>
                  </a:moveTo>
                  <a:lnTo>
                    <a:pt x="892" y="1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</p:grpSp>
      <p:sp>
        <p:nvSpPr>
          <p:cNvPr id="780" name="Google Shape;780;p72"/>
          <p:cNvSpPr/>
          <p:nvPr/>
        </p:nvSpPr>
        <p:spPr>
          <a:xfrm>
            <a:off x="172381" y="1452896"/>
            <a:ext cx="11955004" cy="3973051"/>
          </a:xfrm>
          <a:custGeom>
            <a:avLst/>
            <a:gdLst/>
            <a:ahLst/>
            <a:cxnLst/>
            <a:rect l="l" t="t" r="r" b="b"/>
            <a:pathLst>
              <a:path w="280086" h="93082" extrusionOk="0">
                <a:moveTo>
                  <a:pt x="176191" y="0"/>
                </a:moveTo>
                <a:lnTo>
                  <a:pt x="176191" y="152"/>
                </a:lnTo>
                <a:lnTo>
                  <a:pt x="176637" y="152"/>
                </a:lnTo>
                <a:cubicBezTo>
                  <a:pt x="177083" y="152"/>
                  <a:pt x="177529" y="187"/>
                  <a:pt x="177975" y="223"/>
                </a:cubicBezTo>
                <a:lnTo>
                  <a:pt x="177975" y="80"/>
                </a:lnTo>
                <a:cubicBezTo>
                  <a:pt x="177529" y="36"/>
                  <a:pt x="177083" y="0"/>
                  <a:pt x="176637" y="0"/>
                </a:cubicBezTo>
                <a:close/>
                <a:moveTo>
                  <a:pt x="174407" y="223"/>
                </a:moveTo>
                <a:cubicBezTo>
                  <a:pt x="173809" y="339"/>
                  <a:pt x="173256" y="526"/>
                  <a:pt x="172694" y="785"/>
                </a:cubicBezTo>
                <a:lnTo>
                  <a:pt x="172775" y="892"/>
                </a:lnTo>
                <a:cubicBezTo>
                  <a:pt x="173292" y="669"/>
                  <a:pt x="173845" y="482"/>
                  <a:pt x="174443" y="375"/>
                </a:cubicBezTo>
                <a:lnTo>
                  <a:pt x="174407" y="223"/>
                </a:lnTo>
                <a:close/>
                <a:moveTo>
                  <a:pt x="179724" y="526"/>
                </a:moveTo>
                <a:lnTo>
                  <a:pt x="179688" y="669"/>
                </a:lnTo>
                <a:cubicBezTo>
                  <a:pt x="180241" y="856"/>
                  <a:pt x="180759" y="1115"/>
                  <a:pt x="181285" y="1418"/>
                </a:cubicBezTo>
                <a:lnTo>
                  <a:pt x="181357" y="1303"/>
                </a:lnTo>
                <a:cubicBezTo>
                  <a:pt x="180839" y="972"/>
                  <a:pt x="180277" y="705"/>
                  <a:pt x="179724" y="526"/>
                </a:cubicBezTo>
                <a:close/>
                <a:moveTo>
                  <a:pt x="171133" y="1677"/>
                </a:moveTo>
                <a:cubicBezTo>
                  <a:pt x="170651" y="2007"/>
                  <a:pt x="170170" y="2382"/>
                  <a:pt x="169759" y="2828"/>
                </a:cubicBezTo>
                <a:lnTo>
                  <a:pt x="169875" y="2935"/>
                </a:lnTo>
                <a:cubicBezTo>
                  <a:pt x="170277" y="2489"/>
                  <a:pt x="170723" y="2123"/>
                  <a:pt x="171213" y="1784"/>
                </a:cubicBezTo>
                <a:lnTo>
                  <a:pt x="171133" y="1677"/>
                </a:lnTo>
                <a:close/>
                <a:moveTo>
                  <a:pt x="182766" y="2382"/>
                </a:moveTo>
                <a:lnTo>
                  <a:pt x="182695" y="2453"/>
                </a:lnTo>
                <a:cubicBezTo>
                  <a:pt x="183141" y="2864"/>
                  <a:pt x="183515" y="3310"/>
                  <a:pt x="183881" y="3791"/>
                </a:cubicBezTo>
                <a:lnTo>
                  <a:pt x="183997" y="3684"/>
                </a:lnTo>
                <a:cubicBezTo>
                  <a:pt x="183623" y="3203"/>
                  <a:pt x="183212" y="2757"/>
                  <a:pt x="182766" y="2382"/>
                </a:cubicBezTo>
                <a:close/>
                <a:moveTo>
                  <a:pt x="168644" y="4238"/>
                </a:moveTo>
                <a:cubicBezTo>
                  <a:pt x="168350" y="4764"/>
                  <a:pt x="168046" y="5281"/>
                  <a:pt x="167868" y="5834"/>
                </a:cubicBezTo>
                <a:lnTo>
                  <a:pt x="167975" y="5915"/>
                </a:lnTo>
                <a:cubicBezTo>
                  <a:pt x="168198" y="5353"/>
                  <a:pt x="168457" y="4835"/>
                  <a:pt x="168796" y="4318"/>
                </a:cubicBezTo>
                <a:lnTo>
                  <a:pt x="168644" y="4238"/>
                </a:lnTo>
                <a:close/>
                <a:moveTo>
                  <a:pt x="184925" y="5246"/>
                </a:moveTo>
                <a:lnTo>
                  <a:pt x="184773" y="5281"/>
                </a:lnTo>
                <a:cubicBezTo>
                  <a:pt x="185041" y="5834"/>
                  <a:pt x="185264" y="6396"/>
                  <a:pt x="185371" y="6950"/>
                </a:cubicBezTo>
                <a:lnTo>
                  <a:pt x="185523" y="6914"/>
                </a:lnTo>
                <a:cubicBezTo>
                  <a:pt x="185371" y="6361"/>
                  <a:pt x="185184" y="5763"/>
                  <a:pt x="184925" y="5246"/>
                </a:cubicBezTo>
                <a:close/>
                <a:moveTo>
                  <a:pt x="167377" y="7583"/>
                </a:moveTo>
                <a:cubicBezTo>
                  <a:pt x="167270" y="8109"/>
                  <a:pt x="167235" y="8627"/>
                  <a:pt x="167235" y="9144"/>
                </a:cubicBezTo>
                <a:lnTo>
                  <a:pt x="167235" y="9367"/>
                </a:lnTo>
                <a:lnTo>
                  <a:pt x="167377" y="9367"/>
                </a:lnTo>
                <a:lnTo>
                  <a:pt x="167377" y="9144"/>
                </a:lnTo>
                <a:cubicBezTo>
                  <a:pt x="167377" y="8627"/>
                  <a:pt x="167422" y="8109"/>
                  <a:pt x="167529" y="7583"/>
                </a:cubicBezTo>
                <a:close/>
                <a:moveTo>
                  <a:pt x="185630" y="8698"/>
                </a:moveTo>
                <a:cubicBezTo>
                  <a:pt x="185665" y="8850"/>
                  <a:pt x="185665" y="9001"/>
                  <a:pt x="185665" y="9144"/>
                </a:cubicBezTo>
                <a:lnTo>
                  <a:pt x="185665" y="10482"/>
                </a:lnTo>
                <a:lnTo>
                  <a:pt x="185817" y="10482"/>
                </a:lnTo>
                <a:lnTo>
                  <a:pt x="185817" y="9144"/>
                </a:lnTo>
                <a:cubicBezTo>
                  <a:pt x="185817" y="9001"/>
                  <a:pt x="185817" y="8850"/>
                  <a:pt x="185781" y="8698"/>
                </a:cubicBezTo>
                <a:close/>
                <a:moveTo>
                  <a:pt x="167235" y="11151"/>
                </a:moveTo>
                <a:lnTo>
                  <a:pt x="167235" y="12936"/>
                </a:lnTo>
                <a:lnTo>
                  <a:pt x="167377" y="12936"/>
                </a:lnTo>
                <a:lnTo>
                  <a:pt x="167377" y="11151"/>
                </a:lnTo>
                <a:close/>
                <a:moveTo>
                  <a:pt x="185665" y="12266"/>
                </a:moveTo>
                <a:lnTo>
                  <a:pt x="185665" y="14051"/>
                </a:lnTo>
                <a:lnTo>
                  <a:pt x="185817" y="14051"/>
                </a:lnTo>
                <a:lnTo>
                  <a:pt x="185817" y="12266"/>
                </a:lnTo>
                <a:close/>
                <a:moveTo>
                  <a:pt x="167235" y="14720"/>
                </a:moveTo>
                <a:lnTo>
                  <a:pt x="167235" y="16504"/>
                </a:lnTo>
                <a:lnTo>
                  <a:pt x="167377" y="16504"/>
                </a:lnTo>
                <a:lnTo>
                  <a:pt x="167377" y="14720"/>
                </a:lnTo>
                <a:close/>
                <a:moveTo>
                  <a:pt x="185665" y="15835"/>
                </a:moveTo>
                <a:lnTo>
                  <a:pt x="185665" y="17619"/>
                </a:lnTo>
                <a:lnTo>
                  <a:pt x="185817" y="17619"/>
                </a:lnTo>
                <a:lnTo>
                  <a:pt x="185817" y="15835"/>
                </a:lnTo>
                <a:close/>
                <a:moveTo>
                  <a:pt x="167235" y="18288"/>
                </a:moveTo>
                <a:lnTo>
                  <a:pt x="167235" y="20072"/>
                </a:lnTo>
                <a:lnTo>
                  <a:pt x="167377" y="20072"/>
                </a:lnTo>
                <a:lnTo>
                  <a:pt x="167377" y="18288"/>
                </a:lnTo>
                <a:close/>
                <a:moveTo>
                  <a:pt x="185665" y="19403"/>
                </a:moveTo>
                <a:lnTo>
                  <a:pt x="185665" y="21187"/>
                </a:lnTo>
                <a:lnTo>
                  <a:pt x="185817" y="21187"/>
                </a:lnTo>
                <a:lnTo>
                  <a:pt x="185817" y="19403"/>
                </a:lnTo>
                <a:close/>
                <a:moveTo>
                  <a:pt x="167235" y="21857"/>
                </a:moveTo>
                <a:lnTo>
                  <a:pt x="167235" y="23641"/>
                </a:lnTo>
                <a:lnTo>
                  <a:pt x="167377" y="23641"/>
                </a:lnTo>
                <a:lnTo>
                  <a:pt x="167377" y="21857"/>
                </a:lnTo>
                <a:close/>
                <a:moveTo>
                  <a:pt x="139205" y="23757"/>
                </a:moveTo>
                <a:cubicBezTo>
                  <a:pt x="138607" y="23792"/>
                  <a:pt x="138018" y="23864"/>
                  <a:pt x="137456" y="24015"/>
                </a:cubicBezTo>
                <a:lnTo>
                  <a:pt x="137456" y="24167"/>
                </a:lnTo>
                <a:cubicBezTo>
                  <a:pt x="138054" y="24015"/>
                  <a:pt x="138652" y="23944"/>
                  <a:pt x="139240" y="23899"/>
                </a:cubicBezTo>
                <a:lnTo>
                  <a:pt x="139205" y="23757"/>
                </a:lnTo>
                <a:close/>
                <a:moveTo>
                  <a:pt x="141025" y="23828"/>
                </a:moveTo>
                <a:lnTo>
                  <a:pt x="140989" y="23980"/>
                </a:lnTo>
                <a:cubicBezTo>
                  <a:pt x="141587" y="24087"/>
                  <a:pt x="142140" y="24203"/>
                  <a:pt x="142702" y="24390"/>
                </a:cubicBezTo>
                <a:lnTo>
                  <a:pt x="142773" y="24274"/>
                </a:lnTo>
                <a:cubicBezTo>
                  <a:pt x="142220" y="24051"/>
                  <a:pt x="141622" y="23944"/>
                  <a:pt x="141025" y="23828"/>
                </a:cubicBezTo>
                <a:close/>
                <a:moveTo>
                  <a:pt x="185665" y="22972"/>
                </a:moveTo>
                <a:lnTo>
                  <a:pt x="185665" y="24756"/>
                </a:lnTo>
                <a:lnTo>
                  <a:pt x="185817" y="24756"/>
                </a:lnTo>
                <a:lnTo>
                  <a:pt x="185817" y="22972"/>
                </a:lnTo>
                <a:close/>
                <a:moveTo>
                  <a:pt x="135752" y="24569"/>
                </a:moveTo>
                <a:cubicBezTo>
                  <a:pt x="135190" y="24836"/>
                  <a:pt x="134673" y="25131"/>
                  <a:pt x="134191" y="25505"/>
                </a:cubicBezTo>
                <a:lnTo>
                  <a:pt x="134262" y="25612"/>
                </a:lnTo>
                <a:cubicBezTo>
                  <a:pt x="134744" y="25282"/>
                  <a:pt x="135262" y="24979"/>
                  <a:pt x="135788" y="24720"/>
                </a:cubicBezTo>
                <a:lnTo>
                  <a:pt x="135752" y="24569"/>
                </a:lnTo>
                <a:close/>
                <a:moveTo>
                  <a:pt x="144406" y="25015"/>
                </a:moveTo>
                <a:lnTo>
                  <a:pt x="144334" y="25131"/>
                </a:lnTo>
                <a:cubicBezTo>
                  <a:pt x="144816" y="25425"/>
                  <a:pt x="145298" y="25800"/>
                  <a:pt x="145744" y="26174"/>
                </a:cubicBezTo>
                <a:lnTo>
                  <a:pt x="145860" y="26058"/>
                </a:lnTo>
                <a:cubicBezTo>
                  <a:pt x="145414" y="25648"/>
                  <a:pt x="144932" y="25318"/>
                  <a:pt x="144406" y="25015"/>
                </a:cubicBezTo>
                <a:close/>
                <a:moveTo>
                  <a:pt x="167235" y="25425"/>
                </a:moveTo>
                <a:lnTo>
                  <a:pt x="167235" y="27209"/>
                </a:lnTo>
                <a:lnTo>
                  <a:pt x="167377" y="27209"/>
                </a:lnTo>
                <a:lnTo>
                  <a:pt x="167377" y="25425"/>
                </a:lnTo>
                <a:close/>
                <a:moveTo>
                  <a:pt x="132853" y="26656"/>
                </a:moveTo>
                <a:cubicBezTo>
                  <a:pt x="132442" y="27102"/>
                  <a:pt x="132068" y="27584"/>
                  <a:pt x="131738" y="28101"/>
                </a:cubicBezTo>
                <a:lnTo>
                  <a:pt x="131880" y="28182"/>
                </a:lnTo>
                <a:cubicBezTo>
                  <a:pt x="132184" y="27691"/>
                  <a:pt x="132550" y="27209"/>
                  <a:pt x="132960" y="26763"/>
                </a:cubicBezTo>
                <a:lnTo>
                  <a:pt x="132853" y="26656"/>
                </a:lnTo>
                <a:close/>
                <a:moveTo>
                  <a:pt x="185665" y="26540"/>
                </a:moveTo>
                <a:lnTo>
                  <a:pt x="185665" y="28324"/>
                </a:lnTo>
                <a:lnTo>
                  <a:pt x="185817" y="28324"/>
                </a:lnTo>
                <a:lnTo>
                  <a:pt x="185817" y="26540"/>
                </a:lnTo>
                <a:close/>
                <a:moveTo>
                  <a:pt x="147082" y="27361"/>
                </a:moveTo>
                <a:lnTo>
                  <a:pt x="146975" y="27468"/>
                </a:lnTo>
                <a:cubicBezTo>
                  <a:pt x="147305" y="27914"/>
                  <a:pt x="147644" y="28440"/>
                  <a:pt x="147903" y="28958"/>
                </a:cubicBezTo>
                <a:lnTo>
                  <a:pt x="148019" y="28922"/>
                </a:lnTo>
                <a:cubicBezTo>
                  <a:pt x="147751" y="28360"/>
                  <a:pt x="147457" y="27843"/>
                  <a:pt x="147082" y="27361"/>
                </a:cubicBezTo>
                <a:close/>
                <a:moveTo>
                  <a:pt x="167235" y="28993"/>
                </a:moveTo>
                <a:lnTo>
                  <a:pt x="167235" y="30778"/>
                </a:lnTo>
                <a:lnTo>
                  <a:pt x="167377" y="30778"/>
                </a:lnTo>
                <a:lnTo>
                  <a:pt x="167377" y="28993"/>
                </a:lnTo>
                <a:close/>
                <a:moveTo>
                  <a:pt x="130953" y="29698"/>
                </a:moveTo>
                <a:cubicBezTo>
                  <a:pt x="130730" y="30260"/>
                  <a:pt x="130578" y="30858"/>
                  <a:pt x="130507" y="31447"/>
                </a:cubicBezTo>
                <a:lnTo>
                  <a:pt x="130658" y="31482"/>
                </a:lnTo>
                <a:cubicBezTo>
                  <a:pt x="130730" y="30894"/>
                  <a:pt x="130881" y="30296"/>
                  <a:pt x="131104" y="29778"/>
                </a:cubicBezTo>
                <a:lnTo>
                  <a:pt x="130953" y="29698"/>
                </a:lnTo>
                <a:close/>
                <a:moveTo>
                  <a:pt x="185665" y="30108"/>
                </a:moveTo>
                <a:lnTo>
                  <a:pt x="185665" y="30332"/>
                </a:lnTo>
                <a:cubicBezTo>
                  <a:pt x="185665" y="30858"/>
                  <a:pt x="185710" y="31375"/>
                  <a:pt x="185853" y="31893"/>
                </a:cubicBezTo>
                <a:lnTo>
                  <a:pt x="186004" y="31857"/>
                </a:lnTo>
                <a:cubicBezTo>
                  <a:pt x="185853" y="31375"/>
                  <a:pt x="185817" y="30858"/>
                  <a:pt x="185817" y="30332"/>
                </a:cubicBezTo>
                <a:lnTo>
                  <a:pt x="185817" y="30108"/>
                </a:lnTo>
                <a:close/>
                <a:moveTo>
                  <a:pt x="148643" y="30590"/>
                </a:moveTo>
                <a:lnTo>
                  <a:pt x="148500" y="30635"/>
                </a:lnTo>
                <a:cubicBezTo>
                  <a:pt x="148643" y="31188"/>
                  <a:pt x="148759" y="31786"/>
                  <a:pt x="148795" y="32374"/>
                </a:cubicBezTo>
                <a:lnTo>
                  <a:pt x="148946" y="32339"/>
                </a:lnTo>
                <a:cubicBezTo>
                  <a:pt x="148911" y="31750"/>
                  <a:pt x="148795" y="31152"/>
                  <a:pt x="148643" y="30590"/>
                </a:cubicBezTo>
                <a:close/>
                <a:moveTo>
                  <a:pt x="167235" y="32562"/>
                </a:moveTo>
                <a:lnTo>
                  <a:pt x="167235" y="34346"/>
                </a:lnTo>
                <a:lnTo>
                  <a:pt x="167377" y="34346"/>
                </a:lnTo>
                <a:lnTo>
                  <a:pt x="167377" y="32562"/>
                </a:lnTo>
                <a:close/>
                <a:moveTo>
                  <a:pt x="186638" y="33490"/>
                </a:moveTo>
                <a:lnTo>
                  <a:pt x="186522" y="33570"/>
                </a:lnTo>
                <a:cubicBezTo>
                  <a:pt x="186825" y="34087"/>
                  <a:pt x="187191" y="34569"/>
                  <a:pt x="187637" y="34979"/>
                </a:cubicBezTo>
                <a:lnTo>
                  <a:pt x="187753" y="34872"/>
                </a:lnTo>
                <a:cubicBezTo>
                  <a:pt x="187307" y="34498"/>
                  <a:pt x="186932" y="34016"/>
                  <a:pt x="186638" y="33490"/>
                </a:cubicBezTo>
                <a:close/>
                <a:moveTo>
                  <a:pt x="130355" y="33231"/>
                </a:moveTo>
                <a:lnTo>
                  <a:pt x="130355" y="35015"/>
                </a:lnTo>
                <a:lnTo>
                  <a:pt x="130507" y="35015"/>
                </a:lnTo>
                <a:lnTo>
                  <a:pt x="130507" y="33231"/>
                </a:lnTo>
                <a:close/>
                <a:moveTo>
                  <a:pt x="148795" y="34159"/>
                </a:moveTo>
                <a:lnTo>
                  <a:pt x="148795" y="35943"/>
                </a:lnTo>
                <a:lnTo>
                  <a:pt x="148946" y="35943"/>
                </a:lnTo>
                <a:lnTo>
                  <a:pt x="148946" y="34159"/>
                </a:lnTo>
                <a:close/>
                <a:moveTo>
                  <a:pt x="189198" y="35871"/>
                </a:moveTo>
                <a:lnTo>
                  <a:pt x="189127" y="36023"/>
                </a:lnTo>
                <a:cubicBezTo>
                  <a:pt x="189644" y="36282"/>
                  <a:pt x="190242" y="36433"/>
                  <a:pt x="190840" y="36541"/>
                </a:cubicBezTo>
                <a:lnTo>
                  <a:pt x="190875" y="36389"/>
                </a:lnTo>
                <a:cubicBezTo>
                  <a:pt x="190278" y="36318"/>
                  <a:pt x="189725" y="36130"/>
                  <a:pt x="189198" y="35871"/>
                </a:cubicBezTo>
                <a:close/>
                <a:moveTo>
                  <a:pt x="192624" y="36469"/>
                </a:moveTo>
                <a:lnTo>
                  <a:pt x="192624" y="36612"/>
                </a:lnTo>
                <a:lnTo>
                  <a:pt x="194408" y="36612"/>
                </a:lnTo>
                <a:lnTo>
                  <a:pt x="194408" y="36469"/>
                </a:lnTo>
                <a:close/>
                <a:moveTo>
                  <a:pt x="196192" y="36469"/>
                </a:moveTo>
                <a:lnTo>
                  <a:pt x="196192" y="36612"/>
                </a:lnTo>
                <a:lnTo>
                  <a:pt x="197976" y="36612"/>
                </a:lnTo>
                <a:lnTo>
                  <a:pt x="197976" y="36469"/>
                </a:lnTo>
                <a:close/>
                <a:moveTo>
                  <a:pt x="199761" y="36469"/>
                </a:moveTo>
                <a:lnTo>
                  <a:pt x="199761" y="36612"/>
                </a:lnTo>
                <a:lnTo>
                  <a:pt x="201545" y="36612"/>
                </a:lnTo>
                <a:lnTo>
                  <a:pt x="201545" y="36469"/>
                </a:lnTo>
                <a:close/>
                <a:moveTo>
                  <a:pt x="203329" y="36469"/>
                </a:moveTo>
                <a:lnTo>
                  <a:pt x="203329" y="36612"/>
                </a:lnTo>
                <a:lnTo>
                  <a:pt x="205113" y="36612"/>
                </a:lnTo>
                <a:lnTo>
                  <a:pt x="205113" y="36469"/>
                </a:lnTo>
                <a:close/>
                <a:moveTo>
                  <a:pt x="206898" y="36469"/>
                </a:moveTo>
                <a:lnTo>
                  <a:pt x="206898" y="36612"/>
                </a:lnTo>
                <a:lnTo>
                  <a:pt x="208682" y="36612"/>
                </a:lnTo>
                <a:lnTo>
                  <a:pt x="208682" y="36469"/>
                </a:lnTo>
                <a:close/>
                <a:moveTo>
                  <a:pt x="210466" y="36469"/>
                </a:moveTo>
                <a:lnTo>
                  <a:pt x="210466" y="36612"/>
                </a:lnTo>
                <a:lnTo>
                  <a:pt x="212286" y="36612"/>
                </a:lnTo>
                <a:lnTo>
                  <a:pt x="212286" y="36469"/>
                </a:lnTo>
                <a:close/>
                <a:moveTo>
                  <a:pt x="214070" y="36469"/>
                </a:moveTo>
                <a:lnTo>
                  <a:pt x="214070" y="36612"/>
                </a:lnTo>
                <a:lnTo>
                  <a:pt x="215854" y="36612"/>
                </a:lnTo>
                <a:lnTo>
                  <a:pt x="215854" y="36469"/>
                </a:lnTo>
                <a:close/>
                <a:moveTo>
                  <a:pt x="217638" y="36469"/>
                </a:moveTo>
                <a:lnTo>
                  <a:pt x="217638" y="36612"/>
                </a:lnTo>
                <a:lnTo>
                  <a:pt x="219423" y="36612"/>
                </a:lnTo>
                <a:lnTo>
                  <a:pt x="219423" y="36469"/>
                </a:lnTo>
                <a:close/>
                <a:moveTo>
                  <a:pt x="221207" y="36469"/>
                </a:moveTo>
                <a:lnTo>
                  <a:pt x="221207" y="36612"/>
                </a:lnTo>
                <a:lnTo>
                  <a:pt x="222991" y="36612"/>
                </a:lnTo>
                <a:lnTo>
                  <a:pt x="222991" y="36469"/>
                </a:lnTo>
                <a:close/>
                <a:moveTo>
                  <a:pt x="224775" y="36469"/>
                </a:moveTo>
                <a:lnTo>
                  <a:pt x="224775" y="36612"/>
                </a:lnTo>
                <a:lnTo>
                  <a:pt x="226560" y="36612"/>
                </a:lnTo>
                <a:lnTo>
                  <a:pt x="226560" y="36469"/>
                </a:lnTo>
                <a:close/>
                <a:moveTo>
                  <a:pt x="228344" y="36469"/>
                </a:moveTo>
                <a:lnTo>
                  <a:pt x="228344" y="36612"/>
                </a:lnTo>
                <a:lnTo>
                  <a:pt x="230128" y="36612"/>
                </a:lnTo>
                <a:lnTo>
                  <a:pt x="230128" y="36469"/>
                </a:lnTo>
                <a:close/>
                <a:moveTo>
                  <a:pt x="231912" y="36469"/>
                </a:moveTo>
                <a:lnTo>
                  <a:pt x="231912" y="36612"/>
                </a:lnTo>
                <a:lnTo>
                  <a:pt x="233696" y="36612"/>
                </a:lnTo>
                <a:lnTo>
                  <a:pt x="233696" y="36469"/>
                </a:lnTo>
                <a:close/>
                <a:moveTo>
                  <a:pt x="235481" y="36469"/>
                </a:moveTo>
                <a:lnTo>
                  <a:pt x="235481" y="36612"/>
                </a:lnTo>
                <a:lnTo>
                  <a:pt x="237265" y="36612"/>
                </a:lnTo>
                <a:lnTo>
                  <a:pt x="237265" y="36469"/>
                </a:lnTo>
                <a:close/>
                <a:moveTo>
                  <a:pt x="239049" y="36469"/>
                </a:moveTo>
                <a:lnTo>
                  <a:pt x="239049" y="36612"/>
                </a:lnTo>
                <a:lnTo>
                  <a:pt x="240833" y="36612"/>
                </a:lnTo>
                <a:lnTo>
                  <a:pt x="240833" y="36469"/>
                </a:lnTo>
                <a:close/>
                <a:moveTo>
                  <a:pt x="242617" y="36469"/>
                </a:moveTo>
                <a:lnTo>
                  <a:pt x="242617" y="36612"/>
                </a:lnTo>
                <a:lnTo>
                  <a:pt x="244402" y="36612"/>
                </a:lnTo>
                <a:lnTo>
                  <a:pt x="244402" y="36469"/>
                </a:lnTo>
                <a:close/>
                <a:moveTo>
                  <a:pt x="246186" y="36469"/>
                </a:moveTo>
                <a:lnTo>
                  <a:pt x="246186" y="36612"/>
                </a:lnTo>
                <a:lnTo>
                  <a:pt x="247970" y="36612"/>
                </a:lnTo>
                <a:lnTo>
                  <a:pt x="247970" y="36469"/>
                </a:lnTo>
                <a:close/>
                <a:moveTo>
                  <a:pt x="249754" y="36469"/>
                </a:moveTo>
                <a:lnTo>
                  <a:pt x="249754" y="36612"/>
                </a:lnTo>
                <a:lnTo>
                  <a:pt x="251538" y="36612"/>
                </a:lnTo>
                <a:lnTo>
                  <a:pt x="251538" y="36469"/>
                </a:lnTo>
                <a:close/>
                <a:moveTo>
                  <a:pt x="253323" y="36469"/>
                </a:moveTo>
                <a:lnTo>
                  <a:pt x="253323" y="36612"/>
                </a:lnTo>
                <a:lnTo>
                  <a:pt x="255107" y="36612"/>
                </a:lnTo>
                <a:lnTo>
                  <a:pt x="255107" y="36469"/>
                </a:lnTo>
                <a:close/>
                <a:moveTo>
                  <a:pt x="256891" y="36469"/>
                </a:moveTo>
                <a:lnTo>
                  <a:pt x="256891" y="36612"/>
                </a:lnTo>
                <a:lnTo>
                  <a:pt x="258675" y="36612"/>
                </a:lnTo>
                <a:lnTo>
                  <a:pt x="258675" y="36469"/>
                </a:lnTo>
                <a:close/>
                <a:moveTo>
                  <a:pt x="260459" y="36469"/>
                </a:moveTo>
                <a:lnTo>
                  <a:pt x="260459" y="36612"/>
                </a:lnTo>
                <a:lnTo>
                  <a:pt x="262244" y="36612"/>
                </a:lnTo>
                <a:lnTo>
                  <a:pt x="262244" y="36469"/>
                </a:lnTo>
                <a:close/>
                <a:moveTo>
                  <a:pt x="264028" y="36469"/>
                </a:moveTo>
                <a:lnTo>
                  <a:pt x="264028" y="36612"/>
                </a:lnTo>
                <a:lnTo>
                  <a:pt x="265812" y="36612"/>
                </a:lnTo>
                <a:lnTo>
                  <a:pt x="265812" y="36469"/>
                </a:lnTo>
                <a:close/>
                <a:moveTo>
                  <a:pt x="267596" y="36469"/>
                </a:moveTo>
                <a:lnTo>
                  <a:pt x="267596" y="36612"/>
                </a:lnTo>
                <a:lnTo>
                  <a:pt x="269381" y="36612"/>
                </a:lnTo>
                <a:lnTo>
                  <a:pt x="269381" y="36469"/>
                </a:lnTo>
                <a:close/>
                <a:moveTo>
                  <a:pt x="271165" y="36469"/>
                </a:moveTo>
                <a:lnTo>
                  <a:pt x="271165" y="36612"/>
                </a:lnTo>
                <a:lnTo>
                  <a:pt x="272949" y="36612"/>
                </a:lnTo>
                <a:lnTo>
                  <a:pt x="272949" y="36469"/>
                </a:lnTo>
                <a:close/>
                <a:moveTo>
                  <a:pt x="274733" y="36469"/>
                </a:moveTo>
                <a:lnTo>
                  <a:pt x="274733" y="36612"/>
                </a:lnTo>
                <a:lnTo>
                  <a:pt x="276517" y="36612"/>
                </a:lnTo>
                <a:lnTo>
                  <a:pt x="276517" y="36469"/>
                </a:lnTo>
                <a:close/>
                <a:moveTo>
                  <a:pt x="278302" y="36469"/>
                </a:moveTo>
                <a:lnTo>
                  <a:pt x="278302" y="36612"/>
                </a:lnTo>
                <a:lnTo>
                  <a:pt x="280086" y="36612"/>
                </a:lnTo>
                <a:lnTo>
                  <a:pt x="280086" y="36469"/>
                </a:lnTo>
                <a:close/>
                <a:moveTo>
                  <a:pt x="167235" y="36130"/>
                </a:moveTo>
                <a:lnTo>
                  <a:pt x="167235" y="37914"/>
                </a:lnTo>
                <a:lnTo>
                  <a:pt x="167377" y="37914"/>
                </a:lnTo>
                <a:lnTo>
                  <a:pt x="167377" y="36130"/>
                </a:lnTo>
                <a:close/>
                <a:moveTo>
                  <a:pt x="130355" y="36799"/>
                </a:moveTo>
                <a:lnTo>
                  <a:pt x="130355" y="38583"/>
                </a:lnTo>
                <a:lnTo>
                  <a:pt x="130507" y="38583"/>
                </a:lnTo>
                <a:lnTo>
                  <a:pt x="130507" y="36799"/>
                </a:lnTo>
                <a:close/>
                <a:moveTo>
                  <a:pt x="148795" y="37727"/>
                </a:moveTo>
                <a:lnTo>
                  <a:pt x="148795" y="39511"/>
                </a:lnTo>
                <a:lnTo>
                  <a:pt x="148946" y="39511"/>
                </a:lnTo>
                <a:lnTo>
                  <a:pt x="148946" y="37727"/>
                </a:lnTo>
                <a:close/>
                <a:moveTo>
                  <a:pt x="167235" y="39699"/>
                </a:moveTo>
                <a:lnTo>
                  <a:pt x="167235" y="41483"/>
                </a:lnTo>
                <a:lnTo>
                  <a:pt x="167377" y="41483"/>
                </a:lnTo>
                <a:lnTo>
                  <a:pt x="167377" y="39699"/>
                </a:lnTo>
                <a:close/>
                <a:moveTo>
                  <a:pt x="130355" y="40368"/>
                </a:moveTo>
                <a:lnTo>
                  <a:pt x="130355" y="42152"/>
                </a:lnTo>
                <a:lnTo>
                  <a:pt x="130507" y="42152"/>
                </a:lnTo>
                <a:lnTo>
                  <a:pt x="130507" y="40368"/>
                </a:lnTo>
                <a:close/>
                <a:moveTo>
                  <a:pt x="148795" y="41295"/>
                </a:moveTo>
                <a:lnTo>
                  <a:pt x="148795" y="43080"/>
                </a:lnTo>
                <a:lnTo>
                  <a:pt x="148946" y="43080"/>
                </a:lnTo>
                <a:lnTo>
                  <a:pt x="148946" y="41295"/>
                </a:lnTo>
                <a:close/>
                <a:moveTo>
                  <a:pt x="167235" y="43267"/>
                </a:moveTo>
                <a:lnTo>
                  <a:pt x="167235" y="45051"/>
                </a:lnTo>
                <a:lnTo>
                  <a:pt x="167377" y="45051"/>
                </a:lnTo>
                <a:lnTo>
                  <a:pt x="167377" y="43267"/>
                </a:lnTo>
                <a:close/>
                <a:moveTo>
                  <a:pt x="102967" y="44792"/>
                </a:moveTo>
                <a:cubicBezTo>
                  <a:pt x="102370" y="44792"/>
                  <a:pt x="101772" y="44828"/>
                  <a:pt x="101183" y="44944"/>
                </a:cubicBezTo>
                <a:lnTo>
                  <a:pt x="101183" y="45087"/>
                </a:lnTo>
                <a:cubicBezTo>
                  <a:pt x="101772" y="44980"/>
                  <a:pt x="102370" y="44944"/>
                  <a:pt x="102967" y="44944"/>
                </a:cubicBezTo>
                <a:lnTo>
                  <a:pt x="102967" y="44792"/>
                </a:lnTo>
                <a:close/>
                <a:moveTo>
                  <a:pt x="130355" y="43936"/>
                </a:moveTo>
                <a:lnTo>
                  <a:pt x="130355" y="45720"/>
                </a:lnTo>
                <a:lnTo>
                  <a:pt x="130507" y="45720"/>
                </a:lnTo>
                <a:lnTo>
                  <a:pt x="130507" y="43936"/>
                </a:lnTo>
                <a:close/>
                <a:moveTo>
                  <a:pt x="104752" y="45051"/>
                </a:moveTo>
                <a:lnTo>
                  <a:pt x="104707" y="45203"/>
                </a:lnTo>
                <a:cubicBezTo>
                  <a:pt x="105305" y="45310"/>
                  <a:pt x="105867" y="45497"/>
                  <a:pt x="106384" y="45756"/>
                </a:cubicBezTo>
                <a:lnTo>
                  <a:pt x="106455" y="45613"/>
                </a:lnTo>
                <a:cubicBezTo>
                  <a:pt x="105902" y="45354"/>
                  <a:pt x="105340" y="45167"/>
                  <a:pt x="104752" y="45051"/>
                </a:cubicBezTo>
                <a:close/>
                <a:moveTo>
                  <a:pt x="99435" y="45390"/>
                </a:moveTo>
                <a:cubicBezTo>
                  <a:pt x="98873" y="45613"/>
                  <a:pt x="98355" y="45872"/>
                  <a:pt x="97838" y="46202"/>
                </a:cubicBezTo>
                <a:lnTo>
                  <a:pt x="97909" y="46318"/>
                </a:lnTo>
                <a:cubicBezTo>
                  <a:pt x="98391" y="46024"/>
                  <a:pt x="98953" y="45756"/>
                  <a:pt x="99506" y="45533"/>
                </a:cubicBezTo>
                <a:lnTo>
                  <a:pt x="99435" y="45390"/>
                </a:lnTo>
                <a:close/>
                <a:moveTo>
                  <a:pt x="148795" y="44864"/>
                </a:moveTo>
                <a:lnTo>
                  <a:pt x="148795" y="46648"/>
                </a:lnTo>
                <a:lnTo>
                  <a:pt x="148946" y="46648"/>
                </a:lnTo>
                <a:lnTo>
                  <a:pt x="148946" y="44864"/>
                </a:lnTo>
                <a:close/>
                <a:moveTo>
                  <a:pt x="108017" y="46505"/>
                </a:moveTo>
                <a:lnTo>
                  <a:pt x="107910" y="46612"/>
                </a:lnTo>
                <a:cubicBezTo>
                  <a:pt x="108391" y="46987"/>
                  <a:pt x="108837" y="47362"/>
                  <a:pt x="109248" y="47808"/>
                </a:cubicBezTo>
                <a:lnTo>
                  <a:pt x="109355" y="47692"/>
                </a:lnTo>
                <a:cubicBezTo>
                  <a:pt x="108944" y="47246"/>
                  <a:pt x="108498" y="46871"/>
                  <a:pt x="108017" y="46505"/>
                </a:cubicBezTo>
                <a:close/>
                <a:moveTo>
                  <a:pt x="167235" y="46835"/>
                </a:moveTo>
                <a:lnTo>
                  <a:pt x="167235" y="48620"/>
                </a:lnTo>
                <a:lnTo>
                  <a:pt x="167377" y="48620"/>
                </a:lnTo>
                <a:lnTo>
                  <a:pt x="167377" y="46835"/>
                </a:lnTo>
                <a:close/>
                <a:moveTo>
                  <a:pt x="96419" y="47281"/>
                </a:moveTo>
                <a:cubicBezTo>
                  <a:pt x="95973" y="47692"/>
                  <a:pt x="95563" y="48138"/>
                  <a:pt x="95233" y="48655"/>
                </a:cubicBezTo>
                <a:lnTo>
                  <a:pt x="95340" y="48736"/>
                </a:lnTo>
                <a:cubicBezTo>
                  <a:pt x="95679" y="48254"/>
                  <a:pt x="96089" y="47808"/>
                  <a:pt x="96500" y="47397"/>
                </a:cubicBezTo>
                <a:lnTo>
                  <a:pt x="96419" y="47281"/>
                </a:lnTo>
                <a:close/>
                <a:moveTo>
                  <a:pt x="130355" y="47504"/>
                </a:moveTo>
                <a:lnTo>
                  <a:pt x="130355" y="49289"/>
                </a:lnTo>
                <a:lnTo>
                  <a:pt x="130507" y="49289"/>
                </a:lnTo>
                <a:lnTo>
                  <a:pt x="130507" y="47504"/>
                </a:lnTo>
                <a:close/>
                <a:moveTo>
                  <a:pt x="148795" y="48432"/>
                </a:moveTo>
                <a:lnTo>
                  <a:pt x="148795" y="50216"/>
                </a:lnTo>
                <a:lnTo>
                  <a:pt x="148946" y="50216"/>
                </a:lnTo>
                <a:lnTo>
                  <a:pt x="148946" y="48432"/>
                </a:lnTo>
                <a:close/>
                <a:moveTo>
                  <a:pt x="110470" y="49101"/>
                </a:moveTo>
                <a:lnTo>
                  <a:pt x="110327" y="49182"/>
                </a:lnTo>
                <a:cubicBezTo>
                  <a:pt x="110657" y="49699"/>
                  <a:pt x="110916" y="50216"/>
                  <a:pt x="111103" y="50778"/>
                </a:cubicBezTo>
                <a:lnTo>
                  <a:pt x="111255" y="50707"/>
                </a:lnTo>
                <a:cubicBezTo>
                  <a:pt x="111032" y="50145"/>
                  <a:pt x="110773" y="49628"/>
                  <a:pt x="110470" y="49101"/>
                </a:cubicBezTo>
                <a:close/>
                <a:moveTo>
                  <a:pt x="94341" y="50181"/>
                </a:moveTo>
                <a:cubicBezTo>
                  <a:pt x="94082" y="50743"/>
                  <a:pt x="93895" y="51296"/>
                  <a:pt x="93743" y="51894"/>
                </a:cubicBezTo>
                <a:lnTo>
                  <a:pt x="93895" y="51929"/>
                </a:lnTo>
                <a:cubicBezTo>
                  <a:pt x="94046" y="51376"/>
                  <a:pt x="94225" y="50814"/>
                  <a:pt x="94448" y="50261"/>
                </a:cubicBezTo>
                <a:lnTo>
                  <a:pt x="94341" y="50181"/>
                </a:lnTo>
                <a:close/>
                <a:moveTo>
                  <a:pt x="167235" y="50404"/>
                </a:moveTo>
                <a:lnTo>
                  <a:pt x="167235" y="52188"/>
                </a:lnTo>
                <a:lnTo>
                  <a:pt x="167377" y="52188"/>
                </a:lnTo>
                <a:lnTo>
                  <a:pt x="167377" y="50404"/>
                </a:lnTo>
                <a:close/>
                <a:moveTo>
                  <a:pt x="130355" y="51073"/>
                </a:moveTo>
                <a:lnTo>
                  <a:pt x="130355" y="52857"/>
                </a:lnTo>
                <a:lnTo>
                  <a:pt x="130507" y="52857"/>
                </a:lnTo>
                <a:lnTo>
                  <a:pt x="130507" y="51073"/>
                </a:lnTo>
                <a:close/>
                <a:moveTo>
                  <a:pt x="148795" y="52001"/>
                </a:moveTo>
                <a:lnTo>
                  <a:pt x="148795" y="53785"/>
                </a:lnTo>
                <a:lnTo>
                  <a:pt x="148946" y="53785"/>
                </a:lnTo>
                <a:lnTo>
                  <a:pt x="148946" y="52001"/>
                </a:lnTo>
                <a:close/>
                <a:moveTo>
                  <a:pt x="111737" y="52447"/>
                </a:moveTo>
                <a:lnTo>
                  <a:pt x="111585" y="52491"/>
                </a:lnTo>
                <a:cubicBezTo>
                  <a:pt x="111665" y="52973"/>
                  <a:pt x="111701" y="53455"/>
                  <a:pt x="111701" y="53972"/>
                </a:cubicBezTo>
                <a:lnTo>
                  <a:pt x="111701" y="54231"/>
                </a:lnTo>
                <a:lnTo>
                  <a:pt x="111844" y="54231"/>
                </a:lnTo>
                <a:lnTo>
                  <a:pt x="111844" y="53972"/>
                </a:lnTo>
                <a:cubicBezTo>
                  <a:pt x="111844" y="53455"/>
                  <a:pt x="111808" y="52973"/>
                  <a:pt x="111737" y="52447"/>
                </a:cubicBezTo>
                <a:close/>
                <a:moveTo>
                  <a:pt x="93520" y="53678"/>
                </a:moveTo>
                <a:lnTo>
                  <a:pt x="93520" y="53972"/>
                </a:lnTo>
                <a:lnTo>
                  <a:pt x="93520" y="55462"/>
                </a:lnTo>
                <a:lnTo>
                  <a:pt x="93672" y="55462"/>
                </a:lnTo>
                <a:lnTo>
                  <a:pt x="93672" y="53972"/>
                </a:lnTo>
                <a:lnTo>
                  <a:pt x="93672" y="53678"/>
                </a:lnTo>
                <a:close/>
                <a:moveTo>
                  <a:pt x="167235" y="53972"/>
                </a:moveTo>
                <a:lnTo>
                  <a:pt x="167235" y="55533"/>
                </a:lnTo>
                <a:lnTo>
                  <a:pt x="167235" y="55756"/>
                </a:lnTo>
                <a:lnTo>
                  <a:pt x="167377" y="55756"/>
                </a:lnTo>
                <a:lnTo>
                  <a:pt x="167377" y="55533"/>
                </a:lnTo>
                <a:lnTo>
                  <a:pt x="167377" y="53972"/>
                </a:lnTo>
                <a:close/>
                <a:moveTo>
                  <a:pt x="130355" y="54641"/>
                </a:moveTo>
                <a:lnTo>
                  <a:pt x="130355" y="56425"/>
                </a:lnTo>
                <a:lnTo>
                  <a:pt x="130507" y="56425"/>
                </a:lnTo>
                <a:lnTo>
                  <a:pt x="130507" y="54641"/>
                </a:lnTo>
                <a:close/>
                <a:moveTo>
                  <a:pt x="148795" y="55569"/>
                </a:moveTo>
                <a:cubicBezTo>
                  <a:pt x="148795" y="56167"/>
                  <a:pt x="148866" y="56764"/>
                  <a:pt x="148982" y="57353"/>
                </a:cubicBezTo>
                <a:lnTo>
                  <a:pt x="149134" y="57318"/>
                </a:lnTo>
                <a:cubicBezTo>
                  <a:pt x="149018" y="56764"/>
                  <a:pt x="148946" y="56167"/>
                  <a:pt x="148946" y="55569"/>
                </a:cubicBezTo>
                <a:close/>
                <a:moveTo>
                  <a:pt x="111701" y="56015"/>
                </a:moveTo>
                <a:lnTo>
                  <a:pt x="111701" y="57799"/>
                </a:lnTo>
                <a:lnTo>
                  <a:pt x="111844" y="57799"/>
                </a:lnTo>
                <a:lnTo>
                  <a:pt x="111844" y="56015"/>
                </a:lnTo>
                <a:close/>
                <a:moveTo>
                  <a:pt x="93520" y="57246"/>
                </a:moveTo>
                <a:lnTo>
                  <a:pt x="93520" y="59030"/>
                </a:lnTo>
                <a:lnTo>
                  <a:pt x="93672" y="59030"/>
                </a:lnTo>
                <a:lnTo>
                  <a:pt x="93672" y="57246"/>
                </a:lnTo>
                <a:close/>
                <a:moveTo>
                  <a:pt x="167012" y="57505"/>
                </a:moveTo>
                <a:cubicBezTo>
                  <a:pt x="166896" y="58103"/>
                  <a:pt x="166708" y="58656"/>
                  <a:pt x="166449" y="59218"/>
                </a:cubicBezTo>
                <a:lnTo>
                  <a:pt x="166601" y="59253"/>
                </a:lnTo>
                <a:cubicBezTo>
                  <a:pt x="166824" y="58691"/>
                  <a:pt x="167012" y="58138"/>
                  <a:pt x="167154" y="57541"/>
                </a:cubicBezTo>
                <a:lnTo>
                  <a:pt x="167012" y="57505"/>
                </a:lnTo>
                <a:close/>
                <a:moveTo>
                  <a:pt x="130355" y="58210"/>
                </a:moveTo>
                <a:lnTo>
                  <a:pt x="130355" y="59994"/>
                </a:lnTo>
                <a:lnTo>
                  <a:pt x="130507" y="59994"/>
                </a:lnTo>
                <a:lnTo>
                  <a:pt x="130507" y="58210"/>
                </a:lnTo>
                <a:close/>
                <a:moveTo>
                  <a:pt x="149651" y="59030"/>
                </a:moveTo>
                <a:lnTo>
                  <a:pt x="149500" y="59066"/>
                </a:lnTo>
                <a:cubicBezTo>
                  <a:pt x="149723" y="59628"/>
                  <a:pt x="150026" y="60146"/>
                  <a:pt x="150356" y="60663"/>
                </a:cubicBezTo>
                <a:lnTo>
                  <a:pt x="150472" y="60556"/>
                </a:lnTo>
                <a:cubicBezTo>
                  <a:pt x="150169" y="60074"/>
                  <a:pt x="149874" y="59548"/>
                  <a:pt x="149651" y="59030"/>
                </a:cubicBezTo>
                <a:close/>
                <a:moveTo>
                  <a:pt x="111701" y="59584"/>
                </a:moveTo>
                <a:lnTo>
                  <a:pt x="111701" y="61368"/>
                </a:lnTo>
                <a:lnTo>
                  <a:pt x="111844" y="61368"/>
                </a:lnTo>
                <a:lnTo>
                  <a:pt x="111844" y="59584"/>
                </a:lnTo>
                <a:close/>
                <a:moveTo>
                  <a:pt x="165593" y="60743"/>
                </a:moveTo>
                <a:cubicBezTo>
                  <a:pt x="165227" y="61225"/>
                  <a:pt x="164853" y="61671"/>
                  <a:pt x="164442" y="62081"/>
                </a:cubicBezTo>
                <a:lnTo>
                  <a:pt x="164523" y="62188"/>
                </a:lnTo>
                <a:cubicBezTo>
                  <a:pt x="164969" y="61778"/>
                  <a:pt x="165370" y="61296"/>
                  <a:pt x="165709" y="60815"/>
                </a:cubicBezTo>
                <a:lnTo>
                  <a:pt x="165593" y="60743"/>
                </a:lnTo>
                <a:close/>
                <a:moveTo>
                  <a:pt x="93520" y="60815"/>
                </a:moveTo>
                <a:lnTo>
                  <a:pt x="93520" y="62599"/>
                </a:lnTo>
                <a:lnTo>
                  <a:pt x="93672" y="62599"/>
                </a:lnTo>
                <a:lnTo>
                  <a:pt x="93672" y="60815"/>
                </a:lnTo>
                <a:close/>
                <a:moveTo>
                  <a:pt x="151623" y="61930"/>
                </a:moveTo>
                <a:lnTo>
                  <a:pt x="151507" y="62037"/>
                </a:lnTo>
                <a:cubicBezTo>
                  <a:pt x="151917" y="62447"/>
                  <a:pt x="152399" y="62858"/>
                  <a:pt x="152881" y="63152"/>
                </a:cubicBezTo>
                <a:lnTo>
                  <a:pt x="152961" y="63045"/>
                </a:lnTo>
                <a:cubicBezTo>
                  <a:pt x="152479" y="62706"/>
                  <a:pt x="152033" y="62340"/>
                  <a:pt x="151623" y="61930"/>
                </a:cubicBezTo>
                <a:close/>
                <a:moveTo>
                  <a:pt x="130355" y="61778"/>
                </a:moveTo>
                <a:lnTo>
                  <a:pt x="130355" y="63562"/>
                </a:lnTo>
                <a:lnTo>
                  <a:pt x="130507" y="63562"/>
                </a:lnTo>
                <a:lnTo>
                  <a:pt x="130507" y="61778"/>
                </a:lnTo>
                <a:close/>
                <a:moveTo>
                  <a:pt x="163033" y="63152"/>
                </a:moveTo>
                <a:cubicBezTo>
                  <a:pt x="162551" y="63491"/>
                  <a:pt x="161989" y="63750"/>
                  <a:pt x="161472" y="63973"/>
                </a:cubicBezTo>
                <a:lnTo>
                  <a:pt x="161507" y="64089"/>
                </a:lnTo>
                <a:cubicBezTo>
                  <a:pt x="162069" y="63866"/>
                  <a:pt x="162622" y="63598"/>
                  <a:pt x="163104" y="63304"/>
                </a:cubicBezTo>
                <a:lnTo>
                  <a:pt x="163033" y="63152"/>
                </a:lnTo>
                <a:close/>
                <a:moveTo>
                  <a:pt x="154522" y="63901"/>
                </a:moveTo>
                <a:lnTo>
                  <a:pt x="154486" y="64008"/>
                </a:lnTo>
                <a:cubicBezTo>
                  <a:pt x="155039" y="64231"/>
                  <a:pt x="155602" y="64419"/>
                  <a:pt x="156190" y="64535"/>
                </a:cubicBezTo>
                <a:lnTo>
                  <a:pt x="156226" y="64383"/>
                </a:lnTo>
                <a:cubicBezTo>
                  <a:pt x="155637" y="64267"/>
                  <a:pt x="155075" y="64124"/>
                  <a:pt x="154522" y="63901"/>
                </a:cubicBezTo>
                <a:close/>
                <a:moveTo>
                  <a:pt x="159759" y="64419"/>
                </a:moveTo>
                <a:cubicBezTo>
                  <a:pt x="159241" y="64535"/>
                  <a:pt x="158724" y="64570"/>
                  <a:pt x="158198" y="64570"/>
                </a:cubicBezTo>
                <a:lnTo>
                  <a:pt x="157975" y="64570"/>
                </a:lnTo>
                <a:lnTo>
                  <a:pt x="157975" y="64713"/>
                </a:lnTo>
                <a:lnTo>
                  <a:pt x="158198" y="64713"/>
                </a:lnTo>
                <a:cubicBezTo>
                  <a:pt x="158724" y="64713"/>
                  <a:pt x="159277" y="64642"/>
                  <a:pt x="159759" y="64570"/>
                </a:cubicBezTo>
                <a:lnTo>
                  <a:pt x="159759" y="64419"/>
                </a:lnTo>
                <a:close/>
                <a:moveTo>
                  <a:pt x="111701" y="63152"/>
                </a:moveTo>
                <a:lnTo>
                  <a:pt x="111701" y="64936"/>
                </a:lnTo>
                <a:lnTo>
                  <a:pt x="111844" y="64936"/>
                </a:lnTo>
                <a:lnTo>
                  <a:pt x="111844" y="63152"/>
                </a:lnTo>
                <a:close/>
                <a:moveTo>
                  <a:pt x="93520" y="64383"/>
                </a:moveTo>
                <a:lnTo>
                  <a:pt x="93520" y="66167"/>
                </a:lnTo>
                <a:lnTo>
                  <a:pt x="93672" y="66167"/>
                </a:lnTo>
                <a:lnTo>
                  <a:pt x="93672" y="64383"/>
                </a:lnTo>
                <a:close/>
                <a:moveTo>
                  <a:pt x="130355" y="65347"/>
                </a:moveTo>
                <a:cubicBezTo>
                  <a:pt x="130319" y="65944"/>
                  <a:pt x="130248" y="66542"/>
                  <a:pt x="130096" y="67095"/>
                </a:cubicBezTo>
                <a:lnTo>
                  <a:pt x="130248" y="67131"/>
                </a:lnTo>
                <a:cubicBezTo>
                  <a:pt x="130400" y="66578"/>
                  <a:pt x="130471" y="65980"/>
                  <a:pt x="130507" y="65347"/>
                </a:cubicBezTo>
                <a:close/>
                <a:moveTo>
                  <a:pt x="111888" y="66720"/>
                </a:moveTo>
                <a:cubicBezTo>
                  <a:pt x="111995" y="67318"/>
                  <a:pt x="112183" y="67916"/>
                  <a:pt x="112406" y="68469"/>
                </a:cubicBezTo>
                <a:lnTo>
                  <a:pt x="112557" y="68397"/>
                </a:lnTo>
                <a:cubicBezTo>
                  <a:pt x="112334" y="67835"/>
                  <a:pt x="112147" y="67282"/>
                  <a:pt x="112031" y="66720"/>
                </a:cubicBezTo>
                <a:close/>
                <a:moveTo>
                  <a:pt x="93520" y="67951"/>
                </a:moveTo>
                <a:lnTo>
                  <a:pt x="93520" y="69736"/>
                </a:lnTo>
                <a:lnTo>
                  <a:pt x="93672" y="69736"/>
                </a:lnTo>
                <a:lnTo>
                  <a:pt x="93672" y="67951"/>
                </a:lnTo>
                <a:close/>
                <a:moveTo>
                  <a:pt x="129507" y="68772"/>
                </a:moveTo>
                <a:cubicBezTo>
                  <a:pt x="129240" y="69290"/>
                  <a:pt x="128945" y="69807"/>
                  <a:pt x="128615" y="70289"/>
                </a:cubicBezTo>
                <a:lnTo>
                  <a:pt x="128722" y="70369"/>
                </a:lnTo>
                <a:cubicBezTo>
                  <a:pt x="129061" y="69887"/>
                  <a:pt x="129391" y="69361"/>
                  <a:pt x="129650" y="68844"/>
                </a:cubicBezTo>
                <a:lnTo>
                  <a:pt x="129507" y="68772"/>
                </a:lnTo>
                <a:close/>
                <a:moveTo>
                  <a:pt x="113405" y="69959"/>
                </a:moveTo>
                <a:lnTo>
                  <a:pt x="113262" y="70030"/>
                </a:lnTo>
                <a:cubicBezTo>
                  <a:pt x="113592" y="70512"/>
                  <a:pt x="114003" y="71002"/>
                  <a:pt x="114413" y="71404"/>
                </a:cubicBezTo>
                <a:lnTo>
                  <a:pt x="114520" y="71297"/>
                </a:lnTo>
                <a:cubicBezTo>
                  <a:pt x="114119" y="70886"/>
                  <a:pt x="113708" y="70440"/>
                  <a:pt x="113405" y="69959"/>
                </a:cubicBezTo>
                <a:close/>
                <a:moveTo>
                  <a:pt x="127420" y="71591"/>
                </a:moveTo>
                <a:cubicBezTo>
                  <a:pt x="126974" y="72002"/>
                  <a:pt x="126492" y="72341"/>
                  <a:pt x="125975" y="72635"/>
                </a:cubicBezTo>
                <a:lnTo>
                  <a:pt x="126046" y="72787"/>
                </a:lnTo>
                <a:cubicBezTo>
                  <a:pt x="126564" y="72448"/>
                  <a:pt x="127054" y="72118"/>
                  <a:pt x="127500" y="71707"/>
                </a:cubicBezTo>
                <a:lnTo>
                  <a:pt x="127420" y="71591"/>
                </a:lnTo>
                <a:close/>
                <a:moveTo>
                  <a:pt x="93520" y="71520"/>
                </a:moveTo>
                <a:lnTo>
                  <a:pt x="93520" y="73304"/>
                </a:lnTo>
                <a:lnTo>
                  <a:pt x="93672" y="73304"/>
                </a:lnTo>
                <a:lnTo>
                  <a:pt x="93672" y="71520"/>
                </a:lnTo>
                <a:close/>
                <a:moveTo>
                  <a:pt x="115903" y="72412"/>
                </a:moveTo>
                <a:lnTo>
                  <a:pt x="115823" y="72564"/>
                </a:lnTo>
                <a:cubicBezTo>
                  <a:pt x="116304" y="72894"/>
                  <a:pt x="116831" y="73152"/>
                  <a:pt x="117384" y="73375"/>
                </a:cubicBezTo>
                <a:lnTo>
                  <a:pt x="117464" y="73268"/>
                </a:lnTo>
                <a:cubicBezTo>
                  <a:pt x="116902" y="73045"/>
                  <a:pt x="116385" y="72742"/>
                  <a:pt x="115903" y="72412"/>
                </a:cubicBezTo>
                <a:close/>
                <a:moveTo>
                  <a:pt x="124378" y="73411"/>
                </a:moveTo>
                <a:cubicBezTo>
                  <a:pt x="123852" y="73598"/>
                  <a:pt x="123263" y="73750"/>
                  <a:pt x="122665" y="73821"/>
                </a:cubicBezTo>
                <a:lnTo>
                  <a:pt x="122701" y="73973"/>
                </a:lnTo>
                <a:cubicBezTo>
                  <a:pt x="123298" y="73902"/>
                  <a:pt x="123887" y="73750"/>
                  <a:pt x="124449" y="73527"/>
                </a:cubicBezTo>
                <a:lnTo>
                  <a:pt x="124378" y="73411"/>
                </a:lnTo>
                <a:close/>
                <a:moveTo>
                  <a:pt x="119132" y="73750"/>
                </a:moveTo>
                <a:lnTo>
                  <a:pt x="119132" y="73902"/>
                </a:lnTo>
                <a:cubicBezTo>
                  <a:pt x="119694" y="74009"/>
                  <a:pt x="120283" y="74080"/>
                  <a:pt x="120881" y="74080"/>
                </a:cubicBezTo>
                <a:lnTo>
                  <a:pt x="120916" y="74080"/>
                </a:lnTo>
                <a:lnTo>
                  <a:pt x="120916" y="73937"/>
                </a:lnTo>
                <a:lnTo>
                  <a:pt x="120881" y="73937"/>
                </a:lnTo>
                <a:cubicBezTo>
                  <a:pt x="120283" y="73937"/>
                  <a:pt x="119730" y="73857"/>
                  <a:pt x="119132" y="73750"/>
                </a:cubicBezTo>
                <a:close/>
                <a:moveTo>
                  <a:pt x="93520" y="75088"/>
                </a:moveTo>
                <a:lnTo>
                  <a:pt x="93520" y="76872"/>
                </a:lnTo>
                <a:lnTo>
                  <a:pt x="93672" y="76872"/>
                </a:lnTo>
                <a:lnTo>
                  <a:pt x="93672" y="75088"/>
                </a:lnTo>
                <a:close/>
                <a:moveTo>
                  <a:pt x="93520" y="78657"/>
                </a:moveTo>
                <a:lnTo>
                  <a:pt x="93520" y="80441"/>
                </a:lnTo>
                <a:lnTo>
                  <a:pt x="93672" y="80441"/>
                </a:lnTo>
                <a:lnTo>
                  <a:pt x="93672" y="78657"/>
                </a:lnTo>
                <a:close/>
                <a:moveTo>
                  <a:pt x="93520" y="82225"/>
                </a:moveTo>
                <a:lnTo>
                  <a:pt x="93520" y="84009"/>
                </a:lnTo>
                <a:lnTo>
                  <a:pt x="93672" y="84009"/>
                </a:lnTo>
                <a:lnTo>
                  <a:pt x="93672" y="82225"/>
                </a:lnTo>
                <a:close/>
                <a:moveTo>
                  <a:pt x="93520" y="85829"/>
                </a:moveTo>
                <a:lnTo>
                  <a:pt x="93520" y="86944"/>
                </a:lnTo>
                <a:cubicBezTo>
                  <a:pt x="93520" y="87132"/>
                  <a:pt x="93484" y="87355"/>
                  <a:pt x="93484" y="87578"/>
                </a:cubicBezTo>
                <a:lnTo>
                  <a:pt x="93636" y="87613"/>
                </a:lnTo>
                <a:cubicBezTo>
                  <a:pt x="93636" y="87390"/>
                  <a:pt x="93672" y="87167"/>
                  <a:pt x="93672" y="86944"/>
                </a:cubicBezTo>
                <a:lnTo>
                  <a:pt x="93672" y="85829"/>
                </a:lnTo>
                <a:close/>
                <a:moveTo>
                  <a:pt x="93038" y="89291"/>
                </a:moveTo>
                <a:cubicBezTo>
                  <a:pt x="92815" y="89844"/>
                  <a:pt x="92485" y="90325"/>
                  <a:pt x="92110" y="90771"/>
                </a:cubicBezTo>
                <a:lnTo>
                  <a:pt x="92217" y="90887"/>
                </a:lnTo>
                <a:cubicBezTo>
                  <a:pt x="92628" y="90406"/>
                  <a:pt x="92931" y="89879"/>
                  <a:pt x="93190" y="89362"/>
                </a:cubicBezTo>
                <a:lnTo>
                  <a:pt x="93038" y="89291"/>
                </a:lnTo>
                <a:close/>
                <a:moveTo>
                  <a:pt x="90808" y="91967"/>
                </a:moveTo>
                <a:cubicBezTo>
                  <a:pt x="90326" y="92261"/>
                  <a:pt x="89764" y="92520"/>
                  <a:pt x="89211" y="92707"/>
                </a:cubicBezTo>
                <a:lnTo>
                  <a:pt x="89247" y="92814"/>
                </a:lnTo>
                <a:cubicBezTo>
                  <a:pt x="89844" y="92672"/>
                  <a:pt x="90398" y="92413"/>
                  <a:pt x="90879" y="92074"/>
                </a:cubicBezTo>
                <a:lnTo>
                  <a:pt x="90808" y="91967"/>
                </a:lnTo>
                <a:close/>
                <a:moveTo>
                  <a:pt x="1" y="92930"/>
                </a:moveTo>
                <a:lnTo>
                  <a:pt x="1" y="93082"/>
                </a:lnTo>
                <a:lnTo>
                  <a:pt x="1785" y="93082"/>
                </a:lnTo>
                <a:lnTo>
                  <a:pt x="1785" y="92930"/>
                </a:lnTo>
                <a:close/>
                <a:moveTo>
                  <a:pt x="3569" y="92930"/>
                </a:moveTo>
                <a:lnTo>
                  <a:pt x="3569" y="93082"/>
                </a:lnTo>
                <a:lnTo>
                  <a:pt x="5353" y="93082"/>
                </a:lnTo>
                <a:lnTo>
                  <a:pt x="5353" y="92930"/>
                </a:lnTo>
                <a:close/>
                <a:moveTo>
                  <a:pt x="7137" y="92930"/>
                </a:moveTo>
                <a:lnTo>
                  <a:pt x="7137" y="93082"/>
                </a:lnTo>
                <a:lnTo>
                  <a:pt x="8922" y="93082"/>
                </a:lnTo>
                <a:lnTo>
                  <a:pt x="8922" y="92930"/>
                </a:lnTo>
                <a:close/>
                <a:moveTo>
                  <a:pt x="10706" y="92930"/>
                </a:moveTo>
                <a:lnTo>
                  <a:pt x="10706" y="93082"/>
                </a:lnTo>
                <a:lnTo>
                  <a:pt x="12490" y="93082"/>
                </a:lnTo>
                <a:lnTo>
                  <a:pt x="12490" y="92930"/>
                </a:lnTo>
                <a:close/>
                <a:moveTo>
                  <a:pt x="14274" y="92930"/>
                </a:moveTo>
                <a:lnTo>
                  <a:pt x="14274" y="93082"/>
                </a:lnTo>
                <a:lnTo>
                  <a:pt x="16094" y="93082"/>
                </a:lnTo>
                <a:lnTo>
                  <a:pt x="16094" y="92930"/>
                </a:lnTo>
                <a:close/>
                <a:moveTo>
                  <a:pt x="17878" y="92930"/>
                </a:moveTo>
                <a:lnTo>
                  <a:pt x="17878" y="93082"/>
                </a:lnTo>
                <a:lnTo>
                  <a:pt x="19663" y="93082"/>
                </a:lnTo>
                <a:lnTo>
                  <a:pt x="19663" y="92930"/>
                </a:lnTo>
                <a:close/>
                <a:moveTo>
                  <a:pt x="21447" y="92930"/>
                </a:moveTo>
                <a:lnTo>
                  <a:pt x="21447" y="93082"/>
                </a:lnTo>
                <a:lnTo>
                  <a:pt x="23231" y="93082"/>
                </a:lnTo>
                <a:lnTo>
                  <a:pt x="23231" y="92930"/>
                </a:lnTo>
                <a:close/>
                <a:moveTo>
                  <a:pt x="25015" y="92930"/>
                </a:moveTo>
                <a:lnTo>
                  <a:pt x="25015" y="93082"/>
                </a:lnTo>
                <a:lnTo>
                  <a:pt x="26799" y="93082"/>
                </a:lnTo>
                <a:lnTo>
                  <a:pt x="26799" y="92930"/>
                </a:lnTo>
                <a:close/>
                <a:moveTo>
                  <a:pt x="28584" y="92930"/>
                </a:moveTo>
                <a:lnTo>
                  <a:pt x="28584" y="93082"/>
                </a:lnTo>
                <a:lnTo>
                  <a:pt x="30368" y="93082"/>
                </a:lnTo>
                <a:lnTo>
                  <a:pt x="30368" y="92930"/>
                </a:lnTo>
                <a:close/>
                <a:moveTo>
                  <a:pt x="32152" y="92930"/>
                </a:moveTo>
                <a:lnTo>
                  <a:pt x="32152" y="93082"/>
                </a:lnTo>
                <a:lnTo>
                  <a:pt x="33936" y="93082"/>
                </a:lnTo>
                <a:lnTo>
                  <a:pt x="33936" y="92930"/>
                </a:lnTo>
                <a:close/>
                <a:moveTo>
                  <a:pt x="35720" y="92930"/>
                </a:moveTo>
                <a:lnTo>
                  <a:pt x="35720" y="93082"/>
                </a:lnTo>
                <a:lnTo>
                  <a:pt x="37505" y="93082"/>
                </a:lnTo>
                <a:lnTo>
                  <a:pt x="37505" y="92930"/>
                </a:lnTo>
                <a:close/>
                <a:moveTo>
                  <a:pt x="39289" y="92930"/>
                </a:moveTo>
                <a:lnTo>
                  <a:pt x="39289" y="93082"/>
                </a:lnTo>
                <a:lnTo>
                  <a:pt x="41073" y="93082"/>
                </a:lnTo>
                <a:lnTo>
                  <a:pt x="41073" y="92930"/>
                </a:lnTo>
                <a:close/>
                <a:moveTo>
                  <a:pt x="42857" y="92930"/>
                </a:moveTo>
                <a:lnTo>
                  <a:pt x="42857" y="93082"/>
                </a:lnTo>
                <a:lnTo>
                  <a:pt x="44642" y="93082"/>
                </a:lnTo>
                <a:lnTo>
                  <a:pt x="44642" y="92930"/>
                </a:lnTo>
                <a:close/>
                <a:moveTo>
                  <a:pt x="46426" y="92930"/>
                </a:moveTo>
                <a:lnTo>
                  <a:pt x="46426" y="93082"/>
                </a:lnTo>
                <a:lnTo>
                  <a:pt x="48210" y="93082"/>
                </a:lnTo>
                <a:lnTo>
                  <a:pt x="48210" y="92930"/>
                </a:lnTo>
                <a:close/>
                <a:moveTo>
                  <a:pt x="49994" y="92930"/>
                </a:moveTo>
                <a:lnTo>
                  <a:pt x="49994" y="93082"/>
                </a:lnTo>
                <a:lnTo>
                  <a:pt x="51778" y="93082"/>
                </a:lnTo>
                <a:lnTo>
                  <a:pt x="51778" y="92930"/>
                </a:lnTo>
                <a:close/>
                <a:moveTo>
                  <a:pt x="53563" y="92930"/>
                </a:moveTo>
                <a:lnTo>
                  <a:pt x="53563" y="93082"/>
                </a:lnTo>
                <a:lnTo>
                  <a:pt x="55347" y="93082"/>
                </a:lnTo>
                <a:lnTo>
                  <a:pt x="55347" y="92930"/>
                </a:lnTo>
                <a:close/>
                <a:moveTo>
                  <a:pt x="57131" y="92930"/>
                </a:moveTo>
                <a:lnTo>
                  <a:pt x="57131" y="93082"/>
                </a:lnTo>
                <a:lnTo>
                  <a:pt x="58915" y="93082"/>
                </a:lnTo>
                <a:lnTo>
                  <a:pt x="58915" y="92930"/>
                </a:lnTo>
                <a:close/>
                <a:moveTo>
                  <a:pt x="60699" y="92930"/>
                </a:moveTo>
                <a:lnTo>
                  <a:pt x="60699" y="93082"/>
                </a:lnTo>
                <a:lnTo>
                  <a:pt x="62484" y="93082"/>
                </a:lnTo>
                <a:lnTo>
                  <a:pt x="62484" y="92930"/>
                </a:lnTo>
                <a:close/>
                <a:moveTo>
                  <a:pt x="64268" y="92930"/>
                </a:moveTo>
                <a:lnTo>
                  <a:pt x="64268" y="93082"/>
                </a:lnTo>
                <a:lnTo>
                  <a:pt x="66052" y="93082"/>
                </a:lnTo>
                <a:lnTo>
                  <a:pt x="66052" y="92930"/>
                </a:lnTo>
                <a:close/>
                <a:moveTo>
                  <a:pt x="67836" y="92930"/>
                </a:moveTo>
                <a:lnTo>
                  <a:pt x="67836" y="93082"/>
                </a:lnTo>
                <a:lnTo>
                  <a:pt x="69620" y="93082"/>
                </a:lnTo>
                <a:lnTo>
                  <a:pt x="69620" y="92930"/>
                </a:lnTo>
                <a:close/>
                <a:moveTo>
                  <a:pt x="71405" y="92930"/>
                </a:moveTo>
                <a:lnTo>
                  <a:pt x="71405" y="93082"/>
                </a:lnTo>
                <a:lnTo>
                  <a:pt x="73189" y="93082"/>
                </a:lnTo>
                <a:lnTo>
                  <a:pt x="73189" y="92930"/>
                </a:lnTo>
                <a:close/>
                <a:moveTo>
                  <a:pt x="74973" y="92930"/>
                </a:moveTo>
                <a:lnTo>
                  <a:pt x="74973" y="93082"/>
                </a:lnTo>
                <a:lnTo>
                  <a:pt x="76757" y="93082"/>
                </a:lnTo>
                <a:lnTo>
                  <a:pt x="76757" y="92930"/>
                </a:lnTo>
                <a:close/>
                <a:moveTo>
                  <a:pt x="78542" y="92930"/>
                </a:moveTo>
                <a:lnTo>
                  <a:pt x="78542" y="93082"/>
                </a:lnTo>
                <a:lnTo>
                  <a:pt x="80326" y="93082"/>
                </a:lnTo>
                <a:lnTo>
                  <a:pt x="80326" y="92930"/>
                </a:lnTo>
                <a:close/>
                <a:moveTo>
                  <a:pt x="82110" y="92930"/>
                </a:moveTo>
                <a:lnTo>
                  <a:pt x="82110" y="93082"/>
                </a:lnTo>
                <a:lnTo>
                  <a:pt x="83894" y="93082"/>
                </a:lnTo>
                <a:lnTo>
                  <a:pt x="83894" y="92930"/>
                </a:lnTo>
                <a:close/>
                <a:moveTo>
                  <a:pt x="85678" y="92930"/>
                </a:moveTo>
                <a:lnTo>
                  <a:pt x="85678" y="93082"/>
                </a:lnTo>
                <a:lnTo>
                  <a:pt x="87463" y="93082"/>
                </a:lnTo>
                <a:lnTo>
                  <a:pt x="87463" y="92930"/>
                </a:lnTo>
                <a:close/>
              </a:path>
            </a:pathLst>
          </a:custGeom>
          <a:solidFill>
            <a:srgbClr val="BCB0B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867"/>
          </a:p>
        </p:txBody>
      </p:sp>
      <p:sp>
        <p:nvSpPr>
          <p:cNvPr id="782" name="Google Shape;782;p72"/>
          <p:cNvSpPr txBox="1">
            <a:spLocks noGrp="1"/>
          </p:cNvSpPr>
          <p:nvPr>
            <p:ph type="ctr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dirty="0">
                <a:solidFill>
                  <a:srgbClr val="000000"/>
                </a:solidFill>
                <a:latin typeface="Arial" panose="020B0604020202020204" pitchFamily="34" charset="0"/>
              </a:rPr>
              <a:t>Methodology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83" name="Google Shape;783;p72"/>
          <p:cNvSpPr txBox="1"/>
          <p:nvPr/>
        </p:nvSpPr>
        <p:spPr>
          <a:xfrm>
            <a:off x="6263945" y="4442409"/>
            <a:ext cx="1827083" cy="970506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2133"/>
              </a:spcAft>
            </a:pPr>
            <a:r>
              <a:rPr lang="en" sz="1600" dirty="0">
                <a:solidFill>
                  <a:schemeClr val="tx1"/>
                </a:solidFill>
                <a:latin typeface="Josefin Slab"/>
                <a:ea typeface="Josefin Slab"/>
                <a:cs typeface="Josefin Slab"/>
                <a:sym typeface="Josefin Slab"/>
              </a:rPr>
              <a:t>Measuring the variation for each wavelentgh  </a:t>
            </a:r>
            <a:endParaRPr sz="1600" dirty="0">
              <a:solidFill>
                <a:schemeClr val="tx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784" name="Google Shape;784;p72"/>
          <p:cNvSpPr txBox="1">
            <a:spLocks noGrp="1"/>
          </p:cNvSpPr>
          <p:nvPr>
            <p:ph type="ctrTitle" idx="4294967295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dirty="0">
                <a:solidFill>
                  <a:srgbClr val="000000"/>
                </a:solidFill>
                <a:latin typeface="Arial" panose="020B0604020202020204" pitchFamily="34" charset="0"/>
              </a:rPr>
              <a:t>Comparison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85" name="Google Shape;785;p72"/>
          <p:cNvSpPr txBox="1"/>
          <p:nvPr/>
        </p:nvSpPr>
        <p:spPr>
          <a:xfrm>
            <a:off x="4431802" y="4865254"/>
            <a:ext cx="1700060" cy="60800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2133"/>
              </a:spcAft>
            </a:pPr>
            <a:r>
              <a:rPr lang="en" sz="1600" dirty="0">
                <a:solidFill>
                  <a:schemeClr val="tx1"/>
                </a:solidFill>
                <a:latin typeface="Josefin Slab"/>
                <a:ea typeface="Josefin Slab"/>
                <a:cs typeface="Josefin Slab"/>
                <a:sym typeface="Josefin Slab"/>
              </a:rPr>
              <a:t>Trying to extreme values </a:t>
            </a:r>
            <a:endParaRPr sz="1600" dirty="0">
              <a:solidFill>
                <a:schemeClr val="tx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786" name="Google Shape;786;p72"/>
          <p:cNvSpPr txBox="1">
            <a:spLocks noGrp="1"/>
          </p:cNvSpPr>
          <p:nvPr>
            <p:ph type="ctrTitle" idx="4294967295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dirty="0">
                <a:solidFill>
                  <a:srgbClr val="000000"/>
                </a:solidFill>
                <a:latin typeface="Arial" panose="020B0604020202020204" pitchFamily="34" charset="0"/>
              </a:rPr>
              <a:t>Experiment process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7" name="Picture 4" descr="Partenaires | Board of European Students of Technology">
            <a:extLst>
              <a:ext uri="{FF2B5EF4-FFF2-40B4-BE49-F238E27FC236}">
                <a16:creationId xmlns:a16="http://schemas.microsoft.com/office/drawing/2014/main" id="{7504705E-FCBD-44FA-ADD4-19F2D534B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5734346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7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7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/>
                                        <p:tgtEl>
                                          <p:spTgt spid="7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/>
                                        <p:tgtEl>
                                          <p:spTgt spid="7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7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000"/>
                                        <p:tgtEl>
                                          <p:spTgt spid="7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/>
                                        <p:tgtEl>
                                          <p:spTgt spid="7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7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7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74"/>
          <p:cNvSpPr txBox="1"/>
          <p:nvPr/>
        </p:nvSpPr>
        <p:spPr>
          <a:xfrm>
            <a:off x="1027635" y="5041100"/>
            <a:ext cx="4733600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467" rIns="0" bIns="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</a:pPr>
            <a:r>
              <a:rPr lang="en" sz="1600">
                <a:solidFill>
                  <a:schemeClr val="lt1"/>
                </a:solidFill>
                <a:latin typeface="Josefin Slab"/>
                <a:ea typeface="Josefin Slab"/>
                <a:cs typeface="Josefin Slab"/>
                <a:sym typeface="Josefin Slab"/>
              </a:rPr>
              <a:t>If you want to modify this graph, click on it, follow the link, change the data and replace it </a:t>
            </a:r>
            <a:endParaRPr sz="1600">
              <a:solidFill>
                <a:schemeClr val="lt1"/>
              </a:solidFill>
              <a:latin typeface="Josefin Slab"/>
              <a:ea typeface="Josefin Slab"/>
              <a:cs typeface="Josefin Slab"/>
              <a:sym typeface="Josefin Slab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sz="1200">
              <a:solidFill>
                <a:schemeClr val="lt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840" name="Google Shape;840;p74"/>
          <p:cNvSpPr txBox="1"/>
          <p:nvPr/>
        </p:nvSpPr>
        <p:spPr>
          <a:xfrm>
            <a:off x="2382012" y="1429767"/>
            <a:ext cx="1819600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467" rIns="0" bIns="0" anchor="t" anchorCtr="0">
            <a:noAutofit/>
          </a:bodyPr>
          <a:lstStyle/>
          <a:p>
            <a:pPr algn="ctr">
              <a:spcBef>
                <a:spcPts val="133"/>
              </a:spcBef>
              <a:spcAft>
                <a:spcPts val="0"/>
              </a:spcAft>
            </a:pPr>
            <a:r>
              <a:rPr lang="en" sz="2133" b="1">
                <a:solidFill>
                  <a:schemeClr val="lt1"/>
                </a:solidFill>
                <a:latin typeface="Josefin Sans"/>
                <a:ea typeface="Josefin Sans"/>
                <a:cs typeface="Josefin Sans"/>
                <a:sym typeface="Josefin Sans"/>
              </a:rPr>
              <a:t>Statistics</a:t>
            </a:r>
            <a:endParaRPr sz="2133" b="1">
              <a:solidFill>
                <a:schemeClr val="lt1"/>
              </a:solidFill>
              <a:latin typeface="Josefin Sans"/>
              <a:ea typeface="Josefin Sans"/>
              <a:cs typeface="Josefin Sans"/>
              <a:sym typeface="Josefin Sans"/>
            </a:endParaRPr>
          </a:p>
        </p:txBody>
      </p:sp>
      <p:grpSp>
        <p:nvGrpSpPr>
          <p:cNvPr id="841" name="Google Shape;841;p74"/>
          <p:cNvGrpSpPr/>
          <p:nvPr/>
        </p:nvGrpSpPr>
        <p:grpSpPr>
          <a:xfrm>
            <a:off x="6425968" y="2168533"/>
            <a:ext cx="2404000" cy="1555200"/>
            <a:chOff x="4819476" y="1626400"/>
            <a:chExt cx="1803000" cy="1166400"/>
          </a:xfrm>
        </p:grpSpPr>
        <p:sp>
          <p:nvSpPr>
            <p:cNvPr id="842" name="Google Shape;842;p74"/>
            <p:cNvSpPr/>
            <p:nvPr/>
          </p:nvSpPr>
          <p:spPr>
            <a:xfrm>
              <a:off x="4819476" y="1626400"/>
              <a:ext cx="1803000" cy="11664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843" name="Google Shape;843;p74"/>
            <p:cNvSpPr/>
            <p:nvPr/>
          </p:nvSpPr>
          <p:spPr>
            <a:xfrm>
              <a:off x="5025368" y="1812875"/>
              <a:ext cx="256018" cy="256739"/>
            </a:xfrm>
            <a:custGeom>
              <a:avLst/>
              <a:gdLst/>
              <a:ahLst/>
              <a:cxnLst/>
              <a:rect l="l" t="t" r="r" b="b"/>
              <a:pathLst>
                <a:path w="10315" h="10343" extrusionOk="0">
                  <a:moveTo>
                    <a:pt x="5102" y="670"/>
                  </a:moveTo>
                  <a:cubicBezTo>
                    <a:pt x="5604" y="670"/>
                    <a:pt x="6022" y="1088"/>
                    <a:pt x="6022" y="1562"/>
                  </a:cubicBezTo>
                  <a:cubicBezTo>
                    <a:pt x="6022" y="2063"/>
                    <a:pt x="5604" y="2481"/>
                    <a:pt x="5102" y="2481"/>
                  </a:cubicBezTo>
                  <a:cubicBezTo>
                    <a:pt x="4600" y="2481"/>
                    <a:pt x="4182" y="2063"/>
                    <a:pt x="4182" y="1562"/>
                  </a:cubicBezTo>
                  <a:cubicBezTo>
                    <a:pt x="4182" y="1088"/>
                    <a:pt x="4600" y="670"/>
                    <a:pt x="5102" y="670"/>
                  </a:cubicBezTo>
                  <a:close/>
                  <a:moveTo>
                    <a:pt x="1757" y="1896"/>
                  </a:moveTo>
                  <a:cubicBezTo>
                    <a:pt x="2063" y="1896"/>
                    <a:pt x="2342" y="2175"/>
                    <a:pt x="2342" y="2481"/>
                  </a:cubicBezTo>
                  <a:cubicBezTo>
                    <a:pt x="2342" y="2788"/>
                    <a:pt x="2063" y="3067"/>
                    <a:pt x="1757" y="3067"/>
                  </a:cubicBezTo>
                  <a:cubicBezTo>
                    <a:pt x="1422" y="3067"/>
                    <a:pt x="1143" y="2788"/>
                    <a:pt x="1143" y="2481"/>
                  </a:cubicBezTo>
                  <a:cubicBezTo>
                    <a:pt x="1143" y="2119"/>
                    <a:pt x="1422" y="1896"/>
                    <a:pt x="1757" y="1896"/>
                  </a:cubicBezTo>
                  <a:close/>
                  <a:moveTo>
                    <a:pt x="8447" y="1896"/>
                  </a:moveTo>
                  <a:cubicBezTo>
                    <a:pt x="8781" y="1896"/>
                    <a:pt x="9032" y="2175"/>
                    <a:pt x="9032" y="2481"/>
                  </a:cubicBezTo>
                  <a:cubicBezTo>
                    <a:pt x="9032" y="2788"/>
                    <a:pt x="8753" y="3067"/>
                    <a:pt x="8447" y="3067"/>
                  </a:cubicBezTo>
                  <a:cubicBezTo>
                    <a:pt x="8112" y="3067"/>
                    <a:pt x="7834" y="2788"/>
                    <a:pt x="7834" y="2481"/>
                  </a:cubicBezTo>
                  <a:cubicBezTo>
                    <a:pt x="7834" y="2119"/>
                    <a:pt x="8112" y="1896"/>
                    <a:pt x="8447" y="1896"/>
                  </a:cubicBezTo>
                  <a:close/>
                  <a:moveTo>
                    <a:pt x="1701" y="3624"/>
                  </a:moveTo>
                  <a:cubicBezTo>
                    <a:pt x="2370" y="3624"/>
                    <a:pt x="2927" y="4182"/>
                    <a:pt x="2927" y="4851"/>
                  </a:cubicBezTo>
                  <a:lnTo>
                    <a:pt x="2927" y="6412"/>
                  </a:lnTo>
                  <a:cubicBezTo>
                    <a:pt x="2955" y="6635"/>
                    <a:pt x="2816" y="6719"/>
                    <a:pt x="2649" y="6719"/>
                  </a:cubicBezTo>
                  <a:cubicBezTo>
                    <a:pt x="2481" y="6719"/>
                    <a:pt x="2342" y="6858"/>
                    <a:pt x="2342" y="7053"/>
                  </a:cubicBezTo>
                  <a:lnTo>
                    <a:pt x="2342" y="8865"/>
                  </a:lnTo>
                  <a:cubicBezTo>
                    <a:pt x="2342" y="9032"/>
                    <a:pt x="2203" y="9172"/>
                    <a:pt x="2035" y="9172"/>
                  </a:cubicBezTo>
                  <a:lnTo>
                    <a:pt x="1422" y="9172"/>
                  </a:lnTo>
                  <a:cubicBezTo>
                    <a:pt x="1255" y="9172"/>
                    <a:pt x="1116" y="9032"/>
                    <a:pt x="1116" y="8865"/>
                  </a:cubicBezTo>
                  <a:lnTo>
                    <a:pt x="1116" y="7053"/>
                  </a:lnTo>
                  <a:cubicBezTo>
                    <a:pt x="1116" y="6858"/>
                    <a:pt x="976" y="6719"/>
                    <a:pt x="809" y="6719"/>
                  </a:cubicBezTo>
                  <a:cubicBezTo>
                    <a:pt x="642" y="6719"/>
                    <a:pt x="502" y="6579"/>
                    <a:pt x="502" y="6412"/>
                  </a:cubicBezTo>
                  <a:lnTo>
                    <a:pt x="502" y="4851"/>
                  </a:lnTo>
                  <a:cubicBezTo>
                    <a:pt x="502" y="4182"/>
                    <a:pt x="1060" y="3624"/>
                    <a:pt x="1701" y="3624"/>
                  </a:cubicBezTo>
                  <a:close/>
                  <a:moveTo>
                    <a:pt x="8391" y="3624"/>
                  </a:moveTo>
                  <a:cubicBezTo>
                    <a:pt x="9060" y="3624"/>
                    <a:pt x="9618" y="4182"/>
                    <a:pt x="9618" y="4851"/>
                  </a:cubicBezTo>
                  <a:lnTo>
                    <a:pt x="9618" y="6440"/>
                  </a:lnTo>
                  <a:lnTo>
                    <a:pt x="9645" y="6440"/>
                  </a:lnTo>
                  <a:cubicBezTo>
                    <a:pt x="9645" y="6635"/>
                    <a:pt x="9506" y="6774"/>
                    <a:pt x="9339" y="6774"/>
                  </a:cubicBezTo>
                  <a:cubicBezTo>
                    <a:pt x="9172" y="6774"/>
                    <a:pt x="9032" y="6914"/>
                    <a:pt x="9032" y="7081"/>
                  </a:cubicBezTo>
                  <a:lnTo>
                    <a:pt x="9032" y="8893"/>
                  </a:lnTo>
                  <a:cubicBezTo>
                    <a:pt x="9032" y="9060"/>
                    <a:pt x="8893" y="9199"/>
                    <a:pt x="8726" y="9199"/>
                  </a:cubicBezTo>
                  <a:lnTo>
                    <a:pt x="8112" y="9199"/>
                  </a:lnTo>
                  <a:cubicBezTo>
                    <a:pt x="7945" y="9199"/>
                    <a:pt x="7806" y="9060"/>
                    <a:pt x="7806" y="8893"/>
                  </a:cubicBezTo>
                  <a:lnTo>
                    <a:pt x="7806" y="7053"/>
                  </a:lnTo>
                  <a:cubicBezTo>
                    <a:pt x="7806" y="6858"/>
                    <a:pt x="7666" y="6719"/>
                    <a:pt x="7499" y="6719"/>
                  </a:cubicBezTo>
                  <a:cubicBezTo>
                    <a:pt x="7332" y="6719"/>
                    <a:pt x="7192" y="6579"/>
                    <a:pt x="7192" y="6412"/>
                  </a:cubicBezTo>
                  <a:lnTo>
                    <a:pt x="7192" y="4851"/>
                  </a:lnTo>
                  <a:cubicBezTo>
                    <a:pt x="7192" y="4182"/>
                    <a:pt x="7750" y="3624"/>
                    <a:pt x="8391" y="3624"/>
                  </a:cubicBezTo>
                  <a:close/>
                  <a:moveTo>
                    <a:pt x="5381" y="3095"/>
                  </a:moveTo>
                  <a:cubicBezTo>
                    <a:pt x="6077" y="3234"/>
                    <a:pt x="6635" y="3875"/>
                    <a:pt x="6635" y="4600"/>
                  </a:cubicBezTo>
                  <a:lnTo>
                    <a:pt x="6635" y="6440"/>
                  </a:lnTo>
                  <a:cubicBezTo>
                    <a:pt x="6663" y="6635"/>
                    <a:pt x="6523" y="6719"/>
                    <a:pt x="6356" y="6719"/>
                  </a:cubicBezTo>
                  <a:cubicBezTo>
                    <a:pt x="6161" y="6719"/>
                    <a:pt x="6022" y="6858"/>
                    <a:pt x="6022" y="7053"/>
                  </a:cubicBezTo>
                  <a:lnTo>
                    <a:pt x="6022" y="9478"/>
                  </a:lnTo>
                  <a:cubicBezTo>
                    <a:pt x="6022" y="9645"/>
                    <a:pt x="5882" y="9785"/>
                    <a:pt x="5715" y="9785"/>
                  </a:cubicBezTo>
                  <a:lnTo>
                    <a:pt x="4461" y="9785"/>
                  </a:lnTo>
                  <a:cubicBezTo>
                    <a:pt x="4293" y="9785"/>
                    <a:pt x="4154" y="9645"/>
                    <a:pt x="4154" y="9478"/>
                  </a:cubicBezTo>
                  <a:lnTo>
                    <a:pt x="4154" y="7053"/>
                  </a:lnTo>
                  <a:cubicBezTo>
                    <a:pt x="4154" y="6858"/>
                    <a:pt x="4015" y="6719"/>
                    <a:pt x="3847" y="6719"/>
                  </a:cubicBezTo>
                  <a:cubicBezTo>
                    <a:pt x="3652" y="6719"/>
                    <a:pt x="3513" y="6579"/>
                    <a:pt x="3513" y="6412"/>
                  </a:cubicBezTo>
                  <a:lnTo>
                    <a:pt x="3513" y="4851"/>
                  </a:lnTo>
                  <a:lnTo>
                    <a:pt x="3513" y="4600"/>
                  </a:lnTo>
                  <a:cubicBezTo>
                    <a:pt x="3513" y="3875"/>
                    <a:pt x="4043" y="3234"/>
                    <a:pt x="4739" y="3095"/>
                  </a:cubicBezTo>
                  <a:lnTo>
                    <a:pt x="4739" y="5185"/>
                  </a:lnTo>
                  <a:cubicBezTo>
                    <a:pt x="4739" y="5381"/>
                    <a:pt x="4879" y="5520"/>
                    <a:pt x="5046" y="5520"/>
                  </a:cubicBezTo>
                  <a:cubicBezTo>
                    <a:pt x="5241" y="5520"/>
                    <a:pt x="5381" y="5381"/>
                    <a:pt x="5381" y="5185"/>
                  </a:cubicBezTo>
                  <a:lnTo>
                    <a:pt x="5381" y="3095"/>
                  </a:lnTo>
                  <a:close/>
                  <a:moveTo>
                    <a:pt x="5130" y="1"/>
                  </a:moveTo>
                  <a:cubicBezTo>
                    <a:pt x="4293" y="1"/>
                    <a:pt x="3624" y="670"/>
                    <a:pt x="3624" y="1506"/>
                  </a:cubicBezTo>
                  <a:cubicBezTo>
                    <a:pt x="3624" y="1952"/>
                    <a:pt x="3847" y="2370"/>
                    <a:pt x="4154" y="2649"/>
                  </a:cubicBezTo>
                  <a:cubicBezTo>
                    <a:pt x="3736" y="2872"/>
                    <a:pt x="3373" y="3234"/>
                    <a:pt x="3206" y="3652"/>
                  </a:cubicBezTo>
                  <a:cubicBezTo>
                    <a:pt x="3067" y="3485"/>
                    <a:pt x="2900" y="3346"/>
                    <a:pt x="2677" y="3234"/>
                  </a:cubicBezTo>
                  <a:cubicBezTo>
                    <a:pt x="2900" y="3039"/>
                    <a:pt x="3039" y="2732"/>
                    <a:pt x="3039" y="2398"/>
                  </a:cubicBezTo>
                  <a:cubicBezTo>
                    <a:pt x="3039" y="1757"/>
                    <a:pt x="2481" y="1199"/>
                    <a:pt x="1812" y="1199"/>
                  </a:cubicBezTo>
                  <a:cubicBezTo>
                    <a:pt x="1143" y="1199"/>
                    <a:pt x="586" y="1757"/>
                    <a:pt x="586" y="2398"/>
                  </a:cubicBezTo>
                  <a:cubicBezTo>
                    <a:pt x="586" y="2732"/>
                    <a:pt x="725" y="3039"/>
                    <a:pt x="948" y="3234"/>
                  </a:cubicBezTo>
                  <a:cubicBezTo>
                    <a:pt x="391" y="3569"/>
                    <a:pt x="1" y="4154"/>
                    <a:pt x="1" y="4851"/>
                  </a:cubicBezTo>
                  <a:lnTo>
                    <a:pt x="1" y="6412"/>
                  </a:lnTo>
                  <a:cubicBezTo>
                    <a:pt x="1" y="6802"/>
                    <a:pt x="251" y="7137"/>
                    <a:pt x="586" y="7276"/>
                  </a:cubicBezTo>
                  <a:lnTo>
                    <a:pt x="586" y="8865"/>
                  </a:lnTo>
                  <a:cubicBezTo>
                    <a:pt x="586" y="9339"/>
                    <a:pt x="1004" y="9757"/>
                    <a:pt x="1506" y="9757"/>
                  </a:cubicBezTo>
                  <a:lnTo>
                    <a:pt x="2091" y="9757"/>
                  </a:lnTo>
                  <a:cubicBezTo>
                    <a:pt x="2593" y="9757"/>
                    <a:pt x="3011" y="9339"/>
                    <a:pt x="3011" y="8865"/>
                  </a:cubicBezTo>
                  <a:lnTo>
                    <a:pt x="3011" y="7276"/>
                  </a:lnTo>
                  <a:cubicBezTo>
                    <a:pt x="3095" y="7248"/>
                    <a:pt x="3206" y="7192"/>
                    <a:pt x="3318" y="7109"/>
                  </a:cubicBezTo>
                  <a:cubicBezTo>
                    <a:pt x="3429" y="7192"/>
                    <a:pt x="3485" y="7248"/>
                    <a:pt x="3624" y="7276"/>
                  </a:cubicBezTo>
                  <a:lnTo>
                    <a:pt x="3624" y="9450"/>
                  </a:lnTo>
                  <a:cubicBezTo>
                    <a:pt x="3624" y="9924"/>
                    <a:pt x="4043" y="10342"/>
                    <a:pt x="4544" y="10342"/>
                  </a:cubicBezTo>
                  <a:lnTo>
                    <a:pt x="5799" y="10342"/>
                  </a:lnTo>
                  <a:cubicBezTo>
                    <a:pt x="6273" y="10342"/>
                    <a:pt x="6691" y="9924"/>
                    <a:pt x="6691" y="9450"/>
                  </a:cubicBezTo>
                  <a:lnTo>
                    <a:pt x="6691" y="7276"/>
                  </a:lnTo>
                  <a:cubicBezTo>
                    <a:pt x="6802" y="7248"/>
                    <a:pt x="6914" y="7192"/>
                    <a:pt x="6997" y="7109"/>
                  </a:cubicBezTo>
                  <a:cubicBezTo>
                    <a:pt x="7109" y="7192"/>
                    <a:pt x="7192" y="7248"/>
                    <a:pt x="7332" y="7276"/>
                  </a:cubicBezTo>
                  <a:lnTo>
                    <a:pt x="7332" y="8865"/>
                  </a:lnTo>
                  <a:cubicBezTo>
                    <a:pt x="7332" y="9339"/>
                    <a:pt x="7750" y="9757"/>
                    <a:pt x="8224" y="9757"/>
                  </a:cubicBezTo>
                  <a:lnTo>
                    <a:pt x="8809" y="9757"/>
                  </a:lnTo>
                  <a:cubicBezTo>
                    <a:pt x="9311" y="9757"/>
                    <a:pt x="9729" y="9339"/>
                    <a:pt x="9729" y="8865"/>
                  </a:cubicBezTo>
                  <a:lnTo>
                    <a:pt x="9729" y="7276"/>
                  </a:lnTo>
                  <a:cubicBezTo>
                    <a:pt x="10064" y="7137"/>
                    <a:pt x="10314" y="6830"/>
                    <a:pt x="10314" y="6412"/>
                  </a:cubicBezTo>
                  <a:lnTo>
                    <a:pt x="10314" y="4851"/>
                  </a:lnTo>
                  <a:cubicBezTo>
                    <a:pt x="10287" y="4210"/>
                    <a:pt x="9896" y="3596"/>
                    <a:pt x="9339" y="3318"/>
                  </a:cubicBezTo>
                  <a:cubicBezTo>
                    <a:pt x="9562" y="3095"/>
                    <a:pt x="9701" y="2788"/>
                    <a:pt x="9701" y="2481"/>
                  </a:cubicBezTo>
                  <a:cubicBezTo>
                    <a:pt x="9701" y="1812"/>
                    <a:pt x="9144" y="1255"/>
                    <a:pt x="8475" y="1255"/>
                  </a:cubicBezTo>
                  <a:cubicBezTo>
                    <a:pt x="7806" y="1255"/>
                    <a:pt x="7248" y="1812"/>
                    <a:pt x="7248" y="2481"/>
                  </a:cubicBezTo>
                  <a:cubicBezTo>
                    <a:pt x="7248" y="2788"/>
                    <a:pt x="7388" y="3095"/>
                    <a:pt x="7611" y="3318"/>
                  </a:cubicBezTo>
                  <a:cubicBezTo>
                    <a:pt x="7388" y="3429"/>
                    <a:pt x="7220" y="3569"/>
                    <a:pt x="7081" y="3736"/>
                  </a:cubicBezTo>
                  <a:cubicBezTo>
                    <a:pt x="6969" y="3485"/>
                    <a:pt x="6802" y="3290"/>
                    <a:pt x="6635" y="3067"/>
                  </a:cubicBezTo>
                  <a:cubicBezTo>
                    <a:pt x="6496" y="2927"/>
                    <a:pt x="6300" y="2788"/>
                    <a:pt x="6105" y="2677"/>
                  </a:cubicBezTo>
                  <a:cubicBezTo>
                    <a:pt x="6440" y="2370"/>
                    <a:pt x="6663" y="1952"/>
                    <a:pt x="6663" y="1534"/>
                  </a:cubicBezTo>
                  <a:cubicBezTo>
                    <a:pt x="6663" y="1116"/>
                    <a:pt x="6496" y="725"/>
                    <a:pt x="6217" y="447"/>
                  </a:cubicBezTo>
                  <a:cubicBezTo>
                    <a:pt x="5938" y="168"/>
                    <a:pt x="5520" y="1"/>
                    <a:pt x="513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cxnSp>
          <p:nvCxnSpPr>
            <p:cNvPr id="844" name="Google Shape;844;p74"/>
            <p:cNvCxnSpPr/>
            <p:nvPr/>
          </p:nvCxnSpPr>
          <p:spPr>
            <a:xfrm>
              <a:off x="5025375" y="2138169"/>
              <a:ext cx="1412400" cy="0"/>
            </a:xfrm>
            <a:prstGeom prst="straightConnector1">
              <a:avLst/>
            </a:prstGeom>
            <a:noFill/>
            <a:ln w="1905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45" name="Google Shape;845;p74"/>
            <p:cNvSpPr txBox="1"/>
            <p:nvPr/>
          </p:nvSpPr>
          <p:spPr>
            <a:xfrm>
              <a:off x="5343371" y="1848075"/>
              <a:ext cx="1094400" cy="29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6367" rIns="0" bIns="0" anchor="t" anchorCtr="0">
              <a:noAutofit/>
            </a:bodyPr>
            <a:lstStyle/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en" sz="2133" b="1" dirty="0">
                  <a:solidFill>
                    <a:schemeClr val="dk1"/>
                  </a:solidFill>
                  <a:latin typeface="Josefin Sans"/>
                  <a:ea typeface="Josefin Sans"/>
                  <a:cs typeface="Josefin Sans"/>
                  <a:sym typeface="Josefin Sans"/>
                </a:rPr>
                <a:t>M</a:t>
              </a:r>
              <a:r>
                <a:rPr lang="de-DE" sz="2133" b="1" dirty="0">
                  <a:solidFill>
                    <a:schemeClr val="dk1"/>
                  </a:solidFill>
                  <a:latin typeface="Josefin Sans"/>
                  <a:ea typeface="Josefin Sans"/>
                  <a:cs typeface="Josefin Sans"/>
                  <a:sym typeface="Josefin Sans"/>
                </a:rPr>
                <a:t>elanin</a:t>
              </a:r>
              <a:endParaRPr sz="2133" b="1" dirty="0">
                <a:solidFill>
                  <a:schemeClr val="dk1"/>
                </a:solidFill>
                <a:latin typeface="Josefin Sans"/>
                <a:ea typeface="Josefin Sans"/>
                <a:cs typeface="Josefin Sans"/>
                <a:sym typeface="Josefin Sans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46" name="Google Shape;846;p74"/>
                <p:cNvSpPr txBox="1"/>
                <p:nvPr/>
              </p:nvSpPr>
              <p:spPr>
                <a:xfrm>
                  <a:off x="5025375" y="2206700"/>
                  <a:ext cx="1412400" cy="526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6367" rIns="0" bIns="0" anchor="t" anchorCtr="0">
                  <a:noAutofit/>
                </a:bodyPr>
                <a:lstStyle/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de-DE" sz="1600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Δ</m:t>
                        </m:r>
                        <m:sSub>
                          <m:sSubPr>
                            <m:ctrlPr>
                              <a:rPr lang="de-DE" sz="1600" i="1" dirty="0" smtClean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</m:ctrlPr>
                          </m:sSubPr>
                          <m:e>
                            <m:r>
                              <a:rPr lang="de-D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600" b="0" i="1" dirty="0" smtClean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1</m:t>
                            </m:r>
                          </m:sub>
                        </m:sSub>
                        <m:r>
                          <a:rPr lang="de-DE" sz="1600" b="0" i="1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=56 </m:t>
                        </m:r>
                      </m:oMath>
                    </m:oMathPara>
                  </a14:m>
                  <a:endParaRPr lang="de-DE" sz="1600" b="0" dirty="0">
                    <a:solidFill>
                      <a:schemeClr val="dk1"/>
                    </a:solidFill>
                    <a:latin typeface="Josefin Slab"/>
                    <a:sym typeface="Josefin Slab"/>
                  </a:endParaRPr>
                </a:p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1600" dirty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Δ</m:t>
                        </m:r>
                        <m:sSub>
                          <m:sSubPr>
                            <m:ctrlPr>
                              <a:rPr lang="ar-AE" sz="1600" i="1" dirty="0" smtClean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</m:ctrlPr>
                          </m:sSubPr>
                          <m:e>
                            <m:r>
                              <a:rPr lang="ar-A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600" b="0" i="1" dirty="0" smtClean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2</m:t>
                            </m:r>
                          </m:sub>
                        </m:sSub>
                        <m:r>
                          <a:rPr lang="ar-AE" sz="1600" i="1" dirty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=</m:t>
                        </m:r>
                        <m:r>
                          <a:rPr lang="de-DE" sz="1600" b="0" i="1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101</m:t>
                        </m:r>
                      </m:oMath>
                    </m:oMathPara>
                  </a14:m>
                  <a:endParaRPr lang="ar-AE" sz="1600" dirty="0">
                    <a:solidFill>
                      <a:schemeClr val="dk1"/>
                    </a:solidFill>
                    <a:latin typeface="Josefin Slab"/>
                    <a:ea typeface="Josefin Slab"/>
                    <a:cs typeface="Josefin Slab"/>
                    <a:sym typeface="Josefin Slab"/>
                  </a:endParaRPr>
                </a:p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:endParaRPr sz="1600" dirty="0">
                    <a:solidFill>
                      <a:schemeClr val="dk1"/>
                    </a:solidFill>
                    <a:latin typeface="Josefin Slab"/>
                    <a:ea typeface="Josefin Slab"/>
                    <a:cs typeface="Josefin Slab"/>
                    <a:sym typeface="Josefin Slab"/>
                  </a:endParaRPr>
                </a:p>
              </p:txBody>
            </p:sp>
          </mc:Choice>
          <mc:Fallback>
            <p:sp>
              <p:nvSpPr>
                <p:cNvPr id="846" name="Google Shape;846;p7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5375" y="2206700"/>
                  <a:ext cx="1412400" cy="526800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47" name="Google Shape;847;p74"/>
          <p:cNvGrpSpPr/>
          <p:nvPr/>
        </p:nvGrpSpPr>
        <p:grpSpPr>
          <a:xfrm>
            <a:off x="9001035" y="2168533"/>
            <a:ext cx="2404000" cy="1555200"/>
            <a:chOff x="6750776" y="1626400"/>
            <a:chExt cx="1803000" cy="1166400"/>
          </a:xfrm>
        </p:grpSpPr>
        <p:sp>
          <p:nvSpPr>
            <p:cNvPr id="848" name="Google Shape;848;p74"/>
            <p:cNvSpPr/>
            <p:nvPr/>
          </p:nvSpPr>
          <p:spPr>
            <a:xfrm>
              <a:off x="6750776" y="1626400"/>
              <a:ext cx="1803000" cy="11664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sp>
          <p:nvSpPr>
            <p:cNvPr id="849" name="Google Shape;849;p74"/>
            <p:cNvSpPr/>
            <p:nvPr/>
          </p:nvSpPr>
          <p:spPr>
            <a:xfrm>
              <a:off x="6956668" y="1812875"/>
              <a:ext cx="256018" cy="256739"/>
            </a:xfrm>
            <a:custGeom>
              <a:avLst/>
              <a:gdLst/>
              <a:ahLst/>
              <a:cxnLst/>
              <a:rect l="l" t="t" r="r" b="b"/>
              <a:pathLst>
                <a:path w="10315" h="10343" extrusionOk="0">
                  <a:moveTo>
                    <a:pt x="5102" y="670"/>
                  </a:moveTo>
                  <a:cubicBezTo>
                    <a:pt x="5604" y="670"/>
                    <a:pt x="6022" y="1088"/>
                    <a:pt x="6022" y="1562"/>
                  </a:cubicBezTo>
                  <a:cubicBezTo>
                    <a:pt x="6022" y="2063"/>
                    <a:pt x="5604" y="2481"/>
                    <a:pt x="5102" y="2481"/>
                  </a:cubicBezTo>
                  <a:cubicBezTo>
                    <a:pt x="4600" y="2481"/>
                    <a:pt x="4182" y="2063"/>
                    <a:pt x="4182" y="1562"/>
                  </a:cubicBezTo>
                  <a:cubicBezTo>
                    <a:pt x="4182" y="1088"/>
                    <a:pt x="4600" y="670"/>
                    <a:pt x="5102" y="670"/>
                  </a:cubicBezTo>
                  <a:close/>
                  <a:moveTo>
                    <a:pt x="1757" y="1896"/>
                  </a:moveTo>
                  <a:cubicBezTo>
                    <a:pt x="2063" y="1896"/>
                    <a:pt x="2342" y="2175"/>
                    <a:pt x="2342" y="2481"/>
                  </a:cubicBezTo>
                  <a:cubicBezTo>
                    <a:pt x="2342" y="2788"/>
                    <a:pt x="2063" y="3067"/>
                    <a:pt x="1757" y="3067"/>
                  </a:cubicBezTo>
                  <a:cubicBezTo>
                    <a:pt x="1422" y="3067"/>
                    <a:pt x="1143" y="2788"/>
                    <a:pt x="1143" y="2481"/>
                  </a:cubicBezTo>
                  <a:cubicBezTo>
                    <a:pt x="1143" y="2119"/>
                    <a:pt x="1422" y="1896"/>
                    <a:pt x="1757" y="1896"/>
                  </a:cubicBezTo>
                  <a:close/>
                  <a:moveTo>
                    <a:pt x="8447" y="1896"/>
                  </a:moveTo>
                  <a:cubicBezTo>
                    <a:pt x="8781" y="1896"/>
                    <a:pt x="9032" y="2175"/>
                    <a:pt x="9032" y="2481"/>
                  </a:cubicBezTo>
                  <a:cubicBezTo>
                    <a:pt x="9032" y="2788"/>
                    <a:pt x="8753" y="3067"/>
                    <a:pt x="8447" y="3067"/>
                  </a:cubicBezTo>
                  <a:cubicBezTo>
                    <a:pt x="8112" y="3067"/>
                    <a:pt x="7834" y="2788"/>
                    <a:pt x="7834" y="2481"/>
                  </a:cubicBezTo>
                  <a:cubicBezTo>
                    <a:pt x="7834" y="2119"/>
                    <a:pt x="8112" y="1896"/>
                    <a:pt x="8447" y="1896"/>
                  </a:cubicBezTo>
                  <a:close/>
                  <a:moveTo>
                    <a:pt x="1701" y="3624"/>
                  </a:moveTo>
                  <a:cubicBezTo>
                    <a:pt x="2370" y="3624"/>
                    <a:pt x="2927" y="4182"/>
                    <a:pt x="2927" y="4851"/>
                  </a:cubicBezTo>
                  <a:lnTo>
                    <a:pt x="2927" y="6412"/>
                  </a:lnTo>
                  <a:cubicBezTo>
                    <a:pt x="2955" y="6635"/>
                    <a:pt x="2816" y="6719"/>
                    <a:pt x="2649" y="6719"/>
                  </a:cubicBezTo>
                  <a:cubicBezTo>
                    <a:pt x="2481" y="6719"/>
                    <a:pt x="2342" y="6858"/>
                    <a:pt x="2342" y="7053"/>
                  </a:cubicBezTo>
                  <a:lnTo>
                    <a:pt x="2342" y="8865"/>
                  </a:lnTo>
                  <a:cubicBezTo>
                    <a:pt x="2342" y="9032"/>
                    <a:pt x="2203" y="9172"/>
                    <a:pt x="2035" y="9172"/>
                  </a:cubicBezTo>
                  <a:lnTo>
                    <a:pt x="1422" y="9172"/>
                  </a:lnTo>
                  <a:cubicBezTo>
                    <a:pt x="1255" y="9172"/>
                    <a:pt x="1116" y="9032"/>
                    <a:pt x="1116" y="8865"/>
                  </a:cubicBezTo>
                  <a:lnTo>
                    <a:pt x="1116" y="7053"/>
                  </a:lnTo>
                  <a:cubicBezTo>
                    <a:pt x="1116" y="6858"/>
                    <a:pt x="976" y="6719"/>
                    <a:pt x="809" y="6719"/>
                  </a:cubicBezTo>
                  <a:cubicBezTo>
                    <a:pt x="642" y="6719"/>
                    <a:pt x="502" y="6579"/>
                    <a:pt x="502" y="6412"/>
                  </a:cubicBezTo>
                  <a:lnTo>
                    <a:pt x="502" y="4851"/>
                  </a:lnTo>
                  <a:cubicBezTo>
                    <a:pt x="502" y="4182"/>
                    <a:pt x="1060" y="3624"/>
                    <a:pt x="1701" y="3624"/>
                  </a:cubicBezTo>
                  <a:close/>
                  <a:moveTo>
                    <a:pt x="8391" y="3624"/>
                  </a:moveTo>
                  <a:cubicBezTo>
                    <a:pt x="9060" y="3624"/>
                    <a:pt x="9618" y="4182"/>
                    <a:pt x="9618" y="4851"/>
                  </a:cubicBezTo>
                  <a:lnTo>
                    <a:pt x="9618" y="6440"/>
                  </a:lnTo>
                  <a:lnTo>
                    <a:pt x="9645" y="6440"/>
                  </a:lnTo>
                  <a:cubicBezTo>
                    <a:pt x="9645" y="6635"/>
                    <a:pt x="9506" y="6774"/>
                    <a:pt x="9339" y="6774"/>
                  </a:cubicBezTo>
                  <a:cubicBezTo>
                    <a:pt x="9172" y="6774"/>
                    <a:pt x="9032" y="6914"/>
                    <a:pt x="9032" y="7081"/>
                  </a:cubicBezTo>
                  <a:lnTo>
                    <a:pt x="9032" y="8893"/>
                  </a:lnTo>
                  <a:cubicBezTo>
                    <a:pt x="9032" y="9060"/>
                    <a:pt x="8893" y="9199"/>
                    <a:pt x="8726" y="9199"/>
                  </a:cubicBezTo>
                  <a:lnTo>
                    <a:pt x="8112" y="9199"/>
                  </a:lnTo>
                  <a:cubicBezTo>
                    <a:pt x="7945" y="9199"/>
                    <a:pt x="7806" y="9060"/>
                    <a:pt x="7806" y="8893"/>
                  </a:cubicBezTo>
                  <a:lnTo>
                    <a:pt x="7806" y="7053"/>
                  </a:lnTo>
                  <a:cubicBezTo>
                    <a:pt x="7806" y="6858"/>
                    <a:pt x="7666" y="6719"/>
                    <a:pt x="7499" y="6719"/>
                  </a:cubicBezTo>
                  <a:cubicBezTo>
                    <a:pt x="7332" y="6719"/>
                    <a:pt x="7192" y="6579"/>
                    <a:pt x="7192" y="6412"/>
                  </a:cubicBezTo>
                  <a:lnTo>
                    <a:pt x="7192" y="4851"/>
                  </a:lnTo>
                  <a:cubicBezTo>
                    <a:pt x="7192" y="4182"/>
                    <a:pt x="7750" y="3624"/>
                    <a:pt x="8391" y="3624"/>
                  </a:cubicBezTo>
                  <a:close/>
                  <a:moveTo>
                    <a:pt x="5381" y="3095"/>
                  </a:moveTo>
                  <a:cubicBezTo>
                    <a:pt x="6077" y="3234"/>
                    <a:pt x="6635" y="3875"/>
                    <a:pt x="6635" y="4600"/>
                  </a:cubicBezTo>
                  <a:lnTo>
                    <a:pt x="6635" y="6440"/>
                  </a:lnTo>
                  <a:cubicBezTo>
                    <a:pt x="6663" y="6635"/>
                    <a:pt x="6523" y="6719"/>
                    <a:pt x="6356" y="6719"/>
                  </a:cubicBezTo>
                  <a:cubicBezTo>
                    <a:pt x="6161" y="6719"/>
                    <a:pt x="6022" y="6858"/>
                    <a:pt x="6022" y="7053"/>
                  </a:cubicBezTo>
                  <a:lnTo>
                    <a:pt x="6022" y="9478"/>
                  </a:lnTo>
                  <a:cubicBezTo>
                    <a:pt x="6022" y="9645"/>
                    <a:pt x="5882" y="9785"/>
                    <a:pt x="5715" y="9785"/>
                  </a:cubicBezTo>
                  <a:lnTo>
                    <a:pt x="4461" y="9785"/>
                  </a:lnTo>
                  <a:cubicBezTo>
                    <a:pt x="4293" y="9785"/>
                    <a:pt x="4154" y="9645"/>
                    <a:pt x="4154" y="9478"/>
                  </a:cubicBezTo>
                  <a:lnTo>
                    <a:pt x="4154" y="7053"/>
                  </a:lnTo>
                  <a:cubicBezTo>
                    <a:pt x="4154" y="6858"/>
                    <a:pt x="4015" y="6719"/>
                    <a:pt x="3847" y="6719"/>
                  </a:cubicBezTo>
                  <a:cubicBezTo>
                    <a:pt x="3652" y="6719"/>
                    <a:pt x="3513" y="6579"/>
                    <a:pt x="3513" y="6412"/>
                  </a:cubicBezTo>
                  <a:lnTo>
                    <a:pt x="3513" y="4851"/>
                  </a:lnTo>
                  <a:lnTo>
                    <a:pt x="3513" y="4600"/>
                  </a:lnTo>
                  <a:cubicBezTo>
                    <a:pt x="3513" y="3875"/>
                    <a:pt x="4043" y="3234"/>
                    <a:pt x="4739" y="3095"/>
                  </a:cubicBezTo>
                  <a:lnTo>
                    <a:pt x="4739" y="5185"/>
                  </a:lnTo>
                  <a:cubicBezTo>
                    <a:pt x="4739" y="5381"/>
                    <a:pt x="4879" y="5520"/>
                    <a:pt x="5046" y="5520"/>
                  </a:cubicBezTo>
                  <a:cubicBezTo>
                    <a:pt x="5241" y="5520"/>
                    <a:pt x="5381" y="5381"/>
                    <a:pt x="5381" y="5185"/>
                  </a:cubicBezTo>
                  <a:lnTo>
                    <a:pt x="5381" y="3095"/>
                  </a:lnTo>
                  <a:close/>
                  <a:moveTo>
                    <a:pt x="5130" y="1"/>
                  </a:moveTo>
                  <a:cubicBezTo>
                    <a:pt x="4293" y="1"/>
                    <a:pt x="3624" y="670"/>
                    <a:pt x="3624" y="1506"/>
                  </a:cubicBezTo>
                  <a:cubicBezTo>
                    <a:pt x="3624" y="1952"/>
                    <a:pt x="3847" y="2370"/>
                    <a:pt x="4154" y="2649"/>
                  </a:cubicBezTo>
                  <a:cubicBezTo>
                    <a:pt x="3736" y="2872"/>
                    <a:pt x="3373" y="3234"/>
                    <a:pt x="3206" y="3652"/>
                  </a:cubicBezTo>
                  <a:cubicBezTo>
                    <a:pt x="3067" y="3485"/>
                    <a:pt x="2900" y="3346"/>
                    <a:pt x="2677" y="3234"/>
                  </a:cubicBezTo>
                  <a:cubicBezTo>
                    <a:pt x="2900" y="3039"/>
                    <a:pt x="3039" y="2732"/>
                    <a:pt x="3039" y="2398"/>
                  </a:cubicBezTo>
                  <a:cubicBezTo>
                    <a:pt x="3039" y="1757"/>
                    <a:pt x="2481" y="1199"/>
                    <a:pt x="1812" y="1199"/>
                  </a:cubicBezTo>
                  <a:cubicBezTo>
                    <a:pt x="1143" y="1199"/>
                    <a:pt x="586" y="1757"/>
                    <a:pt x="586" y="2398"/>
                  </a:cubicBezTo>
                  <a:cubicBezTo>
                    <a:pt x="586" y="2732"/>
                    <a:pt x="725" y="3039"/>
                    <a:pt x="948" y="3234"/>
                  </a:cubicBezTo>
                  <a:cubicBezTo>
                    <a:pt x="391" y="3569"/>
                    <a:pt x="1" y="4154"/>
                    <a:pt x="1" y="4851"/>
                  </a:cubicBezTo>
                  <a:lnTo>
                    <a:pt x="1" y="6412"/>
                  </a:lnTo>
                  <a:cubicBezTo>
                    <a:pt x="1" y="6802"/>
                    <a:pt x="251" y="7137"/>
                    <a:pt x="586" y="7276"/>
                  </a:cubicBezTo>
                  <a:lnTo>
                    <a:pt x="586" y="8865"/>
                  </a:lnTo>
                  <a:cubicBezTo>
                    <a:pt x="586" y="9339"/>
                    <a:pt x="1004" y="9757"/>
                    <a:pt x="1506" y="9757"/>
                  </a:cubicBezTo>
                  <a:lnTo>
                    <a:pt x="2091" y="9757"/>
                  </a:lnTo>
                  <a:cubicBezTo>
                    <a:pt x="2593" y="9757"/>
                    <a:pt x="3011" y="9339"/>
                    <a:pt x="3011" y="8865"/>
                  </a:cubicBezTo>
                  <a:lnTo>
                    <a:pt x="3011" y="7276"/>
                  </a:lnTo>
                  <a:cubicBezTo>
                    <a:pt x="3095" y="7248"/>
                    <a:pt x="3206" y="7192"/>
                    <a:pt x="3318" y="7109"/>
                  </a:cubicBezTo>
                  <a:cubicBezTo>
                    <a:pt x="3429" y="7192"/>
                    <a:pt x="3485" y="7248"/>
                    <a:pt x="3624" y="7276"/>
                  </a:cubicBezTo>
                  <a:lnTo>
                    <a:pt x="3624" y="9450"/>
                  </a:lnTo>
                  <a:cubicBezTo>
                    <a:pt x="3624" y="9924"/>
                    <a:pt x="4043" y="10342"/>
                    <a:pt x="4544" y="10342"/>
                  </a:cubicBezTo>
                  <a:lnTo>
                    <a:pt x="5799" y="10342"/>
                  </a:lnTo>
                  <a:cubicBezTo>
                    <a:pt x="6273" y="10342"/>
                    <a:pt x="6691" y="9924"/>
                    <a:pt x="6691" y="9450"/>
                  </a:cubicBezTo>
                  <a:lnTo>
                    <a:pt x="6691" y="7276"/>
                  </a:lnTo>
                  <a:cubicBezTo>
                    <a:pt x="6802" y="7248"/>
                    <a:pt x="6914" y="7192"/>
                    <a:pt x="6997" y="7109"/>
                  </a:cubicBezTo>
                  <a:cubicBezTo>
                    <a:pt x="7109" y="7192"/>
                    <a:pt x="7192" y="7248"/>
                    <a:pt x="7332" y="7276"/>
                  </a:cubicBezTo>
                  <a:lnTo>
                    <a:pt x="7332" y="8865"/>
                  </a:lnTo>
                  <a:cubicBezTo>
                    <a:pt x="7332" y="9339"/>
                    <a:pt x="7750" y="9757"/>
                    <a:pt x="8224" y="9757"/>
                  </a:cubicBezTo>
                  <a:lnTo>
                    <a:pt x="8809" y="9757"/>
                  </a:lnTo>
                  <a:cubicBezTo>
                    <a:pt x="9311" y="9757"/>
                    <a:pt x="9729" y="9339"/>
                    <a:pt x="9729" y="8865"/>
                  </a:cubicBezTo>
                  <a:lnTo>
                    <a:pt x="9729" y="7276"/>
                  </a:lnTo>
                  <a:cubicBezTo>
                    <a:pt x="10064" y="7137"/>
                    <a:pt x="10314" y="6830"/>
                    <a:pt x="10314" y="6412"/>
                  </a:cubicBezTo>
                  <a:lnTo>
                    <a:pt x="10314" y="4851"/>
                  </a:lnTo>
                  <a:cubicBezTo>
                    <a:pt x="10287" y="4210"/>
                    <a:pt x="9896" y="3596"/>
                    <a:pt x="9339" y="3318"/>
                  </a:cubicBezTo>
                  <a:cubicBezTo>
                    <a:pt x="9562" y="3095"/>
                    <a:pt x="9701" y="2788"/>
                    <a:pt x="9701" y="2481"/>
                  </a:cubicBezTo>
                  <a:cubicBezTo>
                    <a:pt x="9701" y="1812"/>
                    <a:pt x="9144" y="1255"/>
                    <a:pt x="8475" y="1255"/>
                  </a:cubicBezTo>
                  <a:cubicBezTo>
                    <a:pt x="7806" y="1255"/>
                    <a:pt x="7248" y="1812"/>
                    <a:pt x="7248" y="2481"/>
                  </a:cubicBezTo>
                  <a:cubicBezTo>
                    <a:pt x="7248" y="2788"/>
                    <a:pt x="7388" y="3095"/>
                    <a:pt x="7611" y="3318"/>
                  </a:cubicBezTo>
                  <a:cubicBezTo>
                    <a:pt x="7388" y="3429"/>
                    <a:pt x="7220" y="3569"/>
                    <a:pt x="7081" y="3736"/>
                  </a:cubicBezTo>
                  <a:cubicBezTo>
                    <a:pt x="6969" y="3485"/>
                    <a:pt x="6802" y="3290"/>
                    <a:pt x="6635" y="3067"/>
                  </a:cubicBezTo>
                  <a:cubicBezTo>
                    <a:pt x="6496" y="2927"/>
                    <a:pt x="6300" y="2788"/>
                    <a:pt x="6105" y="2677"/>
                  </a:cubicBezTo>
                  <a:cubicBezTo>
                    <a:pt x="6440" y="2370"/>
                    <a:pt x="6663" y="1952"/>
                    <a:pt x="6663" y="1534"/>
                  </a:cubicBezTo>
                  <a:cubicBezTo>
                    <a:pt x="6663" y="1116"/>
                    <a:pt x="6496" y="725"/>
                    <a:pt x="6217" y="447"/>
                  </a:cubicBezTo>
                  <a:cubicBezTo>
                    <a:pt x="5938" y="168"/>
                    <a:pt x="5520" y="1"/>
                    <a:pt x="513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 sz="1867"/>
            </a:p>
          </p:txBody>
        </p:sp>
        <p:cxnSp>
          <p:nvCxnSpPr>
            <p:cNvPr id="850" name="Google Shape;850;p74"/>
            <p:cNvCxnSpPr/>
            <p:nvPr/>
          </p:nvCxnSpPr>
          <p:spPr>
            <a:xfrm>
              <a:off x="6956675" y="2138169"/>
              <a:ext cx="1412400" cy="0"/>
            </a:xfrm>
            <a:prstGeom prst="straightConnector1">
              <a:avLst/>
            </a:prstGeom>
            <a:noFill/>
            <a:ln w="1905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1" name="Google Shape;851;p74"/>
            <p:cNvSpPr txBox="1"/>
            <p:nvPr/>
          </p:nvSpPr>
          <p:spPr>
            <a:xfrm>
              <a:off x="7274671" y="1848075"/>
              <a:ext cx="1094400" cy="29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6367" rIns="0" bIns="0" anchor="t" anchorCtr="0">
              <a:noAutofit/>
            </a:bodyPr>
            <a:lstStyle/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de-DE" sz="2133" b="1" dirty="0">
                  <a:solidFill>
                    <a:schemeClr val="dk1"/>
                  </a:solidFill>
                  <a:latin typeface="Josefin Sans"/>
                  <a:ea typeface="Josefin Sans"/>
                  <a:cs typeface="Josefin Sans"/>
                  <a:sym typeface="Josefin Sans"/>
                </a:rPr>
                <a:t>BMI</a:t>
              </a:r>
              <a:endParaRPr sz="2133" b="1" dirty="0">
                <a:solidFill>
                  <a:schemeClr val="dk1"/>
                </a:solidFill>
                <a:latin typeface="Josefin Sans"/>
                <a:ea typeface="Josefin Sans"/>
                <a:cs typeface="Josefin Sans"/>
                <a:sym typeface="Josefin Sans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52" name="Google Shape;852;p74"/>
                <p:cNvSpPr txBox="1"/>
                <p:nvPr/>
              </p:nvSpPr>
              <p:spPr>
                <a:xfrm>
                  <a:off x="6956675" y="2206700"/>
                  <a:ext cx="1412400" cy="526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6367" rIns="0" bIns="0" anchor="t" anchorCtr="0">
                  <a:noAutofit/>
                </a:bodyPr>
                <a:lstStyle/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de-DE" sz="1600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Δ</m:t>
                        </m:r>
                        <m:sSub>
                          <m:sSubPr>
                            <m:ctrlPr>
                              <a:rPr lang="de-D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</m:ctrlPr>
                          </m:sSubPr>
                          <m:e>
                            <m:r>
                              <a:rPr lang="de-D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1</m:t>
                            </m:r>
                          </m:sub>
                        </m:sSub>
                        <m:r>
                          <a:rPr lang="de-DE" sz="1600" i="1" dirty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=</m:t>
                        </m:r>
                        <m:r>
                          <a:rPr lang="de-DE" sz="1600" b="0" i="1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34</m:t>
                        </m:r>
                      </m:oMath>
                    </m:oMathPara>
                  </a14:m>
                  <a:endParaRPr lang="de-DE" sz="1600" dirty="0">
                    <a:solidFill>
                      <a:schemeClr val="dk1"/>
                    </a:solidFill>
                    <a:latin typeface="Josefin Slab"/>
                    <a:sym typeface="Josefin Slab"/>
                  </a:endParaRPr>
                </a:p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1600" dirty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Δ</m:t>
                        </m:r>
                        <m:sSub>
                          <m:sSubPr>
                            <m:ctrlPr>
                              <a:rPr lang="ar-A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</m:ctrlPr>
                          </m:sSubPr>
                          <m:e>
                            <m:r>
                              <a:rPr lang="ar-A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𝜆</m:t>
                            </m:r>
                          </m:e>
                          <m:sub>
                            <m:r>
                              <a:rPr lang="de-DE" sz="1600" i="1" dirty="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sym typeface="Josefin Slab"/>
                              </a:rPr>
                              <m:t>2</m:t>
                            </m:r>
                          </m:sub>
                        </m:sSub>
                        <m:r>
                          <a:rPr lang="ar-AE" sz="1600" i="1" dirty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=</m:t>
                        </m:r>
                        <m:r>
                          <a:rPr lang="de-DE" sz="1600" b="0" i="1" dirty="0" smtClean="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sym typeface="Josefin Slab"/>
                          </a:rPr>
                          <m:t>58</m:t>
                        </m:r>
                      </m:oMath>
                    </m:oMathPara>
                  </a14:m>
                  <a:endParaRPr lang="ar-AE" sz="1600" dirty="0">
                    <a:solidFill>
                      <a:schemeClr val="dk1"/>
                    </a:solidFill>
                    <a:latin typeface="Josefin Slab"/>
                    <a:ea typeface="Josefin Slab"/>
                    <a:cs typeface="Josefin Slab"/>
                    <a:sym typeface="Josefin Slab"/>
                  </a:endParaRPr>
                </a:p>
                <a:p>
                  <a:pPr>
                    <a:spcBef>
                      <a:spcPts val="0"/>
                    </a:spcBef>
                    <a:spcAft>
                      <a:spcPts val="0"/>
                    </a:spcAft>
                  </a:pPr>
                  <a:endParaRPr sz="1600" dirty="0">
                    <a:solidFill>
                      <a:schemeClr val="dk1"/>
                    </a:solidFill>
                    <a:latin typeface="Josefin Slab"/>
                    <a:ea typeface="Josefin Slab"/>
                    <a:cs typeface="Josefin Slab"/>
                    <a:sym typeface="Josefin Slab"/>
                  </a:endParaRPr>
                </a:p>
              </p:txBody>
            </p:sp>
          </mc:Choice>
          <mc:Fallback>
            <p:sp>
              <p:nvSpPr>
                <p:cNvPr id="852" name="Google Shape;852;p7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6675" y="2206700"/>
                  <a:ext cx="1412400" cy="526800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53" name="Google Shape;853;p74"/>
          <p:cNvSpPr txBox="1">
            <a:spLocks noGrp="1"/>
          </p:cNvSpPr>
          <p:nvPr>
            <p:ph type="ctr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dirty="0"/>
              <a:t>PALS</a:t>
            </a:r>
            <a:r>
              <a:rPr lang="en-US" dirty="0"/>
              <a:t> : </a:t>
            </a:r>
            <a:r>
              <a:rPr lang="en-GB" dirty="0"/>
              <a:t>Proximity Ambient Light Sensor </a:t>
            </a:r>
            <a:br>
              <a:rPr lang="en-GB" dirty="0"/>
            </a:br>
            <a:r>
              <a:rPr lang="en" dirty="0">
                <a:solidFill>
                  <a:srgbClr val="000000"/>
                </a:solidFill>
                <a:latin typeface="Arial" panose="020B0604020202020204" pitchFamily="34" charset="0"/>
              </a:rPr>
              <a:t>Results Analysis – wrist mode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55" name="Google Shape;855;p74"/>
          <p:cNvSpPr txBox="1">
            <a:spLocks noGrp="1"/>
          </p:cNvSpPr>
          <p:nvPr>
            <p:ph type="sldNum" idx="2"/>
          </p:nvPr>
        </p:nvSpPr>
        <p:spPr>
          <a:xfrm>
            <a:off x="10516819" y="630845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en"/>
              <a:pPr algn="r">
                <a:spcBef>
                  <a:spcPts val="0"/>
                </a:spcBef>
                <a:spcAft>
                  <a:spcPts val="0"/>
                </a:spcAft>
              </a:pPr>
              <a:t>22</a:t>
            </a:fld>
            <a:endParaRPr/>
          </a:p>
        </p:txBody>
      </p:sp>
      <p:grpSp>
        <p:nvGrpSpPr>
          <p:cNvPr id="856" name="Google Shape;856;p74"/>
          <p:cNvGrpSpPr/>
          <p:nvPr/>
        </p:nvGrpSpPr>
        <p:grpSpPr>
          <a:xfrm>
            <a:off x="6425968" y="4001730"/>
            <a:ext cx="4979067" cy="1659518"/>
            <a:chOff x="5064581" y="3001299"/>
            <a:chExt cx="3233833" cy="1144925"/>
          </a:xfrm>
          <a:solidFill>
            <a:schemeClr val="bg2">
              <a:lumMod val="75000"/>
            </a:schemeClr>
          </a:solidFill>
        </p:grpSpPr>
        <p:sp>
          <p:nvSpPr>
            <p:cNvPr id="858" name="Google Shape;858;p74"/>
            <p:cNvSpPr txBox="1"/>
            <p:nvPr/>
          </p:nvSpPr>
          <p:spPr>
            <a:xfrm>
              <a:off x="5064581" y="3001299"/>
              <a:ext cx="3233833" cy="1144925"/>
            </a:xfrm>
            <a:prstGeom prst="rect">
              <a:avLst/>
            </a:prstGeom>
            <a:solidFill>
              <a:srgbClr val="BCB0B1"/>
            </a:solidFill>
            <a:ln>
              <a:noFill/>
            </a:ln>
          </p:spPr>
          <p:txBody>
            <a:bodyPr spcFirstLastPara="1" wrap="square" lIns="0" tIns="8467" rIns="0" bIns="0" anchor="ctr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de-DE" sz="2400" b="1" dirty="0">
                  <a:solidFill>
                    <a:schemeClr val="lt1"/>
                  </a:solidFill>
                  <a:latin typeface="Josefin Sans"/>
                  <a:ea typeface="Josefin Sans"/>
                  <a:cs typeface="Josefin Sans"/>
                  <a:sym typeface="Josefin Sans"/>
                </a:rPr>
                <a:t>How is the wavelength delta impacting the device accuracy ?</a:t>
              </a:r>
              <a:endParaRPr sz="2400" b="1" dirty="0">
                <a:solidFill>
                  <a:schemeClr val="lt1"/>
                </a:solidFill>
                <a:latin typeface="Josefin Slab"/>
                <a:ea typeface="Josefin Slab"/>
                <a:cs typeface="Josefin Slab"/>
                <a:sym typeface="Josefin Slab"/>
              </a:endParaRPr>
            </a:p>
          </p:txBody>
        </p:sp>
        <p:cxnSp>
          <p:nvCxnSpPr>
            <p:cNvPr id="860" name="Google Shape;860;p74"/>
            <p:cNvCxnSpPr/>
            <p:nvPr/>
          </p:nvCxnSpPr>
          <p:spPr>
            <a:xfrm>
              <a:off x="6673700" y="3311125"/>
              <a:ext cx="4800" cy="621300"/>
            </a:xfrm>
            <a:prstGeom prst="straightConnector1">
              <a:avLst/>
            </a:pr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25" name="Picture 4" descr="Partenaires | Board of European Students of Technology">
            <a:extLst>
              <a:ext uri="{FF2B5EF4-FFF2-40B4-BE49-F238E27FC236}">
                <a16:creationId xmlns:a16="http://schemas.microsoft.com/office/drawing/2014/main" id="{B8CDDAC7-FA86-4FFF-B468-89E36F3C6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ADBA94D-BD31-4CF4-BC2E-FF633CA1C2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541" y="1916967"/>
            <a:ext cx="5683651" cy="329579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74"/>
          <p:cNvSpPr txBox="1"/>
          <p:nvPr/>
        </p:nvSpPr>
        <p:spPr>
          <a:xfrm>
            <a:off x="1027635" y="5041100"/>
            <a:ext cx="4733600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467" rIns="0" bIns="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</a:pPr>
            <a:r>
              <a:rPr lang="en" sz="1600">
                <a:solidFill>
                  <a:schemeClr val="lt1"/>
                </a:solidFill>
                <a:latin typeface="Josefin Slab"/>
                <a:ea typeface="Josefin Slab"/>
                <a:cs typeface="Josefin Slab"/>
                <a:sym typeface="Josefin Slab"/>
              </a:rPr>
              <a:t>If you want to modify this graph, click on it, follow the link, change the data and replace it </a:t>
            </a:r>
            <a:endParaRPr sz="1600">
              <a:solidFill>
                <a:schemeClr val="lt1"/>
              </a:solidFill>
              <a:latin typeface="Josefin Slab"/>
              <a:ea typeface="Josefin Slab"/>
              <a:cs typeface="Josefin Slab"/>
              <a:sym typeface="Josefin Slab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sz="1200">
              <a:solidFill>
                <a:schemeClr val="lt1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  <p:sp>
        <p:nvSpPr>
          <p:cNvPr id="840" name="Google Shape;840;p74"/>
          <p:cNvSpPr txBox="1"/>
          <p:nvPr/>
        </p:nvSpPr>
        <p:spPr>
          <a:xfrm>
            <a:off x="2382012" y="1429767"/>
            <a:ext cx="1819600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467" rIns="0" bIns="0" anchor="t" anchorCtr="0">
            <a:noAutofit/>
          </a:bodyPr>
          <a:lstStyle/>
          <a:p>
            <a:pPr algn="ctr">
              <a:spcBef>
                <a:spcPts val="133"/>
              </a:spcBef>
              <a:spcAft>
                <a:spcPts val="0"/>
              </a:spcAft>
            </a:pPr>
            <a:r>
              <a:rPr lang="en" sz="2133" b="1">
                <a:solidFill>
                  <a:schemeClr val="lt1"/>
                </a:solidFill>
                <a:latin typeface="Josefin Sans"/>
                <a:ea typeface="Josefin Sans"/>
                <a:cs typeface="Josefin Sans"/>
                <a:sym typeface="Josefin Sans"/>
              </a:rPr>
              <a:t>Statistics</a:t>
            </a:r>
            <a:endParaRPr sz="2133" b="1">
              <a:solidFill>
                <a:schemeClr val="lt1"/>
              </a:solidFill>
              <a:latin typeface="Josefin Sans"/>
              <a:ea typeface="Josefin Sans"/>
              <a:cs typeface="Josefin Sans"/>
              <a:sym typeface="Josefin Sans"/>
            </a:endParaRPr>
          </a:p>
        </p:txBody>
      </p:sp>
      <p:sp>
        <p:nvSpPr>
          <p:cNvPr id="853" name="Google Shape;853;p74"/>
          <p:cNvSpPr txBox="1">
            <a:spLocks noGrp="1"/>
          </p:cNvSpPr>
          <p:nvPr>
            <p:ph type="ctr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  <a:solidFill>
            <a:srgbClr val="FFFFFF"/>
          </a:solidFill>
          <a:ln/>
        </p:spPr>
        <p:txBody>
          <a:bodyPr spcFirstLastPara="1" vert="horz" wrap="square" lIns="0" tIns="0" rIns="0" bIns="10800" rtlCol="0" anchor="b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dirty="0"/>
              <a:t>PALS</a:t>
            </a:r>
            <a:r>
              <a:rPr lang="en-US" dirty="0"/>
              <a:t> : </a:t>
            </a:r>
            <a:r>
              <a:rPr lang="en-GB" dirty="0"/>
              <a:t>Proximity Ambient Light Sensor </a:t>
            </a:r>
            <a:br>
              <a:rPr lang="en-GB" dirty="0"/>
            </a:b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  <a:t>Interpretation of the results</a:t>
            </a:r>
            <a:endParaRPr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55" name="Google Shape;855;p74"/>
          <p:cNvSpPr txBox="1">
            <a:spLocks noGrp="1"/>
          </p:cNvSpPr>
          <p:nvPr>
            <p:ph type="sldNum" idx="2"/>
          </p:nvPr>
        </p:nvSpPr>
        <p:spPr>
          <a:xfrm>
            <a:off x="10516819" y="630845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en"/>
              <a:pPr algn="r">
                <a:spcBef>
                  <a:spcPts val="0"/>
                </a:spcBef>
                <a:spcAft>
                  <a:spcPts val="0"/>
                </a:spcAft>
              </a:pPr>
              <a:t>23</a:t>
            </a:fld>
            <a:endParaRPr/>
          </a:p>
        </p:txBody>
      </p:sp>
      <p:pic>
        <p:nvPicPr>
          <p:cNvPr id="25" name="Picture 4" descr="Partenaires | Board of European Students of Technology">
            <a:extLst>
              <a:ext uri="{FF2B5EF4-FFF2-40B4-BE49-F238E27FC236}">
                <a16:creationId xmlns:a16="http://schemas.microsoft.com/office/drawing/2014/main" id="{B8CDDAC7-FA86-4FFF-B468-89E36F3C6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C167E00-D4C6-40D8-8999-BB46ACBD0B9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372537" y="1274444"/>
            <a:ext cx="7436545" cy="508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171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A149E-7FC5-478F-8C03-900FF183F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</a:rPr>
              <a:t>Points of Discuss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BE1B98-FAEC-4BFE-9FD0-3052DF426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B9FFC4-B475-4DED-8CE6-E0BD04A70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635F27-73EB-49A0-B18B-273C3CC8B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813EE1E-CF7F-4338-AF83-08E3A20362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518763"/>
              </p:ext>
            </p:extLst>
          </p:nvPr>
        </p:nvGraphicFramePr>
        <p:xfrm>
          <a:off x="2032000" y="1268413"/>
          <a:ext cx="7376368" cy="4869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365317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22496C-C6EE-4F95-8D64-E057A773E590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de-DE" dirty="0"/>
              <a:t>Live in Germany and discover the German cul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9D8848-CEBC-493B-BC17-5A9E33F8255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Work in English : biomedical and business vocabulary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203519-3407-4222-A659-24E426D6EC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Being part of an international commun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6553BB-4870-4093-8021-0686640230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Discovering Supply Chain in a key industry in an important con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A3865A-6224-48C9-AE33-D1081ACBF135}"/>
              </a:ext>
            </a:extLst>
          </p:cNvPr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89E760-9332-4988-9508-54742282B607}"/>
              </a:ext>
            </a:extLst>
          </p:cNvPr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D2DDC8A-2A3A-4194-9FDC-CCCBE229AF15}"/>
              </a:ext>
            </a:extLst>
          </p:cNvPr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CFD381-46AD-4B45-A8A9-FA1A35528EF5}"/>
              </a:ext>
            </a:extLst>
          </p:cNvPr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0D333FCC-9BB8-48A0-8603-F0041B2B8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p 5 added value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D25A2788-4E39-4D8E-B85E-CCDBDC4D8BB5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E4B5565-CFEF-40D3-BAEF-2E5B3C93BE91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DA6013EE-09E2-4722-8986-802DCC845D8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22" name="Picture 4" descr="Partenaires | Board of European Students of Technology">
            <a:extLst>
              <a:ext uri="{FF2B5EF4-FFF2-40B4-BE49-F238E27FC236}">
                <a16:creationId xmlns:a16="http://schemas.microsoft.com/office/drawing/2014/main" id="{E6BCBEAC-3C82-41BB-A1CF-76F65E21B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4CFF703-BCED-4A1A-9ABD-AA79D40C5C2F}"/>
              </a:ext>
            </a:extLst>
          </p:cNvPr>
          <p:cNvSpPr txBox="1">
            <a:spLocks/>
          </p:cNvSpPr>
          <p:nvPr/>
        </p:nvSpPr>
        <p:spPr>
          <a:xfrm>
            <a:off x="1236002" y="3861048"/>
            <a:ext cx="10620000" cy="57607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-27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30000" indent="-18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8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802800" indent="-1728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982800" indent="-18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9828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de-DE" kern="0" dirty="0"/>
              <a:t>Learning about Business KPI and how to interpret them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9D39D7F8-88C8-4CAC-A9C2-C996E71C39BA}"/>
              </a:ext>
            </a:extLst>
          </p:cNvPr>
          <p:cNvSpPr txBox="1">
            <a:spLocks/>
          </p:cNvSpPr>
          <p:nvPr/>
        </p:nvSpPr>
        <p:spPr>
          <a:xfrm>
            <a:off x="335360" y="3861348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-27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30000" indent="-18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8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802800" indent="-1728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982800" indent="-180000" algn="l" defTabSz="576000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9828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de-DE" kern="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733957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D2EDAF3-C44D-497E-9D8D-DEE4499A8F4A}"/>
              </a:ext>
            </a:extLst>
          </p:cNvPr>
          <p:cNvSpPr/>
          <p:nvPr/>
        </p:nvSpPr>
        <p:spPr bwMode="auto">
          <a:xfrm>
            <a:off x="1307468" y="4221088"/>
            <a:ext cx="9577064" cy="10081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de-DE" sz="4200" baseline="0" dirty="0">
                <a:latin typeface="+mn-lt"/>
                <a:ea typeface="+mn-ea"/>
                <a:cs typeface="+mn-cs"/>
              </a:rPr>
              <a:t>Thank you for your atten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56038F-B3AE-47A4-B69A-2342E315F9F1}"/>
              </a:ext>
            </a:extLst>
          </p:cNvPr>
          <p:cNvSpPr/>
          <p:nvPr/>
        </p:nvSpPr>
        <p:spPr bwMode="auto">
          <a:xfrm>
            <a:off x="2495600" y="620688"/>
            <a:ext cx="6408712" cy="38884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3" name="Picture 4" descr="Partenaires | Board of European Students of Technology">
            <a:extLst>
              <a:ext uri="{FF2B5EF4-FFF2-40B4-BE49-F238E27FC236}">
                <a16:creationId xmlns:a16="http://schemas.microsoft.com/office/drawing/2014/main" id="{53508687-D09F-4633-BC3F-C4F3469EE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921" y="1815570"/>
            <a:ext cx="4154792" cy="2337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4FABFD-CD69-4D40-8EA1-01AC1CCD09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001" y="1416337"/>
            <a:ext cx="5605203" cy="27363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F62170-3139-497F-9B8B-E1A9F680D7F9}"/>
              </a:ext>
            </a:extLst>
          </p:cNvPr>
          <p:cNvSpPr/>
          <p:nvPr/>
        </p:nvSpPr>
        <p:spPr>
          <a:xfrm>
            <a:off x="2783632" y="5889603"/>
            <a:ext cx="707115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Kenza Benkirane</a:t>
            </a:r>
          </a:p>
          <a:p>
            <a:pPr algn="ctr"/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Graduate Project Defense</a:t>
            </a:r>
            <a:b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Simulation of the light-skin interaction for PPG application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6566964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Inhaltsplatzhalter 30">
            <a:extLst>
              <a:ext uri="{FF2B5EF4-FFF2-40B4-BE49-F238E27FC236}">
                <a16:creationId xmlns:a16="http://schemas.microsoft.com/office/drawing/2014/main" id="{6B3CC5C8-5966-462D-B70B-DFF398F7C499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19553" y="1803043"/>
          <a:ext cx="5560255" cy="2673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S at a glance : Power &amp; Sensors Systems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6245489" y="1268414"/>
            <a:ext cx="5596993" cy="2891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/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Y20 revenue split by product group</a:t>
            </a:r>
          </a:p>
        </p:txBody>
      </p:sp>
      <p:cxnSp>
        <p:nvCxnSpPr>
          <p:cNvPr id="10" name="Gerade Verbindung 40"/>
          <p:cNvCxnSpPr/>
          <p:nvPr/>
        </p:nvCxnSpPr>
        <p:spPr>
          <a:xfrm flipV="1">
            <a:off x="6240017" y="1556792"/>
            <a:ext cx="5596993" cy="13736"/>
          </a:xfrm>
          <a:prstGeom prst="line">
            <a:avLst/>
          </a:prstGeom>
          <a:ln w="28575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75"/>
          <p:cNvSpPr/>
          <p:nvPr/>
        </p:nvSpPr>
        <p:spPr bwMode="auto">
          <a:xfrm>
            <a:off x="6240017" y="1677330"/>
            <a:ext cx="5617552" cy="2975999"/>
          </a:xfrm>
          <a:prstGeom prst="rect">
            <a:avLst/>
          </a:prstGeom>
          <a:noFill/>
          <a:ln w="6350">
            <a:solidFill>
              <a:schemeClr val="accent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marL="0" marR="0" lvl="0" indent="0" algn="ctr" defTabSz="12191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itchFamily="34" charset="0"/>
            </a:endParaRPr>
          </a:p>
        </p:txBody>
      </p:sp>
      <p:sp>
        <p:nvSpPr>
          <p:cNvPr id="64" name="Text Box 3"/>
          <p:cNvSpPr txBox="1">
            <a:spLocks noChangeArrowheads="1"/>
          </p:cNvSpPr>
          <p:nvPr/>
        </p:nvSpPr>
        <p:spPr bwMode="auto">
          <a:xfrm>
            <a:off x="335362" y="1267493"/>
            <a:ext cx="5760639" cy="2853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/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SS revenue and Segment Result Margin</a:t>
            </a:r>
          </a:p>
        </p:txBody>
      </p:sp>
      <p:cxnSp>
        <p:nvCxnSpPr>
          <p:cNvPr id="65" name="Gerade Verbindung 40"/>
          <p:cNvCxnSpPr/>
          <p:nvPr/>
        </p:nvCxnSpPr>
        <p:spPr>
          <a:xfrm>
            <a:off x="335864" y="1570584"/>
            <a:ext cx="5760000" cy="15008"/>
          </a:xfrm>
          <a:prstGeom prst="line">
            <a:avLst/>
          </a:prstGeom>
          <a:ln w="28575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75"/>
          <p:cNvSpPr/>
          <p:nvPr/>
        </p:nvSpPr>
        <p:spPr bwMode="auto">
          <a:xfrm>
            <a:off x="329448" y="1677330"/>
            <a:ext cx="5766552" cy="2975999"/>
          </a:xfrm>
          <a:prstGeom prst="rect">
            <a:avLst/>
          </a:prstGeom>
          <a:noFill/>
          <a:ln w="6350">
            <a:solidFill>
              <a:schemeClr val="accent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marL="0" marR="0" lvl="0" indent="0" algn="ctr" defTabSz="12191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itchFamily="34" charset="0"/>
            </a:endParaRPr>
          </a:p>
        </p:txBody>
      </p:sp>
      <p:cxnSp>
        <p:nvCxnSpPr>
          <p:cNvPr id="92" name="Gerade Verbindung 40"/>
          <p:cNvCxnSpPr/>
          <p:nvPr/>
        </p:nvCxnSpPr>
        <p:spPr>
          <a:xfrm>
            <a:off x="334935" y="5037359"/>
            <a:ext cx="11520000" cy="15008"/>
          </a:xfrm>
          <a:prstGeom prst="line">
            <a:avLst/>
          </a:prstGeom>
          <a:ln w="28575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75"/>
          <p:cNvSpPr/>
          <p:nvPr/>
        </p:nvSpPr>
        <p:spPr bwMode="auto">
          <a:xfrm>
            <a:off x="334259" y="5137653"/>
            <a:ext cx="11522779" cy="1176288"/>
          </a:xfrm>
          <a:prstGeom prst="rect">
            <a:avLst/>
          </a:prstGeom>
          <a:noFill/>
          <a:ln w="6350">
            <a:solidFill>
              <a:schemeClr val="accent2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6000" tIns="96000" rIns="96000" bIns="96000" rtlCol="0" anchor="ctr"/>
          <a:lstStyle/>
          <a:p>
            <a:pPr marL="0" marR="0" lvl="0" indent="0" algn="ctr" defTabSz="12191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itchFamily="34" charset="0"/>
            </a:endParaRPr>
          </a:p>
        </p:txBody>
      </p:sp>
      <p:sp>
        <p:nvSpPr>
          <p:cNvPr id="112" name="Text Box 3"/>
          <p:cNvSpPr txBox="1">
            <a:spLocks noChangeArrowheads="1"/>
          </p:cNvSpPr>
          <p:nvPr/>
        </p:nvSpPr>
        <p:spPr bwMode="auto">
          <a:xfrm>
            <a:off x="334432" y="4767130"/>
            <a:ext cx="11523136" cy="285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anchor="ctr"/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ey customers</a:t>
            </a:r>
          </a:p>
        </p:txBody>
      </p:sp>
      <p:graphicFrame>
        <p:nvGraphicFramePr>
          <p:cNvPr id="36" name="Diagramm 15">
            <a:extLst>
              <a:ext uri="{FF2B5EF4-FFF2-40B4-BE49-F238E27FC236}">
                <a16:creationId xmlns:a16="http://schemas.microsoft.com/office/drawing/2014/main" id="{863E5FDB-D204-42D2-B3F9-87B6E5D40C3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338728" y="1677330"/>
          <a:ext cx="5516207" cy="2967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TextBox 222">
            <a:extLst>
              <a:ext uri="{FF2B5EF4-FFF2-40B4-BE49-F238E27FC236}">
                <a16:creationId xmlns:a16="http://schemas.microsoft.com/office/drawing/2014/main" id="{6760FFAB-9E00-432E-A76B-6ABFD128F794}"/>
              </a:ext>
            </a:extLst>
          </p:cNvPr>
          <p:cNvSpPr txBox="1"/>
          <p:nvPr/>
        </p:nvSpPr>
        <p:spPr bwMode="auto">
          <a:xfrm>
            <a:off x="748112" y="2464875"/>
            <a:ext cx="875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617</a:t>
            </a:r>
          </a:p>
        </p:txBody>
      </p:sp>
      <p:sp>
        <p:nvSpPr>
          <p:cNvPr id="41" name="TextBox 222">
            <a:extLst>
              <a:ext uri="{FF2B5EF4-FFF2-40B4-BE49-F238E27FC236}">
                <a16:creationId xmlns:a16="http://schemas.microsoft.com/office/drawing/2014/main" id="{73F8CAAD-B54B-4641-B699-A27767E933CA}"/>
              </a:ext>
            </a:extLst>
          </p:cNvPr>
          <p:cNvSpPr txBox="1"/>
          <p:nvPr/>
        </p:nvSpPr>
        <p:spPr bwMode="auto">
          <a:xfrm>
            <a:off x="1767367" y="2286979"/>
            <a:ext cx="875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77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681</a:t>
            </a:r>
          </a:p>
        </p:txBody>
      </p:sp>
      <p:sp>
        <p:nvSpPr>
          <p:cNvPr id="42" name="TextBox 222">
            <a:extLst>
              <a:ext uri="{FF2B5EF4-FFF2-40B4-BE49-F238E27FC236}">
                <a16:creationId xmlns:a16="http://schemas.microsoft.com/office/drawing/2014/main" id="{36D3CF89-731D-4B2C-914A-D6D8F76141EC}"/>
              </a:ext>
            </a:extLst>
          </p:cNvPr>
          <p:cNvSpPr txBox="1"/>
          <p:nvPr/>
        </p:nvSpPr>
        <p:spPr bwMode="auto">
          <a:xfrm>
            <a:off x="2826839" y="2270799"/>
            <a:ext cx="875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59</a:t>
            </a:r>
          </a:p>
        </p:txBody>
      </p:sp>
      <p:sp>
        <p:nvSpPr>
          <p:cNvPr id="43" name="TextBox 222">
            <a:extLst>
              <a:ext uri="{FF2B5EF4-FFF2-40B4-BE49-F238E27FC236}">
                <a16:creationId xmlns:a16="http://schemas.microsoft.com/office/drawing/2014/main" id="{BAB1A6CD-C95A-4491-8F8E-896A8FB83ACE}"/>
              </a:ext>
            </a:extLst>
          </p:cNvPr>
          <p:cNvSpPr txBox="1"/>
          <p:nvPr/>
        </p:nvSpPr>
        <p:spPr bwMode="auto">
          <a:xfrm>
            <a:off x="3820160" y="2270799"/>
            <a:ext cx="875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77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79</a:t>
            </a:r>
          </a:p>
        </p:txBody>
      </p:sp>
      <p:sp>
        <p:nvSpPr>
          <p:cNvPr id="44" name="TextBox 222">
            <a:extLst>
              <a:ext uri="{FF2B5EF4-FFF2-40B4-BE49-F238E27FC236}">
                <a16:creationId xmlns:a16="http://schemas.microsoft.com/office/drawing/2014/main" id="{58137854-885D-4FBD-BD8C-8EACB6D95E19}"/>
              </a:ext>
            </a:extLst>
          </p:cNvPr>
          <p:cNvSpPr txBox="1"/>
          <p:nvPr/>
        </p:nvSpPr>
        <p:spPr bwMode="auto">
          <a:xfrm>
            <a:off x="4907510" y="2273705"/>
            <a:ext cx="875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77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87</a:t>
            </a:r>
          </a:p>
        </p:txBody>
      </p:sp>
      <p:sp>
        <p:nvSpPr>
          <p:cNvPr id="45" name="Text Box 21">
            <a:extLst>
              <a:ext uri="{FF2B5EF4-FFF2-40B4-BE49-F238E27FC236}">
                <a16:creationId xmlns:a16="http://schemas.microsoft.com/office/drawing/2014/main" id="{EF1E1E19-6B88-4FD6-B312-80CD386E64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629" y="1812387"/>
            <a:ext cx="46006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1219140" fontAlgn="auto">
              <a:spcBef>
                <a:spcPts val="0"/>
              </a:spcBef>
              <a:spcAft>
                <a:spcPts val="0"/>
              </a:spcAft>
              <a:buClr>
                <a:srgbClr val="00214A"/>
              </a:buClr>
              <a:defRPr/>
            </a:pPr>
            <a:r>
              <a:rPr lang="en-US" sz="11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[</a:t>
            </a:r>
            <a:r>
              <a:rPr lang="de-DE" sz="11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Mio. €</a:t>
            </a:r>
            <a:r>
              <a:rPr lang="en-US" sz="1100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]</a:t>
            </a:r>
          </a:p>
        </p:txBody>
      </p:sp>
      <p:sp>
        <p:nvSpPr>
          <p:cNvPr id="47" name="AutoShape 12">
            <a:extLst>
              <a:ext uri="{FF2B5EF4-FFF2-40B4-BE49-F238E27FC236}">
                <a16:creationId xmlns:a16="http://schemas.microsoft.com/office/drawing/2014/main" id="{074E09F9-0E42-4CB6-ADC2-E44DBD644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921" y="4294552"/>
            <a:ext cx="840649" cy="365279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1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venue</a:t>
            </a:r>
          </a:p>
        </p:txBody>
      </p:sp>
      <p:sp>
        <p:nvSpPr>
          <p:cNvPr id="48" name="Rechteck 23">
            <a:extLst>
              <a:ext uri="{FF2B5EF4-FFF2-40B4-BE49-F238E27FC236}">
                <a16:creationId xmlns:a16="http://schemas.microsoft.com/office/drawing/2014/main" id="{767D6509-6D42-487A-BB7A-822B576FAB6B}"/>
              </a:ext>
            </a:extLst>
          </p:cNvPr>
          <p:cNvSpPr/>
          <p:nvPr/>
        </p:nvSpPr>
        <p:spPr bwMode="auto">
          <a:xfrm>
            <a:off x="408655" y="4393709"/>
            <a:ext cx="192000" cy="19200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6000" tIns="96000" rIns="96000" bIns="96000" rtlCol="0" anchor="ctr">
            <a:noAutofit/>
          </a:bodyPr>
          <a:lstStyle/>
          <a:p>
            <a:pPr algn="ctr" defTabSz="914377" eaLnBrk="0" hangingPunct="0">
              <a:buClr>
                <a:srgbClr val="000000"/>
              </a:buClr>
            </a:pP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cxnSp>
        <p:nvCxnSpPr>
          <p:cNvPr id="49" name="Gerade Verbindung 25">
            <a:extLst>
              <a:ext uri="{FF2B5EF4-FFF2-40B4-BE49-F238E27FC236}">
                <a16:creationId xmlns:a16="http://schemas.microsoft.com/office/drawing/2014/main" id="{9B306EE2-DFB6-4359-8EBC-A2DD20E8B68B}"/>
              </a:ext>
            </a:extLst>
          </p:cNvPr>
          <p:cNvCxnSpPr/>
          <p:nvPr/>
        </p:nvCxnSpPr>
        <p:spPr>
          <a:xfrm>
            <a:off x="3829870" y="4478774"/>
            <a:ext cx="401535" cy="0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AutoShape 12">
            <a:extLst>
              <a:ext uri="{FF2B5EF4-FFF2-40B4-BE49-F238E27FC236}">
                <a16:creationId xmlns:a16="http://schemas.microsoft.com/office/drawing/2014/main" id="{BF2C101C-C4C2-4B8F-B17E-2D15091C26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8399" y="4294552"/>
            <a:ext cx="1535768" cy="365279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1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egment Result</a:t>
            </a:r>
          </a:p>
        </p:txBody>
      </p:sp>
      <p:sp>
        <p:nvSpPr>
          <p:cNvPr id="51" name="AutoShape 12">
            <a:extLst>
              <a:ext uri="{FF2B5EF4-FFF2-40B4-BE49-F238E27FC236}">
                <a16:creationId xmlns:a16="http://schemas.microsoft.com/office/drawing/2014/main" id="{8DFB8CC0-0DC4-4DA6-96A3-834218A6C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9014" y="4291879"/>
            <a:ext cx="2892127" cy="365279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1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egment Result margin </a:t>
            </a:r>
          </a:p>
        </p:txBody>
      </p:sp>
      <p:sp>
        <p:nvSpPr>
          <p:cNvPr id="52" name="Rechteck 24">
            <a:extLst>
              <a:ext uri="{FF2B5EF4-FFF2-40B4-BE49-F238E27FC236}">
                <a16:creationId xmlns:a16="http://schemas.microsoft.com/office/drawing/2014/main" id="{F1CD53FA-B582-472A-8A30-8A93EF31AEED}"/>
              </a:ext>
            </a:extLst>
          </p:cNvPr>
          <p:cNvSpPr/>
          <p:nvPr/>
        </p:nvSpPr>
        <p:spPr bwMode="auto">
          <a:xfrm>
            <a:off x="1767367" y="4393709"/>
            <a:ext cx="192000" cy="1920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6000" tIns="96000" rIns="96000" bIns="96000" rtlCol="0" anchor="ctr">
            <a:noAutofit/>
          </a:bodyPr>
          <a:lstStyle/>
          <a:p>
            <a:pPr algn="ctr" defTabSz="914377" eaLnBrk="0" hangingPunct="0">
              <a:buClr>
                <a:srgbClr val="000000"/>
              </a:buClr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53" name="Picture 160">
            <a:extLst>
              <a:ext uri="{FF2B5EF4-FFF2-40B4-BE49-F238E27FC236}">
                <a16:creationId xmlns:a16="http://schemas.microsoft.com/office/drawing/2014/main" id="{0A1D5DFC-F0C5-45A8-9A1E-3DA2DAB48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8134" y="5272022"/>
            <a:ext cx="727585" cy="259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" name="Picture 110">
            <a:extLst>
              <a:ext uri="{FF2B5EF4-FFF2-40B4-BE49-F238E27FC236}">
                <a16:creationId xmlns:a16="http://schemas.microsoft.com/office/drawing/2014/main" id="{DCAF729B-235E-44DF-AC74-94AA5B654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5445" y="5890592"/>
            <a:ext cx="875272" cy="202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Picture 130">
            <a:extLst>
              <a:ext uri="{FF2B5EF4-FFF2-40B4-BE49-F238E27FC236}">
                <a16:creationId xmlns:a16="http://schemas.microsoft.com/office/drawing/2014/main" id="{5DB3128E-49E3-4A58-9773-83D4FD427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3689" y="5272022"/>
            <a:ext cx="478691" cy="42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4" descr="Bildergebnis für Dell Logo">
            <a:extLst>
              <a:ext uri="{FF2B5EF4-FFF2-40B4-BE49-F238E27FC236}">
                <a16:creationId xmlns:a16="http://schemas.microsoft.com/office/drawing/2014/main" id="{D5F3D7E3-5BE9-4D6A-8277-0CEF075DE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4167" y="5773729"/>
            <a:ext cx="393827" cy="392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42">
            <a:extLst>
              <a:ext uri="{FF2B5EF4-FFF2-40B4-BE49-F238E27FC236}">
                <a16:creationId xmlns:a16="http://schemas.microsoft.com/office/drawing/2014/main" id="{C266411F-ADF6-43E8-A701-F4752ECBE5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60047" y="5760481"/>
            <a:ext cx="625767" cy="261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148">
            <a:extLst>
              <a:ext uri="{FF2B5EF4-FFF2-40B4-BE49-F238E27FC236}">
                <a16:creationId xmlns:a16="http://schemas.microsoft.com/office/drawing/2014/main" id="{19783583-D012-4D59-A3A8-EB6F79335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070" y="5353164"/>
            <a:ext cx="635079" cy="132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145">
            <a:extLst>
              <a:ext uri="{FF2B5EF4-FFF2-40B4-BE49-F238E27FC236}">
                <a16:creationId xmlns:a16="http://schemas.microsoft.com/office/drawing/2014/main" id="{14609014-75B6-4248-8567-42731625C2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9055" y="5343340"/>
            <a:ext cx="710857" cy="120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14" descr="Bildergebnis fÃ¼r samsung png logo">
            <a:extLst>
              <a:ext uri="{FF2B5EF4-FFF2-40B4-BE49-F238E27FC236}">
                <a16:creationId xmlns:a16="http://schemas.microsoft.com/office/drawing/2014/main" id="{2EE99734-F054-433B-8518-A845EC699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0915" y="5942012"/>
            <a:ext cx="956867" cy="143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01">
            <a:extLst>
              <a:ext uri="{FF2B5EF4-FFF2-40B4-BE49-F238E27FC236}">
                <a16:creationId xmlns:a16="http://schemas.microsoft.com/office/drawing/2014/main" id="{8B8288A2-600B-454D-8EF4-4B19511BB7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9162" y="5343340"/>
            <a:ext cx="594577" cy="178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113">
            <a:extLst>
              <a:ext uri="{FF2B5EF4-FFF2-40B4-BE49-F238E27FC236}">
                <a16:creationId xmlns:a16="http://schemas.microsoft.com/office/drawing/2014/main" id="{653C4B64-D0CA-4403-B36D-E914823E6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88411" y="5300335"/>
            <a:ext cx="709987" cy="243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" name="Grafik 181">
            <a:extLst>
              <a:ext uri="{FF2B5EF4-FFF2-40B4-BE49-F238E27FC236}">
                <a16:creationId xmlns:a16="http://schemas.microsoft.com/office/drawing/2014/main" id="{5F7E13D7-5A14-4542-81C4-2C37F1821265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2167" y="5832178"/>
            <a:ext cx="417993" cy="299200"/>
          </a:xfrm>
          <a:prstGeom prst="rect">
            <a:avLst/>
          </a:prstGeom>
        </p:spPr>
      </p:pic>
      <p:pic>
        <p:nvPicPr>
          <p:cNvPr id="72" name="Picture 127" descr="Bildergebnis fÃ¼r delta logo wikipedia">
            <a:extLst>
              <a:ext uri="{FF2B5EF4-FFF2-40B4-BE49-F238E27FC236}">
                <a16:creationId xmlns:a16="http://schemas.microsoft.com/office/drawing/2014/main" id="{7B3DC9CC-B318-4434-998F-A0A021F7D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9993" y="5289301"/>
            <a:ext cx="638435" cy="19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36">
            <a:extLst>
              <a:ext uri="{FF2B5EF4-FFF2-40B4-BE49-F238E27FC236}">
                <a16:creationId xmlns:a16="http://schemas.microsoft.com/office/drawing/2014/main" id="{62E84108-A9A9-4B7A-9B92-CC907660B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4714" y="5364544"/>
            <a:ext cx="595625" cy="219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" name="Grafik 185">
            <a:extLst>
              <a:ext uri="{FF2B5EF4-FFF2-40B4-BE49-F238E27FC236}">
                <a16:creationId xmlns:a16="http://schemas.microsoft.com/office/drawing/2014/main" id="{3187AB87-FD53-4116-AFA0-F1BD6DBBC2C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5555" y="5340174"/>
            <a:ext cx="667392" cy="214519"/>
          </a:xfrm>
          <a:prstGeom prst="rect">
            <a:avLst/>
          </a:prstGeom>
        </p:spPr>
      </p:pic>
      <p:pic>
        <p:nvPicPr>
          <p:cNvPr id="75" name="Picture 122">
            <a:extLst>
              <a:ext uri="{FF2B5EF4-FFF2-40B4-BE49-F238E27FC236}">
                <a16:creationId xmlns:a16="http://schemas.microsoft.com/office/drawing/2014/main" id="{EACB8FC2-CDFB-44DB-ACEC-0D1CBC8F4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981" y="5353164"/>
            <a:ext cx="347447" cy="16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Picture 151">
            <a:extLst>
              <a:ext uri="{FF2B5EF4-FFF2-40B4-BE49-F238E27FC236}">
                <a16:creationId xmlns:a16="http://schemas.microsoft.com/office/drawing/2014/main" id="{A0D4F595-8612-468A-AF24-BBA9EC31AE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75555" y="5890592"/>
            <a:ext cx="534725" cy="200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Grafik 92">
            <a:extLst>
              <a:ext uri="{FF2B5EF4-FFF2-40B4-BE49-F238E27FC236}">
                <a16:creationId xmlns:a16="http://schemas.microsoft.com/office/drawing/2014/main" id="{9C088689-0CB5-43C9-A15A-9C5F686AC946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4427" y="5827955"/>
            <a:ext cx="591413" cy="326835"/>
          </a:xfrm>
          <a:prstGeom prst="rect">
            <a:avLst/>
          </a:prstGeom>
        </p:spPr>
      </p:pic>
      <p:pic>
        <p:nvPicPr>
          <p:cNvPr id="78" name="Picture 232">
            <a:extLst>
              <a:ext uri="{FF2B5EF4-FFF2-40B4-BE49-F238E27FC236}">
                <a16:creationId xmlns:a16="http://schemas.microsoft.com/office/drawing/2014/main" id="{260F53A1-7C2F-44E4-B851-A4193701971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279335" y="5880615"/>
            <a:ext cx="661023" cy="220341"/>
          </a:xfrm>
          <a:prstGeom prst="rect">
            <a:avLst/>
          </a:prstGeom>
        </p:spPr>
      </p:pic>
      <p:pic>
        <p:nvPicPr>
          <p:cNvPr id="79" name="Grafik 1">
            <a:extLst>
              <a:ext uri="{FF2B5EF4-FFF2-40B4-BE49-F238E27FC236}">
                <a16:creationId xmlns:a16="http://schemas.microsoft.com/office/drawing/2014/main" id="{D3B37CCC-94C8-490B-83AB-1B288EC08EA4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03" y="5761456"/>
            <a:ext cx="791607" cy="440645"/>
          </a:xfrm>
          <a:prstGeom prst="rect">
            <a:avLst/>
          </a:prstGeom>
        </p:spPr>
      </p:pic>
      <p:pic>
        <p:nvPicPr>
          <p:cNvPr id="46" name="Picture 4" descr="Partenaires | Board of European Students of Technology">
            <a:extLst>
              <a:ext uri="{FF2B5EF4-FFF2-40B4-BE49-F238E27FC236}">
                <a16:creationId xmlns:a16="http://schemas.microsoft.com/office/drawing/2014/main" id="{0EE0530C-713D-456E-92EE-57D2AB877F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1796128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S's growth is built on many applications from different sectors in power and non-power</a:t>
            </a:r>
            <a:endParaRPr lang="de-DE" dirty="0"/>
          </a:p>
        </p:txBody>
      </p:sp>
      <p:sp>
        <p:nvSpPr>
          <p:cNvPr id="12" name="Textfeld 8"/>
          <p:cNvSpPr txBox="1"/>
          <p:nvPr/>
        </p:nvSpPr>
        <p:spPr>
          <a:xfrm>
            <a:off x="334432" y="3525011"/>
            <a:ext cx="1920000" cy="209630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wrap="square" lIns="72000" tIns="72000" rIns="36000" bIns="72000" rtlCol="0" anchor="t" anchorCtr="0">
            <a:noAutofit/>
          </a:bodyPr>
          <a:lstStyle>
            <a:defPPr>
              <a:defRPr lang="en-US"/>
            </a:defPPr>
            <a:lvl1pPr marL="176213" indent="-176213">
              <a:spcAft>
                <a:spcPts val="300"/>
              </a:spcAft>
              <a:buClr>
                <a:schemeClr val="accent1"/>
              </a:buClr>
              <a:buSzPct val="100000"/>
              <a:buFont typeface="Arial" pitchFamily="34" charset="0"/>
              <a:buChar char="›"/>
              <a:defRPr sz="14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data center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enterprise server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PC, notebook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peripherals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chargers and adapters</a:t>
            </a:r>
          </a:p>
        </p:txBody>
      </p:sp>
      <p:sp>
        <p:nvSpPr>
          <p:cNvPr id="16" name="Rectangle 33"/>
          <p:cNvSpPr>
            <a:spLocks noChangeArrowheads="1"/>
          </p:cNvSpPr>
          <p:nvPr/>
        </p:nvSpPr>
        <p:spPr bwMode="auto">
          <a:xfrm>
            <a:off x="332531" y="1315816"/>
            <a:ext cx="192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defTabSz="1219170"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ing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Gerade Verbindung 40"/>
          <p:cNvCxnSpPr/>
          <p:nvPr/>
        </p:nvCxnSpPr>
        <p:spPr>
          <a:xfrm>
            <a:off x="332651" y="1604797"/>
            <a:ext cx="1920000" cy="0"/>
          </a:xfrm>
          <a:prstGeom prst="line">
            <a:avLst/>
          </a:prstGeom>
          <a:ln w="28575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33"/>
          <p:cNvSpPr>
            <a:spLocks noChangeArrowheads="1"/>
          </p:cNvSpPr>
          <p:nvPr/>
        </p:nvSpPr>
        <p:spPr bwMode="auto">
          <a:xfrm>
            <a:off x="2733559" y="1316797"/>
            <a:ext cx="192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defTabSz="1219170"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s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33"/>
          <p:cNvSpPr>
            <a:spLocks noChangeArrowheads="1"/>
          </p:cNvSpPr>
          <p:nvPr/>
        </p:nvSpPr>
        <p:spPr bwMode="auto">
          <a:xfrm>
            <a:off x="9936640" y="1316797"/>
            <a:ext cx="192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defTabSz="1219170"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33"/>
          <p:cNvSpPr>
            <a:spLocks noChangeArrowheads="1"/>
          </p:cNvSpPr>
          <p:nvPr/>
        </p:nvSpPr>
        <p:spPr bwMode="auto">
          <a:xfrm>
            <a:off x="5134587" y="1315776"/>
            <a:ext cx="192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defTabSz="1219170"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phones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33"/>
          <p:cNvSpPr>
            <a:spLocks noChangeArrowheads="1"/>
          </p:cNvSpPr>
          <p:nvPr/>
        </p:nvSpPr>
        <p:spPr bwMode="auto">
          <a:xfrm>
            <a:off x="7535615" y="1315776"/>
            <a:ext cx="192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defTabSz="1219170" eaLnBrk="0" hangingPunct="0">
              <a:buClr>
                <a:srgbClr val="000000"/>
              </a:buClr>
            </a:pP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feld 8"/>
          <p:cNvSpPr txBox="1"/>
          <p:nvPr/>
        </p:nvSpPr>
        <p:spPr>
          <a:xfrm>
            <a:off x="9936640" y="3525011"/>
            <a:ext cx="1920000" cy="276662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wrap="square" lIns="72000" tIns="72000" rIns="36000" bIns="72000" rtlCol="0" anchor="t" anchorCtr="0">
            <a:noAutofit/>
          </a:bodyPr>
          <a:lstStyle>
            <a:defPPr>
              <a:defRPr lang="en-US"/>
            </a:defPPr>
            <a:lvl1pPr marL="176213" indent="-176213">
              <a:spcAft>
                <a:spcPts val="300"/>
              </a:spcAft>
              <a:buClr>
                <a:schemeClr val="accent1"/>
              </a:buClr>
              <a:buSzPct val="100000"/>
              <a:buFont typeface="Arial" pitchFamily="34" charset="0"/>
              <a:buChar char="›"/>
              <a:defRPr sz="14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power supplies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EV on-board charger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charging infrastructure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PV inverter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power tools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lighting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de-DE" dirty="0" err="1">
                <a:solidFill>
                  <a:srgbClr val="000000"/>
                </a:solidFill>
              </a:rPr>
              <a:t>Industry</a:t>
            </a:r>
            <a:r>
              <a:rPr lang="de-DE" dirty="0">
                <a:solidFill>
                  <a:srgbClr val="000000"/>
                </a:solidFill>
              </a:rPr>
              <a:t> 4.0</a:t>
            </a:r>
          </a:p>
          <a:p>
            <a:pPr marL="234945" indent="-234945" defTabSz="1219170">
              <a:spcAft>
                <a:spcPts val="400"/>
              </a:spcAft>
              <a:buClr>
                <a:srgbClr val="E30034"/>
              </a:buClr>
            </a:pPr>
            <a:r>
              <a:rPr lang="de-DE" dirty="0" err="1">
                <a:solidFill>
                  <a:srgbClr val="000000"/>
                </a:solidFill>
              </a:rPr>
              <a:t>spac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7" name="Textfeld 8"/>
          <p:cNvSpPr txBox="1"/>
          <p:nvPr/>
        </p:nvSpPr>
        <p:spPr>
          <a:xfrm>
            <a:off x="2735840" y="3525012"/>
            <a:ext cx="1920000" cy="208894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wrap="square" lIns="72000" tIns="72000" rIns="36000" bIns="72000" rtlCol="0" anchor="t" anchorCtr="0">
            <a:noAutofit/>
          </a:bodyPr>
          <a:lstStyle>
            <a:defPPr>
              <a:defRPr lang="en-US"/>
            </a:defPPr>
            <a:lvl1pPr marL="176213" indent="-176213">
              <a:spcAft>
                <a:spcPts val="300"/>
              </a:spcAft>
              <a:buClr>
                <a:schemeClr val="accent1"/>
              </a:buClr>
              <a:buSzPct val="100000"/>
              <a:buFont typeface="Arial" pitchFamily="34" charset="0"/>
              <a:buChar char="›"/>
              <a:defRPr sz="14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base stations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backhaul cellular infrastructure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5G massive MIMO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telecommunication servers</a:t>
            </a:r>
          </a:p>
        </p:txBody>
      </p:sp>
      <p:sp>
        <p:nvSpPr>
          <p:cNvPr id="58" name="Textfeld 8"/>
          <p:cNvSpPr txBox="1"/>
          <p:nvPr/>
        </p:nvSpPr>
        <p:spPr>
          <a:xfrm>
            <a:off x="5135893" y="3525012"/>
            <a:ext cx="1920000" cy="208894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wrap="square" lIns="72000" tIns="72000" rIns="36000" bIns="72000" rtlCol="0" anchor="t" anchorCtr="0">
            <a:noAutofit/>
          </a:bodyPr>
          <a:lstStyle>
            <a:defPPr>
              <a:defRPr lang="en-US"/>
            </a:defPPr>
            <a:lvl1pPr marL="176213" indent="-176213">
              <a:spcAft>
                <a:spcPts val="300"/>
              </a:spcAft>
              <a:buClr>
                <a:schemeClr val="accent1"/>
              </a:buClr>
              <a:buSzPct val="100000"/>
              <a:buFont typeface="Arial" pitchFamily="34" charset="0"/>
              <a:buChar char="›"/>
              <a:defRPr sz="14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smartphones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mobile devices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wearables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USB Type-C,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USB Type-C PD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endParaRPr lang="en-US" dirty="0">
              <a:solidFill>
                <a:srgbClr val="000000"/>
              </a:solidFill>
            </a:endParaRP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9" name="Textfeld 8"/>
          <p:cNvSpPr txBox="1"/>
          <p:nvPr/>
        </p:nvSpPr>
        <p:spPr>
          <a:xfrm>
            <a:off x="7538389" y="3525011"/>
            <a:ext cx="1920000" cy="210367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wrap="square" lIns="72000" tIns="72000" rIns="36000" bIns="72000" rtlCol="0" anchor="t" anchorCtr="0">
            <a:noAutofit/>
          </a:bodyPr>
          <a:lstStyle>
            <a:defPPr>
              <a:defRPr lang="en-US"/>
            </a:defPPr>
            <a:lvl1pPr marL="176213" indent="-176213">
              <a:spcAft>
                <a:spcPts val="300"/>
              </a:spcAft>
              <a:buClr>
                <a:schemeClr val="accent1"/>
              </a:buClr>
              <a:buSzPct val="100000"/>
              <a:buFont typeface="Arial" pitchFamily="34" charset="0"/>
              <a:buChar char="›"/>
              <a:defRPr sz="14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>
                <a:solidFill>
                  <a:srgbClr val="000000"/>
                </a:solidFill>
              </a:rPr>
              <a:t>eBikes, eScooter</a:t>
            </a: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en-US" dirty="0" err="1">
                <a:solidFill>
                  <a:srgbClr val="000000"/>
                </a:solidFill>
              </a:rPr>
              <a:t>multicopter</a:t>
            </a:r>
            <a:endParaRPr lang="en-US" dirty="0">
              <a:solidFill>
                <a:srgbClr val="000000"/>
              </a:solidFill>
            </a:endParaRP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de-DE" dirty="0">
                <a:solidFill>
                  <a:srgbClr val="000000"/>
                </a:solidFill>
              </a:rPr>
              <a:t>LSEV</a:t>
            </a:r>
            <a:endParaRPr lang="en-US" dirty="0">
              <a:solidFill>
                <a:srgbClr val="000000"/>
              </a:solidFill>
            </a:endParaRP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de-DE" dirty="0" err="1">
                <a:solidFill>
                  <a:srgbClr val="000000"/>
                </a:solidFill>
              </a:rPr>
              <a:t>gaming</a:t>
            </a:r>
            <a:endParaRPr lang="de-DE" dirty="0">
              <a:solidFill>
                <a:srgbClr val="000000"/>
              </a:solidFill>
            </a:endParaRP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de-DE" dirty="0">
                <a:solidFill>
                  <a:srgbClr val="000000"/>
                </a:solidFill>
              </a:rPr>
              <a:t>TV </a:t>
            </a:r>
            <a:r>
              <a:rPr lang="de-DE" dirty="0" err="1">
                <a:solidFill>
                  <a:srgbClr val="000000"/>
                </a:solidFill>
              </a:rPr>
              <a:t>sets</a:t>
            </a:r>
            <a:endParaRPr lang="de-DE" dirty="0">
              <a:solidFill>
                <a:srgbClr val="000000"/>
              </a:solidFill>
            </a:endParaRPr>
          </a:p>
          <a:p>
            <a:pPr marL="234945" indent="-234945" defTabSz="1219170">
              <a:spcAft>
                <a:spcPts val="600"/>
              </a:spcAft>
              <a:buClr>
                <a:srgbClr val="E30034"/>
              </a:buClr>
            </a:pPr>
            <a:r>
              <a:rPr lang="de-DE" dirty="0">
                <a:solidFill>
                  <a:srgbClr val="000000"/>
                </a:solidFill>
              </a:rPr>
              <a:t>smart </a:t>
            </a:r>
            <a:r>
              <a:rPr lang="de-DE" dirty="0" err="1">
                <a:solidFill>
                  <a:srgbClr val="000000"/>
                </a:solidFill>
              </a:rPr>
              <a:t>home</a:t>
            </a:r>
            <a:endParaRPr lang="de-DE" dirty="0">
              <a:solidFill>
                <a:srgbClr val="000000"/>
              </a:solidFill>
            </a:endParaRPr>
          </a:p>
          <a:p>
            <a:pPr marL="0" indent="0" defTabSz="1219170">
              <a:spcAft>
                <a:spcPts val="600"/>
              </a:spcAft>
              <a:buClr>
                <a:srgbClr val="E30034"/>
              </a:buClr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72" name="Gerade Verbindung 40"/>
          <p:cNvCxnSpPr/>
          <p:nvPr/>
        </p:nvCxnSpPr>
        <p:spPr>
          <a:xfrm>
            <a:off x="9936640" y="1604797"/>
            <a:ext cx="1920000" cy="0"/>
          </a:xfrm>
          <a:prstGeom prst="line">
            <a:avLst/>
          </a:prstGeom>
          <a:ln w="28575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40"/>
          <p:cNvCxnSpPr/>
          <p:nvPr/>
        </p:nvCxnSpPr>
        <p:spPr>
          <a:xfrm>
            <a:off x="5135893" y="1604797"/>
            <a:ext cx="1920000" cy="0"/>
          </a:xfrm>
          <a:prstGeom prst="line">
            <a:avLst/>
          </a:prstGeom>
          <a:ln w="28575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40"/>
          <p:cNvCxnSpPr/>
          <p:nvPr/>
        </p:nvCxnSpPr>
        <p:spPr>
          <a:xfrm>
            <a:off x="2735627" y="1604797"/>
            <a:ext cx="1920000" cy="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40"/>
          <p:cNvCxnSpPr/>
          <p:nvPr/>
        </p:nvCxnSpPr>
        <p:spPr>
          <a:xfrm>
            <a:off x="7536373" y="1604797"/>
            <a:ext cx="1920000" cy="0"/>
          </a:xfrm>
          <a:prstGeom prst="line">
            <a:avLst/>
          </a:prstGeom>
          <a:ln w="28575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lowchart: Manual Input 2"/>
          <p:cNvSpPr/>
          <p:nvPr/>
        </p:nvSpPr>
        <p:spPr bwMode="auto">
          <a:xfrm rot="10800000">
            <a:off x="335360" y="1779064"/>
            <a:ext cx="1920000" cy="1073873"/>
          </a:xfrm>
          <a:custGeom>
            <a:avLst/>
            <a:gdLst>
              <a:gd name="connsiteX0" fmla="*/ 0 w 10000"/>
              <a:gd name="connsiteY0" fmla="*/ 0 h 10547"/>
              <a:gd name="connsiteX1" fmla="*/ 9989 w 10000"/>
              <a:gd name="connsiteY1" fmla="*/ 2899 h 10547"/>
              <a:gd name="connsiteX2" fmla="*/ 10000 w 10000"/>
              <a:gd name="connsiteY2" fmla="*/ 10547 h 10547"/>
              <a:gd name="connsiteX3" fmla="*/ 0 w 10000"/>
              <a:gd name="connsiteY3" fmla="*/ 10547 h 10547"/>
              <a:gd name="connsiteX4" fmla="*/ 0 w 10000"/>
              <a:gd name="connsiteY4" fmla="*/ 0 h 10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547">
                <a:moveTo>
                  <a:pt x="0" y="0"/>
                </a:moveTo>
                <a:lnTo>
                  <a:pt x="9989" y="2899"/>
                </a:lnTo>
                <a:cubicBezTo>
                  <a:pt x="9993" y="5448"/>
                  <a:pt x="9996" y="7998"/>
                  <a:pt x="10000" y="10547"/>
                </a:cubicBezTo>
                <a:lnTo>
                  <a:pt x="0" y="10547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6822"/>
            </a:stretch>
          </a:blipFill>
          <a:ln w="9525">
            <a:noFill/>
            <a:miter lim="800000"/>
          </a:ln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0" name="Flowchart: Manual Input 29"/>
          <p:cNvSpPr/>
          <p:nvPr/>
        </p:nvSpPr>
        <p:spPr bwMode="auto">
          <a:xfrm rot="10800000" flipH="1" flipV="1">
            <a:off x="335360" y="2269150"/>
            <a:ext cx="1920000" cy="967829"/>
          </a:xfrm>
          <a:custGeom>
            <a:avLst/>
            <a:gdLst>
              <a:gd name="connsiteX0" fmla="*/ 0 w 10011"/>
              <a:gd name="connsiteY0" fmla="*/ 0 h 12928"/>
              <a:gd name="connsiteX1" fmla="*/ 10011 w 10011"/>
              <a:gd name="connsiteY1" fmla="*/ 3533 h 12928"/>
              <a:gd name="connsiteX2" fmla="*/ 10000 w 10011"/>
              <a:gd name="connsiteY2" fmla="*/ 12928 h 12928"/>
              <a:gd name="connsiteX3" fmla="*/ 11 w 10011"/>
              <a:gd name="connsiteY3" fmla="*/ 12928 h 12928"/>
              <a:gd name="connsiteX4" fmla="*/ 0 w 10011"/>
              <a:gd name="connsiteY4" fmla="*/ 0 h 12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1" h="12927">
                <a:moveTo>
                  <a:pt x="0" y="0"/>
                </a:moveTo>
                <a:lnTo>
                  <a:pt x="10011" y="3533"/>
                </a:lnTo>
                <a:cubicBezTo>
                  <a:pt x="10007" y="6664"/>
                  <a:pt x="10004" y="9797"/>
                  <a:pt x="10000" y="12928"/>
                </a:cubicBezTo>
                <a:lnTo>
                  <a:pt x="11" y="12928"/>
                </a:lnTo>
                <a:cubicBezTo>
                  <a:pt x="15" y="8402"/>
                  <a:pt x="-4" y="4526"/>
                  <a:pt x="0" y="0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06" t="-8615" r="254" b="-35558"/>
            </a:stretch>
          </a:blipFill>
          <a:ln w="9525">
            <a:noFill/>
            <a:miter lim="800000"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1" name="Flowchart: Manual Input 49"/>
          <p:cNvSpPr/>
          <p:nvPr/>
        </p:nvSpPr>
        <p:spPr bwMode="auto">
          <a:xfrm rot="10800000" flipH="1" flipV="1">
            <a:off x="5135894" y="1785317"/>
            <a:ext cx="1920213" cy="1643684"/>
          </a:xfrm>
          <a:custGeom>
            <a:avLst/>
            <a:gdLst>
              <a:gd name="connsiteX0" fmla="*/ 2112 w 10741"/>
              <a:gd name="connsiteY0" fmla="*/ 3 h 10013"/>
              <a:gd name="connsiteX1" fmla="*/ 10741 w 10741"/>
              <a:gd name="connsiteY1" fmla="*/ 0 h 10013"/>
              <a:gd name="connsiteX2" fmla="*/ 10714 w 10741"/>
              <a:gd name="connsiteY2" fmla="*/ 10008 h 10013"/>
              <a:gd name="connsiteX3" fmla="*/ 0 w 10741"/>
              <a:gd name="connsiteY3" fmla="*/ 10013 h 10013"/>
              <a:gd name="connsiteX4" fmla="*/ 2112 w 10741"/>
              <a:gd name="connsiteY4" fmla="*/ 3 h 1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41" h="10013">
                <a:moveTo>
                  <a:pt x="2112" y="3"/>
                </a:moveTo>
                <a:lnTo>
                  <a:pt x="10741" y="0"/>
                </a:lnTo>
                <a:cubicBezTo>
                  <a:pt x="10731" y="3333"/>
                  <a:pt x="10721" y="6676"/>
                  <a:pt x="10714" y="10008"/>
                </a:cubicBezTo>
                <a:lnTo>
                  <a:pt x="0" y="10013"/>
                </a:lnTo>
                <a:lnTo>
                  <a:pt x="2112" y="3"/>
                </a:lnTo>
                <a:close/>
              </a:path>
            </a:pathLst>
          </a:custGeom>
          <a:blipFill dpi="0" rotWithShape="0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8305" t="-5143" r="-2305" b="-25196"/>
            </a:stretch>
          </a:blipFill>
          <a:ln w="9525">
            <a:noFill/>
            <a:miter lim="800000"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2" name="Flowchart: Manual Input 46"/>
          <p:cNvSpPr/>
          <p:nvPr/>
        </p:nvSpPr>
        <p:spPr bwMode="auto">
          <a:xfrm rot="10800000" flipH="1">
            <a:off x="7536160" y="1781720"/>
            <a:ext cx="1920000" cy="1359248"/>
          </a:xfrm>
          <a:custGeom>
            <a:avLst/>
            <a:gdLst>
              <a:gd name="connsiteX0" fmla="*/ 11 w 10011"/>
              <a:gd name="connsiteY0" fmla="*/ 5685 h 13058"/>
              <a:gd name="connsiteX1" fmla="*/ 10011 w 10011"/>
              <a:gd name="connsiteY1" fmla="*/ 0 h 13058"/>
              <a:gd name="connsiteX2" fmla="*/ 10000 w 10011"/>
              <a:gd name="connsiteY2" fmla="*/ 13058 h 13058"/>
              <a:gd name="connsiteX3" fmla="*/ 0 w 10011"/>
              <a:gd name="connsiteY3" fmla="*/ 13058 h 13058"/>
              <a:gd name="connsiteX4" fmla="*/ 11 w 10011"/>
              <a:gd name="connsiteY4" fmla="*/ 5685 h 13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1" h="13058">
                <a:moveTo>
                  <a:pt x="11" y="5685"/>
                </a:moveTo>
                <a:lnTo>
                  <a:pt x="10011" y="0"/>
                </a:lnTo>
                <a:cubicBezTo>
                  <a:pt x="10007" y="4353"/>
                  <a:pt x="10004" y="8705"/>
                  <a:pt x="10000" y="13058"/>
                </a:cubicBezTo>
                <a:lnTo>
                  <a:pt x="0" y="13058"/>
                </a:lnTo>
                <a:cubicBezTo>
                  <a:pt x="4" y="11361"/>
                  <a:pt x="7" y="7382"/>
                  <a:pt x="11" y="5685"/>
                </a:cubicBezTo>
                <a:close/>
              </a:path>
            </a:pathLst>
          </a:custGeom>
          <a:blipFill dpi="0" rotWithShape="0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27" t="-20080" r="-227" b="-6602"/>
            </a:stretch>
          </a:blipFill>
          <a:ln w="9525">
            <a:noFill/>
            <a:miter lim="800000"/>
          </a:ln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3" name="Flowchart: Manual Input 47"/>
          <p:cNvSpPr/>
          <p:nvPr/>
        </p:nvSpPr>
        <p:spPr bwMode="auto">
          <a:xfrm rot="10800000" flipV="1">
            <a:off x="7536373" y="2372882"/>
            <a:ext cx="1920000" cy="1054969"/>
          </a:xfrm>
          <a:custGeom>
            <a:avLst/>
            <a:gdLst>
              <a:gd name="connsiteX0" fmla="*/ 0 w 10015"/>
              <a:gd name="connsiteY0" fmla="*/ 7515 h 13868"/>
              <a:gd name="connsiteX1" fmla="*/ 10000 w 10015"/>
              <a:gd name="connsiteY1" fmla="*/ 0 h 13868"/>
              <a:gd name="connsiteX2" fmla="*/ 10015 w 10015"/>
              <a:gd name="connsiteY2" fmla="*/ 13868 h 13868"/>
              <a:gd name="connsiteX3" fmla="*/ 15 w 10015"/>
              <a:gd name="connsiteY3" fmla="*/ 13868 h 13868"/>
              <a:gd name="connsiteX4" fmla="*/ 0 w 10015"/>
              <a:gd name="connsiteY4" fmla="*/ 7515 h 13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" h="13868">
                <a:moveTo>
                  <a:pt x="0" y="7515"/>
                </a:moveTo>
                <a:lnTo>
                  <a:pt x="10000" y="0"/>
                </a:lnTo>
                <a:cubicBezTo>
                  <a:pt x="10005" y="4623"/>
                  <a:pt x="10010" y="9245"/>
                  <a:pt x="10015" y="13868"/>
                </a:cubicBezTo>
                <a:lnTo>
                  <a:pt x="15" y="13868"/>
                </a:lnTo>
                <a:cubicBezTo>
                  <a:pt x="10" y="11305"/>
                  <a:pt x="5" y="10078"/>
                  <a:pt x="0" y="7515"/>
                </a:cubicBezTo>
                <a:close/>
              </a:path>
            </a:pathLst>
          </a:cu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386" t="-7012" r="-386" b="-26081"/>
            </a:stretch>
          </a:blipFill>
          <a:ln w="9525">
            <a:noFill/>
            <a:miter lim="800000"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4" name="Flowchart: Manual Input 44"/>
          <p:cNvSpPr/>
          <p:nvPr/>
        </p:nvSpPr>
        <p:spPr bwMode="auto">
          <a:xfrm rot="10800000">
            <a:off x="9936640" y="1788136"/>
            <a:ext cx="1920000" cy="1160811"/>
          </a:xfrm>
          <a:custGeom>
            <a:avLst/>
            <a:gdLst>
              <a:gd name="connsiteX0" fmla="*/ 0 w 10000"/>
              <a:gd name="connsiteY0" fmla="*/ 0 h 13491"/>
              <a:gd name="connsiteX1" fmla="*/ 10000 w 10000"/>
              <a:gd name="connsiteY1" fmla="*/ 4789 h 13491"/>
              <a:gd name="connsiteX2" fmla="*/ 9989 w 10000"/>
              <a:gd name="connsiteY2" fmla="*/ 13491 h 13491"/>
              <a:gd name="connsiteX3" fmla="*/ 0 w 10000"/>
              <a:gd name="connsiteY3" fmla="*/ 13491 h 13491"/>
              <a:gd name="connsiteX4" fmla="*/ 0 w 10000"/>
              <a:gd name="connsiteY4" fmla="*/ 0 h 13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3491">
                <a:moveTo>
                  <a:pt x="0" y="0"/>
                </a:moveTo>
                <a:lnTo>
                  <a:pt x="10000" y="4789"/>
                </a:lnTo>
                <a:cubicBezTo>
                  <a:pt x="9996" y="7690"/>
                  <a:pt x="9993" y="10590"/>
                  <a:pt x="9989" y="13491"/>
                </a:cubicBezTo>
                <a:lnTo>
                  <a:pt x="0" y="13491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3" b="-22986"/>
            </a:stretch>
          </a:blipFill>
          <a:ln w="9525">
            <a:noFill/>
            <a:miter lim="800000"/>
          </a:ln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5" name="Flowchart: Manual Input 45"/>
          <p:cNvSpPr/>
          <p:nvPr/>
        </p:nvSpPr>
        <p:spPr bwMode="auto">
          <a:xfrm rot="10800000" flipH="1" flipV="1">
            <a:off x="9936640" y="2339695"/>
            <a:ext cx="1920000" cy="1060371"/>
          </a:xfrm>
          <a:custGeom>
            <a:avLst/>
            <a:gdLst>
              <a:gd name="connsiteX0" fmla="*/ 0 w 10024"/>
              <a:gd name="connsiteY0" fmla="*/ 0 h 11405"/>
              <a:gd name="connsiteX1" fmla="*/ 10023 w 10024"/>
              <a:gd name="connsiteY1" fmla="*/ 3781 h 11405"/>
              <a:gd name="connsiteX2" fmla="*/ 10000 w 10024"/>
              <a:gd name="connsiteY2" fmla="*/ 11405 h 11405"/>
              <a:gd name="connsiteX3" fmla="*/ 0 w 10024"/>
              <a:gd name="connsiteY3" fmla="*/ 11405 h 11405"/>
              <a:gd name="connsiteX4" fmla="*/ 0 w 10024"/>
              <a:gd name="connsiteY4" fmla="*/ 0 h 11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24" h="11405">
                <a:moveTo>
                  <a:pt x="0" y="0"/>
                </a:moveTo>
                <a:lnTo>
                  <a:pt x="10023" y="3781"/>
                </a:lnTo>
                <a:cubicBezTo>
                  <a:pt x="10031" y="6314"/>
                  <a:pt x="9992" y="8872"/>
                  <a:pt x="10000" y="11405"/>
                </a:cubicBezTo>
                <a:lnTo>
                  <a:pt x="0" y="1140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40136" b="-2"/>
            </a:stretch>
          </a:blipFill>
          <a:ln w="9525">
            <a:noFill/>
            <a:miter lim="800000"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lIns="72000" tIns="72000" rIns="72000" bIns="72000" rtlCol="0" anchor="ctr"/>
          <a:lstStyle/>
          <a:p>
            <a:pPr algn="ctr" defTabSz="1219170" eaLnBrk="0" hangingPunct="0"/>
            <a:endParaRPr lang="en-US" sz="1600">
              <a:solidFill>
                <a:srgbClr val="000000"/>
              </a:solidFill>
              <a:latin typeface="Arial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6" name="Grafik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3559" y="1796744"/>
            <a:ext cx="1920000" cy="1603321"/>
          </a:xfrm>
          <a:prstGeom prst="rect">
            <a:avLst/>
          </a:prstGeom>
        </p:spPr>
      </p:pic>
      <p:pic>
        <p:nvPicPr>
          <p:cNvPr id="26" name="Picture 4" descr="Partenaires | Board of European Students of Technology">
            <a:extLst>
              <a:ext uri="{FF2B5EF4-FFF2-40B4-BE49-F238E27FC236}">
                <a16:creationId xmlns:a16="http://schemas.microsoft.com/office/drawing/2014/main" id="{C05F4520-4486-44F2-BB78-E62E4D3EF1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686922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335360" y="4189531"/>
            <a:ext cx="11521280" cy="2192220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914377" eaLnBrk="0" hangingPunct="0">
              <a:defRPr/>
            </a:pPr>
            <a:endParaRPr lang="en-US" sz="1600" dirty="0">
              <a:latin typeface="Arial"/>
              <a:ea typeface="Verdana" pitchFamily="34" charset="0"/>
              <a:cs typeface="Verdana" pitchFamily="34" charset="0"/>
            </a:endParaRPr>
          </a:p>
        </p:txBody>
      </p:sp>
      <p:sp>
        <p:nvSpPr>
          <p:cNvPr id="62" name="Rechteck 61"/>
          <p:cNvSpPr/>
          <p:nvPr/>
        </p:nvSpPr>
        <p:spPr bwMode="auto">
          <a:xfrm rot="10800000" flipV="1">
            <a:off x="334432" y="3276709"/>
            <a:ext cx="2640000" cy="5400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>
              <a:buClr>
                <a:srgbClr val="000000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Energy efficiency</a:t>
            </a:r>
          </a:p>
        </p:txBody>
      </p:sp>
      <p:sp>
        <p:nvSpPr>
          <p:cNvPr id="46" name="Rechteck 45"/>
          <p:cNvSpPr/>
          <p:nvPr/>
        </p:nvSpPr>
        <p:spPr bwMode="auto">
          <a:xfrm rot="10800000" flipV="1">
            <a:off x="3272937" y="3270976"/>
            <a:ext cx="2640000" cy="540000"/>
          </a:xfrm>
          <a:prstGeom prst="rect">
            <a:avLst/>
          </a:prstGeom>
          <a:solidFill>
            <a:srgbClr val="84B6A7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>
              <a:buClr>
                <a:srgbClr val="000000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Mobility</a:t>
            </a:r>
          </a:p>
        </p:txBody>
      </p:sp>
      <p:sp>
        <p:nvSpPr>
          <p:cNvPr id="47" name="Rechteck 46"/>
          <p:cNvSpPr/>
          <p:nvPr/>
        </p:nvSpPr>
        <p:spPr bwMode="auto">
          <a:xfrm rot="10800000" flipV="1">
            <a:off x="6208052" y="3270976"/>
            <a:ext cx="2640000" cy="540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>
              <a:buClr>
                <a:srgbClr val="000000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Security</a:t>
            </a:r>
          </a:p>
        </p:txBody>
      </p:sp>
      <p:sp>
        <p:nvSpPr>
          <p:cNvPr id="48" name="Rechteck 47"/>
          <p:cNvSpPr/>
          <p:nvPr/>
        </p:nvSpPr>
        <p:spPr bwMode="auto">
          <a:xfrm rot="10800000" flipV="1">
            <a:off x="9146780" y="3267535"/>
            <a:ext cx="2640000" cy="54000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>
              <a:buClr>
                <a:srgbClr val="000000"/>
              </a:buClr>
              <a:defRPr/>
            </a:pPr>
            <a:r>
              <a:rPr lang="en-US" sz="1600" noProof="1">
                <a:solidFill>
                  <a:srgbClr val="FFFFFF"/>
                </a:solidFill>
                <a:latin typeface="Arial"/>
              </a:rPr>
              <a:t>IoT</a:t>
            </a:r>
            <a:r>
              <a:rPr lang="en-US" sz="1600" dirty="0">
                <a:solidFill>
                  <a:srgbClr val="FFFFFF"/>
                </a:solidFill>
                <a:latin typeface="Arial"/>
              </a:rPr>
              <a:t> &amp; big data</a:t>
            </a:r>
          </a:p>
        </p:txBody>
      </p:sp>
      <p:sp>
        <p:nvSpPr>
          <p:cNvPr id="60" name="Textfeld 59"/>
          <p:cNvSpPr txBox="1"/>
          <p:nvPr/>
        </p:nvSpPr>
        <p:spPr bwMode="auto">
          <a:xfrm>
            <a:off x="334433" y="1301355"/>
            <a:ext cx="864235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914157" eaLnBrk="0" hangingPunct="0">
              <a:buClr>
                <a:srgbClr val="E30034"/>
              </a:buClr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Global megatrends </a:t>
            </a:r>
            <a:r>
              <a:rPr lang="en-US" sz="1600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(relevant for our business)</a:t>
            </a:r>
            <a:endParaRPr lang="en-US" sz="1600" b="1" kern="0" dirty="0">
              <a:solidFill>
                <a:srgbClr val="000000"/>
              </a:solidFill>
              <a:latin typeface="Arial"/>
              <a:ea typeface="Verdana" pitchFamily="34" charset="0"/>
            </a:endParaRPr>
          </a:p>
        </p:txBody>
      </p:sp>
      <p:sp>
        <p:nvSpPr>
          <p:cNvPr id="61" name="Textfeld 60"/>
          <p:cNvSpPr txBox="1"/>
          <p:nvPr/>
        </p:nvSpPr>
        <p:spPr bwMode="auto">
          <a:xfrm>
            <a:off x="307504" y="2964186"/>
            <a:ext cx="864282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914157" eaLnBrk="0" hangingPunct="0">
              <a:buClr>
                <a:srgbClr val="E30034"/>
              </a:buClr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Semiconductor market trends </a:t>
            </a:r>
            <a:r>
              <a:rPr lang="en-US" sz="1600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(market growth areas)</a:t>
            </a:r>
          </a:p>
        </p:txBody>
      </p:sp>
      <p:sp>
        <p:nvSpPr>
          <p:cNvPr id="4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S business is driven by industry trends…</a:t>
            </a:r>
          </a:p>
        </p:txBody>
      </p:sp>
      <p:sp>
        <p:nvSpPr>
          <p:cNvPr id="50" name="Textfeld 49"/>
          <p:cNvSpPr txBox="1"/>
          <p:nvPr/>
        </p:nvSpPr>
        <p:spPr bwMode="auto">
          <a:xfrm>
            <a:off x="333956" y="3909055"/>
            <a:ext cx="864282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914157" eaLnBrk="0" hangingPunct="0">
              <a:buClr>
                <a:srgbClr val="E30034"/>
              </a:buClr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Market applications </a:t>
            </a:r>
            <a:r>
              <a:rPr lang="en-US" sz="1600" kern="0" dirty="0">
                <a:solidFill>
                  <a:srgbClr val="000000"/>
                </a:solidFill>
                <a:latin typeface="Arial"/>
                <a:ea typeface="Verdana" pitchFamily="34" charset="0"/>
              </a:rPr>
              <a:t>(growth drivers for our business) – examples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6954637" y="4534994"/>
            <a:ext cx="79669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Robotics</a:t>
            </a:r>
          </a:p>
        </p:txBody>
      </p:sp>
      <p:sp>
        <p:nvSpPr>
          <p:cNvPr id="59" name="TextBox 58"/>
          <p:cNvSpPr txBox="1"/>
          <p:nvPr/>
        </p:nvSpPr>
        <p:spPr bwMode="auto">
          <a:xfrm>
            <a:off x="9322576" y="5318952"/>
            <a:ext cx="233717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Human machine interface</a:t>
            </a:r>
          </a:p>
        </p:txBody>
      </p:sp>
      <p:sp>
        <p:nvSpPr>
          <p:cNvPr id="63" name="TextBox 62"/>
          <p:cNvSpPr txBox="1"/>
          <p:nvPr/>
        </p:nvSpPr>
        <p:spPr bwMode="auto">
          <a:xfrm>
            <a:off x="5441614" y="6071712"/>
            <a:ext cx="179696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Artificial intelligence</a:t>
            </a:r>
          </a:p>
        </p:txBody>
      </p:sp>
      <p:sp>
        <p:nvSpPr>
          <p:cNvPr id="64" name="TextBox 63"/>
          <p:cNvSpPr txBox="1"/>
          <p:nvPr/>
        </p:nvSpPr>
        <p:spPr bwMode="auto">
          <a:xfrm>
            <a:off x="3613379" y="5279624"/>
            <a:ext cx="11188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Smart home</a:t>
            </a:r>
          </a:p>
        </p:txBody>
      </p:sp>
      <p:sp>
        <p:nvSpPr>
          <p:cNvPr id="65" name="TextBox 64"/>
          <p:cNvSpPr txBox="1"/>
          <p:nvPr/>
        </p:nvSpPr>
        <p:spPr bwMode="auto">
          <a:xfrm>
            <a:off x="9813481" y="5927696"/>
            <a:ext cx="107240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Smart cities</a:t>
            </a:r>
          </a:p>
        </p:txBody>
      </p:sp>
      <p:sp>
        <p:nvSpPr>
          <p:cNvPr id="66" name="TextBox 65"/>
          <p:cNvSpPr txBox="1"/>
          <p:nvPr/>
        </p:nvSpPr>
        <p:spPr bwMode="auto">
          <a:xfrm>
            <a:off x="1256577" y="5912188"/>
            <a:ext cx="121988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Smartphones</a:t>
            </a:r>
          </a:p>
        </p:txBody>
      </p:sp>
      <p:sp>
        <p:nvSpPr>
          <p:cNvPr id="67" name="TextBox 66"/>
          <p:cNvSpPr txBox="1"/>
          <p:nvPr/>
        </p:nvSpPr>
        <p:spPr bwMode="auto">
          <a:xfrm>
            <a:off x="9904448" y="4417328"/>
            <a:ext cx="10611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Data center</a:t>
            </a:r>
          </a:p>
        </p:txBody>
      </p:sp>
      <p:sp>
        <p:nvSpPr>
          <p:cNvPr id="81" name="TextBox 80"/>
          <p:cNvSpPr txBox="1"/>
          <p:nvPr/>
        </p:nvSpPr>
        <p:spPr bwMode="auto">
          <a:xfrm>
            <a:off x="3966698" y="4415528"/>
            <a:ext cx="62517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AR/VR</a:t>
            </a:r>
          </a:p>
        </p:txBody>
      </p:sp>
      <p:sp>
        <p:nvSpPr>
          <p:cNvPr id="82" name="TextBox 81"/>
          <p:cNvSpPr txBox="1"/>
          <p:nvPr/>
        </p:nvSpPr>
        <p:spPr bwMode="auto">
          <a:xfrm>
            <a:off x="1480307" y="4717620"/>
            <a:ext cx="7165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Lighting</a:t>
            </a:r>
          </a:p>
        </p:txBody>
      </p:sp>
      <p:sp>
        <p:nvSpPr>
          <p:cNvPr id="83" name="TextBox 82"/>
          <p:cNvSpPr txBox="1"/>
          <p:nvPr/>
        </p:nvSpPr>
        <p:spPr bwMode="auto">
          <a:xfrm>
            <a:off x="1573094" y="5424903"/>
            <a:ext cx="5562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ADAS</a:t>
            </a:r>
          </a:p>
        </p:txBody>
      </p:sp>
      <p:sp>
        <p:nvSpPr>
          <p:cNvPr id="84" name="TextBox 83"/>
          <p:cNvSpPr txBox="1"/>
          <p:nvPr/>
        </p:nvSpPr>
        <p:spPr bwMode="auto">
          <a:xfrm>
            <a:off x="6917364" y="5037870"/>
            <a:ext cx="14475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Mobile payment</a:t>
            </a:r>
          </a:p>
        </p:txBody>
      </p:sp>
      <p:sp>
        <p:nvSpPr>
          <p:cNvPr id="85" name="TextBox 84"/>
          <p:cNvSpPr txBox="1"/>
          <p:nvPr/>
        </p:nvSpPr>
        <p:spPr bwMode="auto">
          <a:xfrm>
            <a:off x="6138258" y="5580662"/>
            <a:ext cx="167513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Advanced security</a:t>
            </a:r>
          </a:p>
        </p:txBody>
      </p:sp>
      <p:sp>
        <p:nvSpPr>
          <p:cNvPr id="86" name="TextBox 85"/>
          <p:cNvSpPr txBox="1"/>
          <p:nvPr/>
        </p:nvSpPr>
        <p:spPr bwMode="auto">
          <a:xfrm>
            <a:off x="10520941" y="4825343"/>
            <a:ext cx="8079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 err="1">
                <a:latin typeface="Arial"/>
                <a:ea typeface="Verdana" pitchFamily="34" charset="0"/>
                <a:cs typeface="Verdana" pitchFamily="34" charset="0"/>
              </a:rPr>
              <a:t>eMobility</a:t>
            </a:r>
            <a:endParaRPr lang="en-US" sz="1600" kern="0" dirty="0">
              <a:latin typeface="Arial"/>
              <a:ea typeface="Verdana" pitchFamily="34" charset="0"/>
              <a:cs typeface="Verdana" pitchFamily="34" charset="0"/>
            </a:endParaRPr>
          </a:p>
        </p:txBody>
      </p:sp>
      <p:sp>
        <p:nvSpPr>
          <p:cNvPr id="87" name="TextBox 86"/>
          <p:cNvSpPr txBox="1"/>
          <p:nvPr/>
        </p:nvSpPr>
        <p:spPr bwMode="auto">
          <a:xfrm>
            <a:off x="3492467" y="4847576"/>
            <a:ext cx="14362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Connected cars</a:t>
            </a:r>
          </a:p>
        </p:txBody>
      </p:sp>
      <p:sp>
        <p:nvSpPr>
          <p:cNvPr id="88" name="TextBox 87"/>
          <p:cNvSpPr txBox="1"/>
          <p:nvPr/>
        </p:nvSpPr>
        <p:spPr bwMode="auto">
          <a:xfrm>
            <a:off x="582905" y="4319136"/>
            <a:ext cx="162865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Wireless charging</a:t>
            </a:r>
          </a:p>
        </p:txBody>
      </p:sp>
      <p:pic>
        <p:nvPicPr>
          <p:cNvPr id="99" name="Picture 4"/>
          <p:cNvPicPr>
            <a:picLocks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61" b="5361"/>
          <a:stretch/>
        </p:blipFill>
        <p:spPr bwMode="auto">
          <a:xfrm>
            <a:off x="9162753" y="1655877"/>
            <a:ext cx="264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/>
          <p:cNvPicPr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757" b="14757"/>
          <a:stretch/>
        </p:blipFill>
        <p:spPr bwMode="auto">
          <a:xfrm>
            <a:off x="6211664" y="1655877"/>
            <a:ext cx="264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91" b="9291"/>
          <a:stretch/>
        </p:blipFill>
        <p:spPr bwMode="auto">
          <a:xfrm>
            <a:off x="3265173" y="1655877"/>
            <a:ext cx="2640000" cy="12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" name="Picture 101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500" b="12500"/>
          <a:stretch/>
        </p:blipFill>
        <p:spPr bwMode="auto">
          <a:xfrm>
            <a:off x="334432" y="1655877"/>
            <a:ext cx="264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echteck 3"/>
          <p:cNvSpPr/>
          <p:nvPr/>
        </p:nvSpPr>
        <p:spPr bwMode="auto">
          <a:xfrm>
            <a:off x="305136" y="2372755"/>
            <a:ext cx="2702480" cy="396000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 eaLnBrk="0" hangingPunct="0">
              <a:buClr>
                <a:srgbClr val="000000"/>
              </a:buClr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Demographic &amp;</a:t>
            </a:r>
            <a:b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</a:b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social change</a:t>
            </a:r>
          </a:p>
        </p:txBody>
      </p:sp>
      <p:sp>
        <p:nvSpPr>
          <p:cNvPr id="104" name="Rechteck 74"/>
          <p:cNvSpPr/>
          <p:nvPr/>
        </p:nvSpPr>
        <p:spPr bwMode="auto">
          <a:xfrm>
            <a:off x="3240830" y="2376155"/>
            <a:ext cx="2664343" cy="396000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 eaLnBrk="0" hangingPunct="0">
              <a:buClr>
                <a:srgbClr val="000000"/>
              </a:buClr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Climate change &amp;</a:t>
            </a:r>
            <a:b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</a:b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scarce resources</a:t>
            </a:r>
          </a:p>
        </p:txBody>
      </p:sp>
      <p:sp>
        <p:nvSpPr>
          <p:cNvPr id="105" name="Rechteck 75"/>
          <p:cNvSpPr/>
          <p:nvPr/>
        </p:nvSpPr>
        <p:spPr bwMode="auto">
          <a:xfrm>
            <a:off x="6211664" y="2372755"/>
            <a:ext cx="2640000" cy="396000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 eaLnBrk="0" hangingPunct="0">
              <a:buClr>
                <a:srgbClr val="000000"/>
              </a:buClr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Urbanization</a:t>
            </a:r>
          </a:p>
        </p:txBody>
      </p:sp>
      <p:sp>
        <p:nvSpPr>
          <p:cNvPr id="106" name="Rechteck 76"/>
          <p:cNvSpPr/>
          <p:nvPr/>
        </p:nvSpPr>
        <p:spPr bwMode="auto">
          <a:xfrm>
            <a:off x="9146781" y="2377896"/>
            <a:ext cx="2655972" cy="396000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1983" tIns="71983" rIns="71983" bIns="71983" rtlCol="0" anchor="ctr"/>
          <a:lstStyle/>
          <a:p>
            <a:pPr algn="ctr" defTabSz="914377" eaLnBrk="0" hangingPunct="0">
              <a:buClr>
                <a:srgbClr val="000000"/>
              </a:buClr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ea typeface="Verdana" pitchFamily="34" charset="0"/>
                <a:cs typeface="Verdana (Textkörper)"/>
              </a:rPr>
              <a:t>Digital transformation</a:t>
            </a:r>
          </a:p>
        </p:txBody>
      </p:sp>
      <p:sp>
        <p:nvSpPr>
          <p:cNvPr id="37" name="TextBox 63"/>
          <p:cNvSpPr txBox="1"/>
          <p:nvPr/>
        </p:nvSpPr>
        <p:spPr bwMode="auto">
          <a:xfrm>
            <a:off x="3314496" y="5675668"/>
            <a:ext cx="13096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Smart building</a:t>
            </a:r>
          </a:p>
        </p:txBody>
      </p:sp>
      <p:sp>
        <p:nvSpPr>
          <p:cNvPr id="38" name="TextBox 63"/>
          <p:cNvSpPr txBox="1"/>
          <p:nvPr/>
        </p:nvSpPr>
        <p:spPr bwMode="auto">
          <a:xfrm>
            <a:off x="11241210" y="4232107"/>
            <a:ext cx="2741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5G</a:t>
            </a:r>
          </a:p>
        </p:txBody>
      </p:sp>
      <p:sp>
        <p:nvSpPr>
          <p:cNvPr id="39" name="TextBox 63"/>
          <p:cNvSpPr txBox="1"/>
          <p:nvPr/>
        </p:nvSpPr>
        <p:spPr bwMode="auto">
          <a:xfrm>
            <a:off x="552133" y="5059919"/>
            <a:ext cx="201818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Drones &amp; </a:t>
            </a:r>
            <a:r>
              <a:rPr lang="en-US" sz="1600" kern="0" dirty="0" err="1">
                <a:latin typeface="Arial"/>
                <a:ea typeface="Verdana" pitchFamily="34" charset="0"/>
                <a:cs typeface="Verdana" pitchFamily="34" charset="0"/>
              </a:rPr>
              <a:t>multicopters</a:t>
            </a:r>
            <a:endParaRPr lang="en-US" sz="1600" kern="0" dirty="0">
              <a:latin typeface="Arial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TextBox 63"/>
          <p:cNvSpPr txBox="1"/>
          <p:nvPr/>
        </p:nvSpPr>
        <p:spPr bwMode="auto">
          <a:xfrm>
            <a:off x="7668104" y="5852716"/>
            <a:ext cx="9794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defRPr/>
            </a:pPr>
            <a:r>
              <a:rPr lang="en-US" sz="1600" kern="0" dirty="0">
                <a:latin typeface="Arial"/>
                <a:ea typeface="Verdana" pitchFamily="34" charset="0"/>
                <a:cs typeface="Verdana" pitchFamily="34" charset="0"/>
              </a:rPr>
              <a:t>Wearables</a:t>
            </a:r>
          </a:p>
        </p:txBody>
      </p:sp>
      <p:pic>
        <p:nvPicPr>
          <p:cNvPr id="40" name="Picture 4" descr="Partenaires | Board of European Students of Technology">
            <a:extLst>
              <a:ext uri="{FF2B5EF4-FFF2-40B4-BE49-F238E27FC236}">
                <a16:creationId xmlns:a16="http://schemas.microsoft.com/office/drawing/2014/main" id="{62646A3D-819A-4304-ABF7-B45CA4E4B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29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59" grpId="0"/>
      <p:bldP spid="63" grpId="0"/>
      <p:bldP spid="64" grpId="0"/>
      <p:bldP spid="65" grpId="0"/>
      <p:bldP spid="66" grpId="0"/>
      <p:bldP spid="67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88" grpId="0"/>
      <p:bldP spid="37" grpId="0"/>
      <p:bldP spid="38" grpId="0"/>
      <p:bldP spid="39" grpId="0"/>
      <p:bldP spid="4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960AA7-1CDB-4A41-9326-06D60E74599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pic>
        <p:nvPicPr>
          <p:cNvPr id="24" name="Picture 4" descr="Partenaires | Board of European Students of Technology">
            <a:extLst>
              <a:ext uri="{FF2B5EF4-FFF2-40B4-BE49-F238E27FC236}">
                <a16:creationId xmlns:a16="http://schemas.microsoft.com/office/drawing/2014/main" id="{3D5B0932-292B-4CC9-BCC3-44D8A581B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5690CC-A25E-4F1D-A419-73EE09511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2F26A-15F0-4382-8CF2-9F07B716C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A79F2C-8959-4647-8032-BA2B6BE6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C47942E-92BC-48B3-9650-C1FE45E8C9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34433" y="1268413"/>
            <a:ext cx="11521020" cy="3168399"/>
            <a:chOff x="334433" y="1268413"/>
            <a:chExt cx="11521020" cy="3168399"/>
          </a:xfrm>
        </p:grpSpPr>
        <p:sp>
          <p:nvSpPr>
            <p:cNvPr id="6" name="MIO_AGENDA_ELEMENT_TITEL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27218333-DB51-474D-A39A-D65EAE7D21D6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5" y="1268413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latin typeface="+mn-lt"/>
                </a:rPr>
                <a:t>Presentation of the company, division and department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7" name="MIO_AGENDA_ELEMENT_ELEMENT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BA735544-5550-4E94-B947-74BF5CEB295B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3" y="1268413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MIO_AGENDA_ELEMENT_PAGENUMBER_1">
              <a:hlinkClick r:id="rId18" action="ppaction://hlinksldjump"/>
              <a:extLst>
                <a:ext uri="{FF2B5EF4-FFF2-40B4-BE49-F238E27FC236}">
                  <a16:creationId xmlns:a16="http://schemas.microsoft.com/office/drawing/2014/main" id="{FB53ABCA-9C6B-489B-A3F8-E251CDC42317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4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9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38C6B2D7-DB3F-4B69-902E-A29149515F4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5" y="1916493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latin typeface="+mn-lt"/>
                </a:rPr>
                <a:t>Main Projects, Objectives and Achievements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10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6B370A45-4D5C-4F20-9032-EE8BD3C453EE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3" y="1916493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MIO_AGENDA_ELEMENT_PAGE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309125AD-DF41-40D5-A2F4-E19FA06A5A3F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916493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8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  <p:sp>
          <p:nvSpPr>
            <p:cNvPr id="12" name="MIO_AGENDA_ELEMENT_TITEL_2_1">
              <a:extLst>
                <a:ext uri="{FF2B5EF4-FFF2-40B4-BE49-F238E27FC236}">
                  <a16:creationId xmlns:a16="http://schemas.microsoft.com/office/drawing/2014/main" id="{C6AAAA56-E516-4FE7-BD1E-1621CF15499F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564575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latin typeface="+mn-lt"/>
                </a:rPr>
                <a:t>PALS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13" name="MIO_AGENDA_ELEMENT_ELEMENTNUMBER_2_1">
              <a:extLst>
                <a:ext uri="{FF2B5EF4-FFF2-40B4-BE49-F238E27FC236}">
                  <a16:creationId xmlns:a16="http://schemas.microsoft.com/office/drawing/2014/main" id="{38BDCB09-6B2E-43BA-BD19-624821949CAE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3" y="2564575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1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MIO_AGENDA_ELEMENT_TITEL_2_2">
              <a:extLst>
                <a:ext uri="{FF2B5EF4-FFF2-40B4-BE49-F238E27FC236}">
                  <a16:creationId xmlns:a16="http://schemas.microsoft.com/office/drawing/2014/main" id="{CE5805BE-E89E-46CD-9998-0F25FC294A4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235076" y="3212657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latin typeface="+mn-lt"/>
                </a:rPr>
                <a:t>PSS Reporting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15" name="MIO_AGENDA_ELEMENT_ELEMENTNUMBER_2_2">
              <a:extLst>
                <a:ext uri="{FF2B5EF4-FFF2-40B4-BE49-F238E27FC236}">
                  <a16:creationId xmlns:a16="http://schemas.microsoft.com/office/drawing/2014/main" id="{60B2F627-AEF9-4DB5-BDB1-ED7D113DC31D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334433" y="3212657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2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0D00A30F-9B09-4A29-B030-77CCDE553AD1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235075" y="3860740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latin typeface="+mn-lt"/>
                </a:rPr>
                <a:t>Conclusion and internship added-value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1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D2FD1FA6-4E25-455F-B22E-82C1C4A45FEF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334433" y="3860740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MIO_AGENDA_ELEMENT_PAGE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D4A84C82-A9CE-4335-BAE1-E9019BD6EEFF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1026666" y="3860740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19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09593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ain applications addressed by PSS sensors portfolio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160" b="-14160"/>
          <a:stretch>
            <a:fillRect/>
          </a:stretch>
        </p:blipFill>
        <p:spPr bwMode="auto">
          <a:xfrm>
            <a:off x="373961" y="2762523"/>
            <a:ext cx="1152000" cy="78384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76788" y="1821025"/>
            <a:ext cx="1152000" cy="78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58"/>
          <p:cNvSpPr/>
          <p:nvPr/>
        </p:nvSpPr>
        <p:spPr>
          <a:xfrm>
            <a:off x="1814988" y="1821025"/>
            <a:ext cx="1152000" cy="816000"/>
          </a:xfrm>
          <a:prstGeom prst="rect">
            <a:avLst/>
          </a:prstGeom>
          <a:solidFill>
            <a:schemeClr val="bg1"/>
          </a:solidFill>
          <a:ln w="9525">
            <a:solidFill>
              <a:srgbClr val="5EA290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5EA29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Best audio performance</a:t>
            </a:r>
          </a:p>
        </p:txBody>
      </p:sp>
      <p:sp>
        <p:nvSpPr>
          <p:cNvPr id="9" name="Rechteck 58"/>
          <p:cNvSpPr/>
          <p:nvPr/>
        </p:nvSpPr>
        <p:spPr>
          <a:xfrm>
            <a:off x="1814988" y="2746061"/>
            <a:ext cx="1152000" cy="816000"/>
          </a:xfrm>
          <a:prstGeom prst="rect">
            <a:avLst/>
          </a:prstGeom>
          <a:noFill/>
          <a:ln w="9525">
            <a:solidFill>
              <a:srgbClr val="AB377A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AB377A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w power consumption</a:t>
            </a:r>
          </a:p>
        </p:txBody>
      </p:sp>
      <p:sp>
        <p:nvSpPr>
          <p:cNvPr id="10" name="Text Box 18"/>
          <p:cNvSpPr txBox="1">
            <a:spLocks noChangeArrowheads="1"/>
          </p:cNvSpPr>
          <p:nvPr/>
        </p:nvSpPr>
        <p:spPr bwMode="auto">
          <a:xfrm>
            <a:off x="334433" y="1316568"/>
            <a:ext cx="2640000" cy="385233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</a:ln>
          <a:effectLst/>
        </p:spPr>
        <p:txBody>
          <a:bodyPr anchor="ctr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14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EMS microphon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445783" y="4280871"/>
            <a:ext cx="2592000" cy="1906136"/>
          </a:xfrm>
          <a:prstGeom prst="rect">
            <a:avLst/>
          </a:prstGeom>
          <a:solidFill>
            <a:schemeClr val="bg1"/>
          </a:solidFill>
          <a:ln w="9525">
            <a:solidFill>
              <a:srgbClr val="AEC067"/>
            </a:solidFill>
            <a:miter lim="800000"/>
          </a:ln>
        </p:spPr>
        <p:txBody>
          <a:bodyPr wrap="square" lIns="96000" tIns="96000" rIns="96000" bIns="96000" rtlCol="0" anchor="ctr"/>
          <a:lstStyle/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phone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rue wireless stereo headsets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 speaker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aptop &amp; Tablet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48844" y="4213054"/>
            <a:ext cx="11530883" cy="2071325"/>
          </a:xfrm>
          <a:prstGeom prst="rect">
            <a:avLst/>
          </a:prstGeom>
          <a:noFill/>
          <a:ln w="12700">
            <a:solidFill>
              <a:schemeClr val="accent4"/>
            </a:solidFill>
            <a:miter lim="800000"/>
          </a:ln>
        </p:spPr>
        <p:txBody>
          <a:bodyPr wrap="square" lIns="96000" tIns="96000" rIns="96000" bIns="96000" rtlCol="0" anchor="t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335360" y="3706168"/>
            <a:ext cx="11526291" cy="384000"/>
          </a:xfrm>
          <a:prstGeom prst="rect">
            <a:avLst/>
          </a:prstGeom>
          <a:solidFill>
            <a:srgbClr val="AEC067"/>
          </a:solidFill>
          <a:ln w="12700">
            <a:noFill/>
            <a:miter lim="800000"/>
          </a:ln>
        </p:spPr>
        <p:txBody>
          <a:bodyPr wrap="square" lIns="96000" tIns="96000" rIns="96000" bIns="96000"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ain applications</a:t>
            </a:r>
          </a:p>
        </p:txBody>
      </p:sp>
      <p:sp>
        <p:nvSpPr>
          <p:cNvPr id="14" name="Rechteck 58"/>
          <p:cNvSpPr/>
          <p:nvPr/>
        </p:nvSpPr>
        <p:spPr>
          <a:xfrm>
            <a:off x="10697680" y="1821025"/>
            <a:ext cx="1152000" cy="816000"/>
          </a:xfrm>
          <a:prstGeom prst="rect">
            <a:avLst/>
          </a:prstGeom>
          <a:solidFill>
            <a:schemeClr val="bg1"/>
          </a:solidFill>
          <a:ln w="9525">
            <a:solidFill>
              <a:srgbClr val="5EA290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5EA29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igh precision and Small form factor</a:t>
            </a:r>
          </a:p>
        </p:txBody>
      </p:sp>
      <p:sp>
        <p:nvSpPr>
          <p:cNvPr id="15" name="Rechteck 58"/>
          <p:cNvSpPr/>
          <p:nvPr/>
        </p:nvSpPr>
        <p:spPr>
          <a:xfrm>
            <a:off x="10697680" y="2763593"/>
            <a:ext cx="1152000" cy="816000"/>
          </a:xfrm>
          <a:prstGeom prst="rect">
            <a:avLst/>
          </a:prstGeom>
          <a:noFill/>
          <a:ln w="9525">
            <a:solidFill>
              <a:srgbClr val="AB377A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AB377A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easure CO</a:t>
            </a:r>
            <a:r>
              <a:rPr kumimoji="0" lang="en-US" altLang="de-DE" sz="1333" b="0" i="0" u="none" strike="noStrike" kern="1200" cap="none" spc="0" normalizeH="0" baseline="-25000" noProof="0" dirty="0">
                <a:ln>
                  <a:noFill/>
                </a:ln>
                <a:solidFill>
                  <a:srgbClr val="AB377A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9336000" y="2746061"/>
            <a:ext cx="1152000" cy="816000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</a:ln>
        </p:spPr>
        <p:txBody>
          <a:bodyPr wrap="square" lIns="96000" tIns="96000" rIns="96000" bIns="96000"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9308623" y="1821025"/>
            <a:ext cx="1152000" cy="816000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</a:ln>
        </p:spPr>
        <p:txBody>
          <a:bodyPr wrap="square" lIns="96000" tIns="96000" rIns="96000" bIns="96000"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9304792" y="2497183"/>
            <a:ext cx="1161925" cy="1575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96000" rIns="0" bIns="96000"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644F54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4.0 x 13.6 x 7.5 mm³</a:t>
            </a:r>
          </a:p>
        </p:txBody>
      </p:sp>
      <p:sp>
        <p:nvSpPr>
          <p:cNvPr id="23" name="Text Box 18"/>
          <p:cNvSpPr txBox="1">
            <a:spLocks noChangeArrowheads="1"/>
          </p:cNvSpPr>
          <p:nvPr/>
        </p:nvSpPr>
        <p:spPr bwMode="auto">
          <a:xfrm>
            <a:off x="9226243" y="1316568"/>
            <a:ext cx="2640000" cy="385233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</a:ln>
          <a:effectLst/>
        </p:spPr>
        <p:txBody>
          <a:bodyPr anchor="ctr">
            <a:noAutofit/>
          </a:bodyPr>
          <a:lstStyle>
            <a:defPPr>
              <a:defRPr lang="en-US"/>
            </a:defPPr>
            <a:lvl1pPr algn="ctr">
              <a:buClr>
                <a:srgbClr val="00214A"/>
              </a:buClr>
              <a:defRPr sz="1400" b="1" kern="0">
                <a:latin typeface="+mj-lt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14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Environmental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9182753" y="4280871"/>
            <a:ext cx="2592000" cy="1906136"/>
          </a:xfrm>
          <a:prstGeom prst="rect">
            <a:avLst/>
          </a:prstGeom>
          <a:solidFill>
            <a:schemeClr val="bg1"/>
          </a:solidFill>
          <a:ln w="9525">
            <a:solidFill>
              <a:srgbClr val="AEC067"/>
            </a:solidFill>
            <a:miter lim="800000"/>
          </a:ln>
        </p:spPr>
        <p:txBody>
          <a:bodyPr wrap="square" lIns="96000" tIns="96000" rIns="96000" bIns="96000" rtlCol="0" anchor="ctr"/>
          <a:lstStyle/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eating, ventilation, air conditioning (HVAC)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ir purifier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 thermostat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</a:t>
            </a:r>
            <a:r>
              <a:rPr kumimoji="0" lang="en-US" altLang="de-DE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</a:t>
            </a: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/virus risk red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369624" y="1821025"/>
            <a:ext cx="1152000" cy="816000"/>
            <a:chOff x="2017353" y="3701869"/>
            <a:chExt cx="765585" cy="7920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2017353" y="3701869"/>
              <a:ext cx="765585" cy="792088"/>
            </a:xfrm>
            <a:prstGeom prst="rect">
              <a:avLst/>
            </a:prstGeom>
            <a:solidFill>
              <a:schemeClr val="lt2"/>
            </a:solidFill>
            <a:ln w="9525">
              <a:noFill/>
              <a:miter lim="800000"/>
            </a:ln>
          </p:spPr>
          <p:txBody>
            <a:bodyPr wrap="square" lIns="96000" tIns="96000" rIns="96000" bIns="96000" rtlCol="0" anchor="ctr"/>
            <a:lstStyle/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4" descr="https://brandportal.infineon.com/media/cache/lowres/assets/15/114/57331fe8de3b2.eps.png"/>
            <p:cNvPicPr preferRelativeResize="0"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175246" y="3769380"/>
              <a:ext cx="432000" cy="63367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Rechteck 58"/>
          <p:cNvSpPr/>
          <p:nvPr/>
        </p:nvSpPr>
        <p:spPr>
          <a:xfrm>
            <a:off x="7710203" y="1821025"/>
            <a:ext cx="1152000" cy="816000"/>
          </a:xfrm>
          <a:prstGeom prst="rect">
            <a:avLst/>
          </a:prstGeom>
          <a:solidFill>
            <a:schemeClr val="bg1"/>
          </a:solidFill>
          <a:ln w="9525">
            <a:solidFill>
              <a:srgbClr val="5EA290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5EA29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Best price / performance</a:t>
            </a:r>
          </a:p>
        </p:txBody>
      </p:sp>
      <p:sp>
        <p:nvSpPr>
          <p:cNvPr id="29" name="Rechteck 58"/>
          <p:cNvSpPr/>
          <p:nvPr/>
        </p:nvSpPr>
        <p:spPr>
          <a:xfrm>
            <a:off x="7713507" y="2746061"/>
            <a:ext cx="1152000" cy="816000"/>
          </a:xfrm>
          <a:prstGeom prst="rect">
            <a:avLst/>
          </a:prstGeom>
          <a:noFill/>
          <a:ln w="9525">
            <a:solidFill>
              <a:srgbClr val="AB377A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AB377A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Face ID (biometrics), VR/AR</a:t>
            </a:r>
          </a:p>
        </p:txBody>
      </p:sp>
      <p:sp>
        <p:nvSpPr>
          <p:cNvPr id="30" name="Text Box 18"/>
          <p:cNvSpPr txBox="1">
            <a:spLocks noChangeArrowheads="1"/>
          </p:cNvSpPr>
          <p:nvPr/>
        </p:nvSpPr>
        <p:spPr bwMode="auto">
          <a:xfrm>
            <a:off x="6248783" y="1316568"/>
            <a:ext cx="2640000" cy="385233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</a:ln>
          <a:effectLst/>
        </p:spPr>
        <p:txBody>
          <a:bodyPr anchor="ctr">
            <a:noAutofit/>
          </a:bodyPr>
          <a:lstStyle>
            <a:defPPr>
              <a:defRPr lang="en-US"/>
            </a:defPPr>
            <a:lvl1pPr algn="ctr">
              <a:buClr>
                <a:srgbClr val="00214A"/>
              </a:buClr>
              <a:defRPr sz="1400" b="1" kern="0">
                <a:latin typeface="+mj-lt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14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D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oF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image sensor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6272689" y="2763593"/>
            <a:ext cx="1152000" cy="816000"/>
            <a:chOff x="7265272" y="3717032"/>
            <a:chExt cx="774513" cy="786098"/>
          </a:xfrm>
        </p:grpSpPr>
        <p:sp>
          <p:nvSpPr>
            <p:cNvPr id="32" name="Rectangle 31"/>
            <p:cNvSpPr/>
            <p:nvPr/>
          </p:nvSpPr>
          <p:spPr bwMode="auto">
            <a:xfrm>
              <a:off x="7265272" y="3717032"/>
              <a:ext cx="774513" cy="786098"/>
            </a:xfrm>
            <a:prstGeom prst="rect">
              <a:avLst/>
            </a:prstGeom>
            <a:solidFill>
              <a:schemeClr val="lt2"/>
            </a:solidFill>
            <a:ln w="9525">
              <a:noFill/>
              <a:miter lim="800000"/>
            </a:ln>
          </p:spPr>
          <p:txBody>
            <a:bodyPr wrap="square" lIns="96000" tIns="96000" rIns="96000" bIns="96000" rtlCol="0" anchor="ctr"/>
            <a:lstStyle/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Picture 2" descr="C:\Users\kimjulie\Downloads\lowres-inf_hr_gesturing_18_cmyk_300.jpg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335627" y="3839267"/>
              <a:ext cx="647066" cy="521871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6327692" y="1838557"/>
            <a:ext cx="1152000" cy="816000"/>
            <a:chOff x="7244748" y="2716425"/>
            <a:chExt cx="801900" cy="792088"/>
          </a:xfrm>
        </p:grpSpPr>
        <p:sp>
          <p:nvSpPr>
            <p:cNvPr id="35" name="Rectangle 34"/>
            <p:cNvSpPr/>
            <p:nvPr/>
          </p:nvSpPr>
          <p:spPr bwMode="auto">
            <a:xfrm>
              <a:off x="7244748" y="2716425"/>
              <a:ext cx="801900" cy="792088"/>
            </a:xfrm>
            <a:prstGeom prst="rect">
              <a:avLst/>
            </a:prstGeom>
            <a:solidFill>
              <a:schemeClr val="lt2"/>
            </a:solidFill>
            <a:ln w="9525">
              <a:noFill/>
              <a:miter lim="800000"/>
            </a:ln>
          </p:spPr>
          <p:txBody>
            <a:bodyPr wrap="square" lIns="96000" tIns="96000" rIns="96000" bIns="96000" rtlCol="0" anchor="ctr"/>
            <a:lstStyle/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6" name="Gruppieren 11"/>
            <p:cNvGrpSpPr/>
            <p:nvPr/>
          </p:nvGrpSpPr>
          <p:grpSpPr>
            <a:xfrm>
              <a:off x="7291711" y="2871522"/>
              <a:ext cx="667762" cy="477854"/>
              <a:chOff x="372279" y="1777999"/>
              <a:chExt cx="1826635" cy="1233881"/>
            </a:xfrm>
            <a:effectLst/>
          </p:grpSpPr>
          <p:grpSp>
            <p:nvGrpSpPr>
              <p:cNvPr id="37" name="Gruppieren 8"/>
              <p:cNvGrpSpPr/>
              <p:nvPr/>
            </p:nvGrpSpPr>
            <p:grpSpPr>
              <a:xfrm>
                <a:off x="372279" y="1777999"/>
                <a:ext cx="1826635" cy="1233881"/>
                <a:chOff x="390097" y="1632859"/>
                <a:chExt cx="2094608" cy="1379022"/>
              </a:xfrm>
            </p:grpSpPr>
            <p:pic>
              <p:nvPicPr>
                <p:cNvPr id="39" name="Picture 2" descr="https://i.ytimg.com/vi/M0kShoASyvg/maxresdefault.jpg"/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390097" y="1632859"/>
                  <a:ext cx="815975" cy="1379022"/>
                </a:xfrm>
                <a:prstGeom prst="rect">
                  <a:avLst/>
                </a:prstGeom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0" name="Picture 2" descr="https://i.ytimg.com/vi/M0kShoASyvg/maxresdefault.jpg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037772" y="1632859"/>
                  <a:ext cx="1446933" cy="1379022"/>
                </a:xfrm>
                <a:prstGeom prst="rect">
                  <a:avLst/>
                </a:prstGeom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38" name="Ellipse 10"/>
              <p:cNvSpPr/>
              <p:nvPr/>
            </p:nvSpPr>
            <p:spPr bwMode="auto">
              <a:xfrm>
                <a:off x="1843314" y="1814369"/>
                <a:ext cx="101600" cy="1016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miter lim="800000"/>
              </a:ln>
            </p:spPr>
            <p:txBody>
              <a:bodyPr wrap="square" lIns="96000" tIns="96000" rIns="96000" bIns="96000" rtlCol="0" anchor="ctr"/>
              <a:lstStyle/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1" name="Rechteck 58"/>
          <p:cNvSpPr/>
          <p:nvPr/>
        </p:nvSpPr>
        <p:spPr>
          <a:xfrm>
            <a:off x="4765293" y="1821025"/>
            <a:ext cx="1152000" cy="816000"/>
          </a:xfrm>
          <a:prstGeom prst="rect">
            <a:avLst/>
          </a:prstGeom>
          <a:solidFill>
            <a:schemeClr val="bg1"/>
          </a:solidFill>
          <a:ln w="9525">
            <a:solidFill>
              <a:srgbClr val="5EA290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5EA29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Ultra-low power consumption</a:t>
            </a:r>
          </a:p>
        </p:txBody>
      </p:sp>
      <p:sp>
        <p:nvSpPr>
          <p:cNvPr id="42" name="Rechteck 58"/>
          <p:cNvSpPr/>
          <p:nvPr/>
        </p:nvSpPr>
        <p:spPr>
          <a:xfrm>
            <a:off x="4770583" y="2746061"/>
            <a:ext cx="1152000" cy="816000"/>
          </a:xfrm>
          <a:prstGeom prst="rect">
            <a:avLst/>
          </a:prstGeom>
          <a:noFill/>
          <a:ln w="9525">
            <a:solidFill>
              <a:srgbClr val="AB377A"/>
            </a:solidFill>
            <a:miter lim="800000"/>
          </a:ln>
          <a:effectLst/>
        </p:spPr>
        <p:txBody>
          <a:bodyPr wrap="square" lIns="48000" tIns="48000" rIns="48000" bIns="48000" anchor="ctr" anchorCtr="0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30034"/>
              </a:buClr>
              <a:buSzTx/>
              <a:buFontTx/>
              <a:buNone/>
              <a:tabLst>
                <a:tab pos="11361983" algn="r"/>
              </a:tabLst>
              <a:defRPr/>
            </a:pPr>
            <a:r>
              <a:rPr kumimoji="0" lang="en-US" altLang="de-DE" sz="1333" b="0" i="0" u="none" strike="noStrike" kern="1200" cap="none" spc="0" normalizeH="0" baseline="0" noProof="0" dirty="0">
                <a:ln>
                  <a:noFill/>
                </a:ln>
                <a:solidFill>
                  <a:srgbClr val="AB377A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esence detection/ Vital Sensing</a:t>
            </a:r>
          </a:p>
        </p:txBody>
      </p:sp>
      <p:sp>
        <p:nvSpPr>
          <p:cNvPr id="43" name="Text Box 18"/>
          <p:cNvSpPr txBox="1">
            <a:spLocks noChangeArrowheads="1"/>
          </p:cNvSpPr>
          <p:nvPr/>
        </p:nvSpPr>
        <p:spPr bwMode="auto">
          <a:xfrm>
            <a:off x="3303688" y="1316568"/>
            <a:ext cx="2640000" cy="385233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</a:ln>
          <a:effectLst/>
        </p:spPr>
        <p:txBody>
          <a:bodyPr anchor="ctr">
            <a:noAutofit/>
          </a:bodyPr>
          <a:lstStyle>
            <a:defPPr>
              <a:defRPr lang="en-US"/>
            </a:defPPr>
            <a:lvl1pPr algn="ctr">
              <a:buClr>
                <a:srgbClr val="00214A"/>
              </a:buClr>
              <a:defRPr sz="1400" b="1" kern="0">
                <a:latin typeface="+mj-lt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14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D rada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24/60 GHz)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3369628" y="2746061"/>
            <a:ext cx="1152000" cy="816000"/>
            <a:chOff x="5534195" y="3723022"/>
            <a:chExt cx="774513" cy="786098"/>
          </a:xfrm>
        </p:grpSpPr>
        <p:sp>
          <p:nvSpPr>
            <p:cNvPr id="45" name="Rectangle 44"/>
            <p:cNvSpPr/>
            <p:nvPr/>
          </p:nvSpPr>
          <p:spPr bwMode="auto">
            <a:xfrm>
              <a:off x="5534195" y="3723022"/>
              <a:ext cx="774513" cy="786098"/>
            </a:xfrm>
            <a:prstGeom prst="rect">
              <a:avLst/>
            </a:prstGeom>
            <a:solidFill>
              <a:schemeClr val="lt2"/>
            </a:solidFill>
            <a:ln w="9525">
              <a:noFill/>
              <a:miter lim="800000"/>
            </a:ln>
          </p:spPr>
          <p:txBody>
            <a:bodyPr wrap="square" lIns="96000" tIns="96000" rIns="96000" bIns="96000" rtlCol="0" anchor="ctr"/>
            <a:lstStyle/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623513" y="3802378"/>
              <a:ext cx="645988" cy="63473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7" name="Rectangle 46"/>
          <p:cNvSpPr/>
          <p:nvPr/>
        </p:nvSpPr>
        <p:spPr bwMode="auto">
          <a:xfrm>
            <a:off x="3342107" y="4281255"/>
            <a:ext cx="2592000" cy="1906136"/>
          </a:xfrm>
          <a:prstGeom prst="rect">
            <a:avLst/>
          </a:prstGeom>
          <a:solidFill>
            <a:schemeClr val="bg1"/>
          </a:solidFill>
          <a:ln w="9525">
            <a:solidFill>
              <a:srgbClr val="AEC067"/>
            </a:solidFill>
            <a:miter lim="800000"/>
          </a:ln>
        </p:spPr>
        <p:txBody>
          <a:bodyPr wrap="square" lIns="96000" tIns="96000" rIns="96000" bIns="96000" rtlCol="0" anchor="ctr"/>
          <a:lstStyle/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>
                <a:tab pos="2387540" algn="l"/>
              </a:tabLst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utomotive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>
                <a:tab pos="2387540" algn="l"/>
              </a:tabLst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 home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>
                <a:tab pos="2387540" algn="l"/>
              </a:tabLst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TV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>
                <a:tab pos="2387540" algn="l"/>
              </a:tabLst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ecurity camera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>
                <a:tab pos="2387540" algn="l"/>
              </a:tabLst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 building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6238431" y="4280871"/>
            <a:ext cx="2640000" cy="1906136"/>
          </a:xfrm>
          <a:prstGeom prst="rect">
            <a:avLst/>
          </a:prstGeom>
          <a:solidFill>
            <a:schemeClr val="bg1"/>
          </a:solidFill>
          <a:ln w="9525">
            <a:solidFill>
              <a:srgbClr val="AEC067"/>
            </a:solidFill>
            <a:miter lim="800000"/>
          </a:ln>
        </p:spPr>
        <p:txBody>
          <a:bodyPr wrap="square" lIns="96000" tIns="96000" rIns="96000" bIns="96000" rtlCol="0" anchor="ctr"/>
          <a:lstStyle/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martphone: world-facing and user-facing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obotics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utomotive in-cabin sensing</a:t>
            </a:r>
          </a:p>
          <a:p>
            <a:pPr marL="237061" marR="0" lvl="1" indent="-237061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E30034"/>
              </a:buClr>
              <a:buSzPct val="12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ayment terminals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5672" y="2843072"/>
            <a:ext cx="949448" cy="632968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5460" y="1856219"/>
            <a:ext cx="714408" cy="632967"/>
          </a:xfrm>
          <a:prstGeom prst="rect">
            <a:avLst/>
          </a:prstGeom>
        </p:spPr>
      </p:pic>
      <p:pic>
        <p:nvPicPr>
          <p:cNvPr id="49" name="Picture 4" descr="Partenaires | Board of European Students of Technology">
            <a:extLst>
              <a:ext uri="{FF2B5EF4-FFF2-40B4-BE49-F238E27FC236}">
                <a16:creationId xmlns:a16="http://schemas.microsoft.com/office/drawing/2014/main" id="{C0E09F24-A6EF-4D0D-B726-C39FDDFACB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2795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5015C-708C-49BC-922C-C5849AD33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  <a:t>Code Velocity according to the number of phot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68AE99-C052-4E60-A1A4-4D381DFE9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A231B8-DA5B-4C56-A55B-D1B45D574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10C41-2041-48AE-ACFD-3A5E520BA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4" descr="Partenaires | Board of European Students of Technology">
            <a:extLst>
              <a:ext uri="{FF2B5EF4-FFF2-40B4-BE49-F238E27FC236}">
                <a16:creationId xmlns:a16="http://schemas.microsoft.com/office/drawing/2014/main" id="{8E3AD923-E971-44E7-AC90-5193453687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01 Plain - Engineering">
            <a:extLst>
              <a:ext uri="{FF2B5EF4-FFF2-40B4-BE49-F238E27FC236}">
                <a16:creationId xmlns:a16="http://schemas.microsoft.com/office/drawing/2014/main" id="{BEFA7C9C-5DEB-4B2F-B022-D49551AF180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/>
          </p:nvPr>
        </p:nvGraphicFramePr>
        <p:xfrm>
          <a:off x="2839864" y="1600200"/>
          <a:ext cx="6512272" cy="1828800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3256136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32561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/>
                        <a:t>Number of photo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Time (min)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r>
                        <a:rPr lang="de-DE"/>
                        <a:t>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2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r>
                        <a:rPr lang="de-DE"/>
                        <a:t>10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4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r>
                        <a:rPr lang="de-DE" dirty="0"/>
                        <a:t>1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r>
                        <a:rPr lang="de-DE"/>
                        <a:t>100 0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</a:tbl>
          </a:graphicData>
        </a:graphic>
      </p:graphicFrame>
      <p:sp>
        <p:nvSpPr>
          <p:cNvPr id="12" name="02 Text 12pt reg">
            <a:extLst>
              <a:ext uri="{FF2B5EF4-FFF2-40B4-BE49-F238E27FC236}">
                <a16:creationId xmlns:a16="http://schemas.microsoft.com/office/drawing/2014/main" id="{E17A9D1E-6DE8-4F63-8969-7E29A64145F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flipH="1">
            <a:off x="3306000" y="3942284"/>
            <a:ext cx="5580000" cy="2448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 marL="450000" indent="-270000" algn="l" defTabSz="576000" rtl="0" eaLnBrk="1" fontAlgn="base" hangingPunct="1"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 marL="6300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 marL="802800" indent="-1728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4pPr>
            <a:lvl5pPr marL="9828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5pPr>
            <a:lvl6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6pPr>
            <a:lvl7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7pPr>
            <a:lvl8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8pPr>
            <a:lvl9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9pPr>
          </a:lstStyle>
          <a:p>
            <a:pPr algn="ctr" defTabSz="914400" eaLnBrk="0" hangingPunct="0">
              <a:spcBef>
                <a:spcPct val="35000"/>
              </a:spcBef>
              <a:spcAft>
                <a:spcPct val="15000"/>
              </a:spcAft>
              <a:buNone/>
            </a:pPr>
            <a:r>
              <a:rPr kumimoji="0" lang="de-DE" sz="20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sible solutions:</a:t>
            </a:r>
          </a:p>
          <a:p>
            <a:pPr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15000"/>
              </a:spcAft>
              <a:tabLst/>
            </a:pPr>
            <a:r>
              <a:rPr kumimoji="0" lang="de-DE" sz="20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Greater CPU number</a:t>
            </a:r>
          </a:p>
          <a:p>
            <a:pPr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15000"/>
              </a:spcAft>
              <a:tabLst/>
            </a:pPr>
            <a:r>
              <a:rPr lang="de-DE" sz="2000" kern="0" dirty="0">
                <a:latin typeface="+mn-lt"/>
              </a:rPr>
              <a:t>Ameliorate the code‘s architecture</a:t>
            </a:r>
          </a:p>
          <a:p>
            <a:pPr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15000"/>
              </a:spcAft>
              <a:tabLst/>
            </a:pPr>
            <a:r>
              <a:rPr lang="de-DE" sz="2000" kern="0" dirty="0">
                <a:latin typeface="+mn-lt"/>
              </a:rPr>
              <a:t>Better front and back end merging</a:t>
            </a:r>
          </a:p>
          <a:p>
            <a:pPr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15000"/>
              </a:spcAft>
              <a:tabLst/>
            </a:pPr>
            <a:endParaRPr kumimoji="0" lang="de-DE" sz="2000" i="0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15000"/>
              </a:spcAft>
              <a:tabLst/>
            </a:pPr>
            <a:endParaRPr kumimoji="0" lang="de-DE" sz="2000" i="0" u="none" strike="noStrike" kern="0" cap="none" spc="0" normalizeH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9138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F69E7-6E0A-4B2A-9F8A-49A28E85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ing principle of PPG sens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9DEEA2-BA7D-4190-A1CF-57A1DDA8C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626997-78E9-4F78-B9C2-8A608086E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E5A784-3642-4FFF-BB2E-E69D87E21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59933B33-C0CC-4A63-95E4-C16B8C7D7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5144" y="1675656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26625" name="Picture 49" descr="Machine generated alternative text:&#10;Optoelectronic sensor &#10;: Light emitting &#10;diodes &#10;Light in &#10;Photodetector : &#10;Light out &#10;Stratum &#10;corneum &#10;Epidermis &#10;Dermis &#10;Skin surface &#10;Erythrocytes &#10;Capillary vessel &#10;Figure 6. Working principle Of PPG sensors [19]. ">
            <a:extLst>
              <a:ext uri="{FF2B5EF4-FFF2-40B4-BE49-F238E27FC236}">
                <a16:creationId xmlns:a16="http://schemas.microsoft.com/office/drawing/2014/main" id="{54F8EC60-6513-446F-A8D5-E56A77937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1306324"/>
            <a:ext cx="6002286" cy="405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2C72C09F-6A72-4E76-BEDD-0487E1F7DB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5760" y="5182344"/>
            <a:ext cx="33538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GB" altLang="de-DE" sz="900" b="0" i="1" u="none" strike="noStrike" cap="none" normalizeH="0" baseline="0" dirty="0" bmk="_Toc77581477">
                <a:ln>
                  <a:noFill/>
                </a:ln>
                <a:solidFill>
                  <a:srgbClr val="000000"/>
                </a:solidFill>
                <a:effectLst/>
                <a:latin typeface="Baskerville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GB" altLang="de-DE" sz="900" b="0" i="1" u="none" strike="noStrike" cap="none" normalizeH="0" baseline="0" dirty="0" bmk="_Toc77581477">
                <a:ln>
                  <a:noFill/>
                </a:ln>
                <a:solidFill>
                  <a:srgbClr val="000000"/>
                </a:solidFill>
                <a:effectLst/>
                <a:latin typeface="Baskerville"/>
                <a:ea typeface="Calibri" panose="020F0502020204030204" pitchFamily="34" charset="0"/>
                <a:cs typeface="Times New Roman" panose="02020603050405020304" pitchFamily="18" charset="0"/>
              </a:rPr>
              <a:t>Source: </a:t>
            </a:r>
            <a:r>
              <a:rPr kumimoji="0" lang="en-GB" altLang="de-DE" sz="900" b="0" i="1" u="none" strike="noStrike" cap="none" normalizeH="0" baseline="0" dirty="0" bmk="_Toc77581477">
                <a:ln>
                  <a:noFill/>
                </a:ln>
                <a:solidFill>
                  <a:srgbClr val="000000"/>
                </a:solidFill>
                <a:effectLst/>
                <a:latin typeface="Baskerville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Advances in PPG signal Analysis for Biomedical Applications</a:t>
            </a:r>
            <a:endParaRPr kumimoji="0" lang="en-GB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514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C8DA05-24AE-44CF-91E3-334792848A8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1C35B-2A56-40D4-94D6-4AF3EBD56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pic>
        <p:nvPicPr>
          <p:cNvPr id="27" name="Picture 4" descr="Partenaires | Board of European Students of Technology">
            <a:extLst>
              <a:ext uri="{FF2B5EF4-FFF2-40B4-BE49-F238E27FC236}">
                <a16:creationId xmlns:a16="http://schemas.microsoft.com/office/drawing/2014/main" id="{049B8E89-F58F-41B6-BEE7-FA6AB81A1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8BC9B6-7423-4891-B59C-03BAF13D1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ED99F-86FC-4A29-8851-13A199D84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E23A76D-E534-46B7-B596-DBC70A018FF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34433" y="1268413"/>
            <a:ext cx="11521021" cy="3168399"/>
            <a:chOff x="334433" y="1268413"/>
            <a:chExt cx="11521021" cy="3168399"/>
          </a:xfrm>
        </p:grpSpPr>
        <p:sp>
          <p:nvSpPr>
            <p:cNvPr id="9" name="MIO_AGENDA_ELEMENT_TITEL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217E4645-3256-46C2-B56D-4A381E0C8FE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916493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solidFill>
                    <a:srgbClr val="928285"/>
                  </a:solidFill>
                  <a:latin typeface="+mn-lt"/>
                </a:rPr>
                <a:t>Main Projects, Objectives and Achievements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0" name="MIO_AGENDA_ELEMENT_ELEMENT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58A19345-E837-4B91-892B-F89F60083B42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3" y="1916493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MIO_AGENDA_ELEMENT_PAGENUMBER_2">
              <a:hlinkClick r:id="rId19" action="ppaction://hlinksldjump"/>
              <a:extLst>
                <a:ext uri="{FF2B5EF4-FFF2-40B4-BE49-F238E27FC236}">
                  <a16:creationId xmlns:a16="http://schemas.microsoft.com/office/drawing/2014/main" id="{2E3528C9-9D09-4525-B03C-F67D7B93E5F9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916493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8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2" name="MIO_AGENDA_ELEMENT_TITEL_2_1">
              <a:extLst>
                <a:ext uri="{FF2B5EF4-FFF2-40B4-BE49-F238E27FC236}">
                  <a16:creationId xmlns:a16="http://schemas.microsoft.com/office/drawing/2014/main" id="{5574DF71-E62B-4BC1-951B-5662291F815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2564575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ALS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3" name="MIO_AGENDA_ELEMENT_ELEMENTNUMBER_2_1">
              <a:extLst>
                <a:ext uri="{FF2B5EF4-FFF2-40B4-BE49-F238E27FC236}">
                  <a16:creationId xmlns:a16="http://schemas.microsoft.com/office/drawing/2014/main" id="{6FDD3F27-E1F9-4520-A848-B35DA2AB97EC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3" y="2564575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1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MIO_AGENDA_ELEMENT_TITEL_2_2">
              <a:extLst>
                <a:ext uri="{FF2B5EF4-FFF2-40B4-BE49-F238E27FC236}">
                  <a16:creationId xmlns:a16="http://schemas.microsoft.com/office/drawing/2014/main" id="{8C9D3A3B-F463-49FD-A5DD-26E17F64A10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235076" y="3212657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SS Reporting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5" name="MIO_AGENDA_ELEMENT_ELEMENTNUMBER_2_2">
              <a:extLst>
                <a:ext uri="{FF2B5EF4-FFF2-40B4-BE49-F238E27FC236}">
                  <a16:creationId xmlns:a16="http://schemas.microsoft.com/office/drawing/2014/main" id="{394AB264-81EF-4245-91CF-6FD3284605EF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334433" y="3212657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2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C999D868-475F-458A-B3B2-857D809073B6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235076" y="3860740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Conclusion and internship added-value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9B91ABD8-C4AE-4E63-9393-458E5ADF6F6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334433" y="3860740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MIO_AGENDA_ELEMENT_PAGE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6F72F115-77A4-4A87-A6B3-60C725F621CE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026666" y="3860740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19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9" name="MIO_AGENDA_ELEMENT_TITEL_1">
              <a:extLst>
                <a:ext uri="{FF2B5EF4-FFF2-40B4-BE49-F238E27FC236}">
                  <a16:creationId xmlns:a16="http://schemas.microsoft.com/office/drawing/2014/main" id="{7EAA8181-218D-424F-879C-311875CDFD7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235075" y="1268413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latin typeface="+mn-lt"/>
                </a:rPr>
                <a:t>Presentation of the company, division and department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20" name="MIO_AGENDA_ELEMENT_ELEMENTNUMBER_1">
              <a:extLst>
                <a:ext uri="{FF2B5EF4-FFF2-40B4-BE49-F238E27FC236}">
                  <a16:creationId xmlns:a16="http://schemas.microsoft.com/office/drawing/2014/main" id="{A2E2A5C9-6B72-4F8E-A8E3-1857A40382D5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334433" y="1268413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MIO_AGENDA_ELEMENT_PAGENUMBER_1">
              <a:extLst>
                <a:ext uri="{FF2B5EF4-FFF2-40B4-BE49-F238E27FC236}">
                  <a16:creationId xmlns:a16="http://schemas.microsoft.com/office/drawing/2014/main" id="{FFDAC1E5-A7AB-4631-A07F-715A16D6A425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1026666" y="1268413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4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8456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8" name="Grafik 3">
            <a:extLst>
              <a:ext uri="{FF2B5EF4-FFF2-40B4-BE49-F238E27FC236}">
                <a16:creationId xmlns:a16="http://schemas.microsoft.com/office/drawing/2014/main" id="{496531C8-1BAF-444C-868D-F8619D9482C4}"/>
              </a:ext>
            </a:extLst>
          </p:cNvPr>
          <p:cNvGrpSpPr/>
          <p:nvPr/>
        </p:nvGrpSpPr>
        <p:grpSpPr>
          <a:xfrm>
            <a:off x="7415612" y="1540345"/>
            <a:ext cx="3839245" cy="2012027"/>
            <a:chOff x="932043" y="915564"/>
            <a:chExt cx="7275523" cy="3812870"/>
          </a:xfrm>
        </p:grpSpPr>
        <p:sp>
          <p:nvSpPr>
            <p:cNvPr id="399" name="Freihandform: Form 398">
              <a:extLst>
                <a:ext uri="{FF2B5EF4-FFF2-40B4-BE49-F238E27FC236}">
                  <a16:creationId xmlns:a16="http://schemas.microsoft.com/office/drawing/2014/main" id="{B110D688-5393-481E-88F0-770B0F42A787}"/>
                </a:ext>
              </a:extLst>
            </p:cNvPr>
            <p:cNvSpPr/>
            <p:nvPr/>
          </p:nvSpPr>
          <p:spPr>
            <a:xfrm>
              <a:off x="5007697" y="3353421"/>
              <a:ext cx="103162" cy="101333"/>
            </a:xfrm>
            <a:custGeom>
              <a:avLst/>
              <a:gdLst>
                <a:gd name="connsiteX0" fmla="*/ 103163 w 103162"/>
                <a:gd name="connsiteY0" fmla="*/ 48777 h 101333"/>
                <a:gd name="connsiteX1" fmla="*/ 103163 w 103162"/>
                <a:gd name="connsiteY1" fmla="*/ 35729 h 101333"/>
                <a:gd name="connsiteX2" fmla="*/ 96700 w 103162"/>
                <a:gd name="connsiteY2" fmla="*/ 24998 h 101333"/>
                <a:gd name="connsiteX3" fmla="*/ 86822 w 103162"/>
                <a:gd name="connsiteY3" fmla="*/ 8536 h 101333"/>
                <a:gd name="connsiteX4" fmla="*/ 86457 w 103162"/>
                <a:gd name="connsiteY4" fmla="*/ 7926 h 101333"/>
                <a:gd name="connsiteX5" fmla="*/ 86334 w 103162"/>
                <a:gd name="connsiteY5" fmla="*/ 7438 h 101333"/>
                <a:gd name="connsiteX6" fmla="*/ 83530 w 103162"/>
                <a:gd name="connsiteY6" fmla="*/ 0 h 101333"/>
                <a:gd name="connsiteX7" fmla="*/ 75848 w 103162"/>
                <a:gd name="connsiteY7" fmla="*/ 9511 h 101333"/>
                <a:gd name="connsiteX8" fmla="*/ 74140 w 103162"/>
                <a:gd name="connsiteY8" fmla="*/ 11584 h 101333"/>
                <a:gd name="connsiteX9" fmla="*/ 71336 w 103162"/>
                <a:gd name="connsiteY9" fmla="*/ 11706 h 101333"/>
                <a:gd name="connsiteX10" fmla="*/ 44387 w 103162"/>
                <a:gd name="connsiteY10" fmla="*/ 13048 h 101333"/>
                <a:gd name="connsiteX11" fmla="*/ 43289 w 103162"/>
                <a:gd name="connsiteY11" fmla="*/ 13170 h 101333"/>
                <a:gd name="connsiteX12" fmla="*/ 42314 w 103162"/>
                <a:gd name="connsiteY12" fmla="*/ 12804 h 101333"/>
                <a:gd name="connsiteX13" fmla="*/ 37802 w 103162"/>
                <a:gd name="connsiteY13" fmla="*/ 11463 h 101333"/>
                <a:gd name="connsiteX14" fmla="*/ 29998 w 103162"/>
                <a:gd name="connsiteY14" fmla="*/ 9146 h 101333"/>
                <a:gd name="connsiteX15" fmla="*/ 25730 w 103162"/>
                <a:gd name="connsiteY15" fmla="*/ 11219 h 101333"/>
                <a:gd name="connsiteX16" fmla="*/ 30485 w 103162"/>
                <a:gd name="connsiteY16" fmla="*/ 28291 h 101333"/>
                <a:gd name="connsiteX17" fmla="*/ 30851 w 103162"/>
                <a:gd name="connsiteY17" fmla="*/ 29876 h 101333"/>
                <a:gd name="connsiteX18" fmla="*/ 30485 w 103162"/>
                <a:gd name="connsiteY18" fmla="*/ 31461 h 101333"/>
                <a:gd name="connsiteX19" fmla="*/ 28168 w 103162"/>
                <a:gd name="connsiteY19" fmla="*/ 40241 h 101333"/>
                <a:gd name="connsiteX20" fmla="*/ 25973 w 103162"/>
                <a:gd name="connsiteY20" fmla="*/ 48533 h 101333"/>
                <a:gd name="connsiteX21" fmla="*/ 25730 w 103162"/>
                <a:gd name="connsiteY21" fmla="*/ 49508 h 101333"/>
                <a:gd name="connsiteX22" fmla="*/ 25242 w 103162"/>
                <a:gd name="connsiteY22" fmla="*/ 50240 h 101333"/>
                <a:gd name="connsiteX23" fmla="*/ 4024 w 103162"/>
                <a:gd name="connsiteY23" fmla="*/ 83408 h 101333"/>
                <a:gd name="connsiteX24" fmla="*/ 0 w 103162"/>
                <a:gd name="connsiteY24" fmla="*/ 101333 h 101333"/>
                <a:gd name="connsiteX25" fmla="*/ 3902 w 103162"/>
                <a:gd name="connsiteY25" fmla="*/ 100114 h 101333"/>
                <a:gd name="connsiteX26" fmla="*/ 9146 w 103162"/>
                <a:gd name="connsiteY26" fmla="*/ 95602 h 101333"/>
                <a:gd name="connsiteX27" fmla="*/ 11584 w 103162"/>
                <a:gd name="connsiteY27" fmla="*/ 93529 h 101333"/>
                <a:gd name="connsiteX28" fmla="*/ 14633 w 103162"/>
                <a:gd name="connsiteY28" fmla="*/ 94383 h 101333"/>
                <a:gd name="connsiteX29" fmla="*/ 19754 w 103162"/>
                <a:gd name="connsiteY29" fmla="*/ 95602 h 101333"/>
                <a:gd name="connsiteX30" fmla="*/ 21096 w 103162"/>
                <a:gd name="connsiteY30" fmla="*/ 94993 h 101333"/>
                <a:gd name="connsiteX31" fmla="*/ 26583 w 103162"/>
                <a:gd name="connsiteY31" fmla="*/ 92554 h 101333"/>
                <a:gd name="connsiteX32" fmla="*/ 27803 w 103162"/>
                <a:gd name="connsiteY32" fmla="*/ 92066 h 101333"/>
                <a:gd name="connsiteX33" fmla="*/ 29144 w 103162"/>
                <a:gd name="connsiteY33" fmla="*/ 92066 h 101333"/>
                <a:gd name="connsiteX34" fmla="*/ 34753 w 103162"/>
                <a:gd name="connsiteY34" fmla="*/ 92188 h 101333"/>
                <a:gd name="connsiteX35" fmla="*/ 81701 w 103162"/>
                <a:gd name="connsiteY35" fmla="*/ 92919 h 101333"/>
                <a:gd name="connsiteX36" fmla="*/ 84140 w 103162"/>
                <a:gd name="connsiteY36" fmla="*/ 66336 h 101333"/>
                <a:gd name="connsiteX37" fmla="*/ 84383 w 103162"/>
                <a:gd name="connsiteY37" fmla="*/ 63775 h 101333"/>
                <a:gd name="connsiteX38" fmla="*/ 86457 w 103162"/>
                <a:gd name="connsiteY38" fmla="*/ 62068 h 101333"/>
                <a:gd name="connsiteX39" fmla="*/ 91212 w 103162"/>
                <a:gd name="connsiteY39" fmla="*/ 58288 h 101333"/>
                <a:gd name="connsiteX40" fmla="*/ 103163 w 103162"/>
                <a:gd name="connsiteY40" fmla="*/ 48777 h 10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3162" h="101333">
                  <a:moveTo>
                    <a:pt x="103163" y="48777"/>
                  </a:moveTo>
                  <a:lnTo>
                    <a:pt x="103163" y="35729"/>
                  </a:lnTo>
                  <a:lnTo>
                    <a:pt x="96700" y="24998"/>
                  </a:lnTo>
                  <a:lnTo>
                    <a:pt x="86822" y="8536"/>
                  </a:lnTo>
                  <a:lnTo>
                    <a:pt x="86457" y="7926"/>
                  </a:lnTo>
                  <a:lnTo>
                    <a:pt x="86334" y="7438"/>
                  </a:lnTo>
                  <a:lnTo>
                    <a:pt x="83530" y="0"/>
                  </a:lnTo>
                  <a:lnTo>
                    <a:pt x="75848" y="9511"/>
                  </a:lnTo>
                  <a:lnTo>
                    <a:pt x="74140" y="11584"/>
                  </a:lnTo>
                  <a:lnTo>
                    <a:pt x="71336" y="11706"/>
                  </a:lnTo>
                  <a:lnTo>
                    <a:pt x="44387" y="13048"/>
                  </a:lnTo>
                  <a:lnTo>
                    <a:pt x="43289" y="13170"/>
                  </a:lnTo>
                  <a:lnTo>
                    <a:pt x="42314" y="12804"/>
                  </a:lnTo>
                  <a:lnTo>
                    <a:pt x="37802" y="11463"/>
                  </a:lnTo>
                  <a:lnTo>
                    <a:pt x="29998" y="9146"/>
                  </a:lnTo>
                  <a:lnTo>
                    <a:pt x="25730" y="11219"/>
                  </a:lnTo>
                  <a:lnTo>
                    <a:pt x="30485" y="28291"/>
                  </a:lnTo>
                  <a:lnTo>
                    <a:pt x="30851" y="29876"/>
                  </a:lnTo>
                  <a:lnTo>
                    <a:pt x="30485" y="31461"/>
                  </a:lnTo>
                  <a:lnTo>
                    <a:pt x="28168" y="40241"/>
                  </a:lnTo>
                  <a:lnTo>
                    <a:pt x="25973" y="48533"/>
                  </a:lnTo>
                  <a:lnTo>
                    <a:pt x="25730" y="49508"/>
                  </a:lnTo>
                  <a:lnTo>
                    <a:pt x="25242" y="50240"/>
                  </a:lnTo>
                  <a:lnTo>
                    <a:pt x="4024" y="83408"/>
                  </a:lnTo>
                  <a:lnTo>
                    <a:pt x="0" y="101333"/>
                  </a:lnTo>
                  <a:lnTo>
                    <a:pt x="3902" y="100114"/>
                  </a:lnTo>
                  <a:lnTo>
                    <a:pt x="9146" y="95602"/>
                  </a:lnTo>
                  <a:lnTo>
                    <a:pt x="11584" y="93529"/>
                  </a:lnTo>
                  <a:lnTo>
                    <a:pt x="14633" y="94383"/>
                  </a:lnTo>
                  <a:lnTo>
                    <a:pt x="19754" y="95602"/>
                  </a:lnTo>
                  <a:lnTo>
                    <a:pt x="21096" y="94993"/>
                  </a:lnTo>
                  <a:lnTo>
                    <a:pt x="26583" y="92554"/>
                  </a:lnTo>
                  <a:lnTo>
                    <a:pt x="27803" y="92066"/>
                  </a:lnTo>
                  <a:lnTo>
                    <a:pt x="29144" y="92066"/>
                  </a:lnTo>
                  <a:lnTo>
                    <a:pt x="34753" y="92188"/>
                  </a:lnTo>
                  <a:lnTo>
                    <a:pt x="81701" y="92919"/>
                  </a:lnTo>
                  <a:lnTo>
                    <a:pt x="84140" y="66336"/>
                  </a:lnTo>
                  <a:lnTo>
                    <a:pt x="84383" y="63775"/>
                  </a:lnTo>
                  <a:lnTo>
                    <a:pt x="86457" y="62068"/>
                  </a:lnTo>
                  <a:lnTo>
                    <a:pt x="91212" y="58288"/>
                  </a:lnTo>
                  <a:lnTo>
                    <a:pt x="103163" y="4877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00" name="Freihandform: Form 399">
              <a:extLst>
                <a:ext uri="{FF2B5EF4-FFF2-40B4-BE49-F238E27FC236}">
                  <a16:creationId xmlns:a16="http://schemas.microsoft.com/office/drawing/2014/main" id="{1582E5EF-7FE7-4665-8BFF-6A9E5057B916}"/>
                </a:ext>
              </a:extLst>
            </p:cNvPr>
            <p:cNvSpPr/>
            <p:nvPr/>
          </p:nvSpPr>
          <p:spPr>
            <a:xfrm>
              <a:off x="4900998" y="3198677"/>
              <a:ext cx="220226" cy="159865"/>
            </a:xfrm>
            <a:custGeom>
              <a:avLst/>
              <a:gdLst>
                <a:gd name="connsiteX0" fmla="*/ 220227 w 220226"/>
                <a:gd name="connsiteY0" fmla="*/ 139501 h 159865"/>
                <a:gd name="connsiteX1" fmla="*/ 218031 w 220226"/>
                <a:gd name="connsiteY1" fmla="*/ 137062 h 159865"/>
                <a:gd name="connsiteX2" fmla="*/ 210227 w 220226"/>
                <a:gd name="connsiteY2" fmla="*/ 128527 h 159865"/>
                <a:gd name="connsiteX3" fmla="*/ 209496 w 220226"/>
                <a:gd name="connsiteY3" fmla="*/ 127673 h 159865"/>
                <a:gd name="connsiteX4" fmla="*/ 209008 w 220226"/>
                <a:gd name="connsiteY4" fmla="*/ 126697 h 159865"/>
                <a:gd name="connsiteX5" fmla="*/ 208398 w 220226"/>
                <a:gd name="connsiteY5" fmla="*/ 125234 h 159865"/>
                <a:gd name="connsiteX6" fmla="*/ 200960 w 220226"/>
                <a:gd name="connsiteY6" fmla="*/ 106455 h 159865"/>
                <a:gd name="connsiteX7" fmla="*/ 177913 w 220226"/>
                <a:gd name="connsiteY7" fmla="*/ 73775 h 159865"/>
                <a:gd name="connsiteX8" fmla="*/ 175352 w 220226"/>
                <a:gd name="connsiteY8" fmla="*/ 70239 h 159865"/>
                <a:gd name="connsiteX9" fmla="*/ 177913 w 220226"/>
                <a:gd name="connsiteY9" fmla="*/ 66702 h 159865"/>
                <a:gd name="connsiteX10" fmla="*/ 179376 w 220226"/>
                <a:gd name="connsiteY10" fmla="*/ 64629 h 159865"/>
                <a:gd name="connsiteX11" fmla="*/ 190473 w 220226"/>
                <a:gd name="connsiteY11" fmla="*/ 49021 h 159865"/>
                <a:gd name="connsiteX12" fmla="*/ 190961 w 220226"/>
                <a:gd name="connsiteY12" fmla="*/ 40607 h 159865"/>
                <a:gd name="connsiteX13" fmla="*/ 188522 w 220226"/>
                <a:gd name="connsiteY13" fmla="*/ 37558 h 159865"/>
                <a:gd name="connsiteX14" fmla="*/ 182059 w 220226"/>
                <a:gd name="connsiteY14" fmla="*/ 29754 h 159865"/>
                <a:gd name="connsiteX15" fmla="*/ 180717 w 220226"/>
                <a:gd name="connsiteY15" fmla="*/ 28047 h 159865"/>
                <a:gd name="connsiteX16" fmla="*/ 180717 w 220226"/>
                <a:gd name="connsiteY16" fmla="*/ 0 h 159865"/>
                <a:gd name="connsiteX17" fmla="*/ 165353 w 220226"/>
                <a:gd name="connsiteY17" fmla="*/ 3171 h 159865"/>
                <a:gd name="connsiteX18" fmla="*/ 170230 w 220226"/>
                <a:gd name="connsiteY18" fmla="*/ 16462 h 159865"/>
                <a:gd name="connsiteX19" fmla="*/ 171694 w 220226"/>
                <a:gd name="connsiteY19" fmla="*/ 20486 h 159865"/>
                <a:gd name="connsiteX20" fmla="*/ 168401 w 220226"/>
                <a:gd name="connsiteY20" fmla="*/ 23169 h 159865"/>
                <a:gd name="connsiteX21" fmla="*/ 137672 w 220226"/>
                <a:gd name="connsiteY21" fmla="*/ 49508 h 159865"/>
                <a:gd name="connsiteX22" fmla="*/ 133038 w 220226"/>
                <a:gd name="connsiteY22" fmla="*/ 53410 h 159865"/>
                <a:gd name="connsiteX23" fmla="*/ 129014 w 220226"/>
                <a:gd name="connsiteY23" fmla="*/ 48777 h 159865"/>
                <a:gd name="connsiteX24" fmla="*/ 119991 w 220226"/>
                <a:gd name="connsiteY24" fmla="*/ 38046 h 159865"/>
                <a:gd name="connsiteX25" fmla="*/ 94505 w 220226"/>
                <a:gd name="connsiteY25" fmla="*/ 55727 h 159865"/>
                <a:gd name="connsiteX26" fmla="*/ 92675 w 220226"/>
                <a:gd name="connsiteY26" fmla="*/ 57069 h 159865"/>
                <a:gd name="connsiteX27" fmla="*/ 90359 w 220226"/>
                <a:gd name="connsiteY27" fmla="*/ 56825 h 159865"/>
                <a:gd name="connsiteX28" fmla="*/ 62556 w 220226"/>
                <a:gd name="connsiteY28" fmla="*/ 53654 h 159865"/>
                <a:gd name="connsiteX29" fmla="*/ 61215 w 220226"/>
                <a:gd name="connsiteY29" fmla="*/ 53532 h 159865"/>
                <a:gd name="connsiteX30" fmla="*/ 59995 w 220226"/>
                <a:gd name="connsiteY30" fmla="*/ 52801 h 159865"/>
                <a:gd name="connsiteX31" fmla="*/ 34021 w 220226"/>
                <a:gd name="connsiteY31" fmla="*/ 36582 h 159865"/>
                <a:gd name="connsiteX32" fmla="*/ 18657 w 220226"/>
                <a:gd name="connsiteY32" fmla="*/ 47801 h 159865"/>
                <a:gd name="connsiteX33" fmla="*/ 17072 w 220226"/>
                <a:gd name="connsiteY33" fmla="*/ 49021 h 159865"/>
                <a:gd name="connsiteX34" fmla="*/ 732 w 220226"/>
                <a:gd name="connsiteY34" fmla="*/ 49021 h 159865"/>
                <a:gd name="connsiteX35" fmla="*/ 732 w 220226"/>
                <a:gd name="connsiteY35" fmla="*/ 49265 h 159865"/>
                <a:gd name="connsiteX36" fmla="*/ 0 w 220226"/>
                <a:gd name="connsiteY36" fmla="*/ 60483 h 159865"/>
                <a:gd name="connsiteX37" fmla="*/ 122 w 220226"/>
                <a:gd name="connsiteY37" fmla="*/ 60483 h 159865"/>
                <a:gd name="connsiteX38" fmla="*/ 7926 w 220226"/>
                <a:gd name="connsiteY38" fmla="*/ 63410 h 159865"/>
                <a:gd name="connsiteX39" fmla="*/ 9877 w 220226"/>
                <a:gd name="connsiteY39" fmla="*/ 64141 h 159865"/>
                <a:gd name="connsiteX40" fmla="*/ 10975 w 220226"/>
                <a:gd name="connsiteY40" fmla="*/ 65970 h 159865"/>
                <a:gd name="connsiteX41" fmla="*/ 16828 w 220226"/>
                <a:gd name="connsiteY41" fmla="*/ 75238 h 159865"/>
                <a:gd name="connsiteX42" fmla="*/ 16828 w 220226"/>
                <a:gd name="connsiteY42" fmla="*/ 75360 h 159865"/>
                <a:gd name="connsiteX43" fmla="*/ 24754 w 220226"/>
                <a:gd name="connsiteY43" fmla="*/ 77677 h 159865"/>
                <a:gd name="connsiteX44" fmla="*/ 26339 w 220226"/>
                <a:gd name="connsiteY44" fmla="*/ 78043 h 159865"/>
                <a:gd name="connsiteX45" fmla="*/ 27437 w 220226"/>
                <a:gd name="connsiteY45" fmla="*/ 79140 h 159865"/>
                <a:gd name="connsiteX46" fmla="*/ 33534 w 220226"/>
                <a:gd name="connsiteY46" fmla="*/ 85237 h 159865"/>
                <a:gd name="connsiteX47" fmla="*/ 42070 w 220226"/>
                <a:gd name="connsiteY47" fmla="*/ 93895 h 159865"/>
                <a:gd name="connsiteX48" fmla="*/ 43655 w 220226"/>
                <a:gd name="connsiteY48" fmla="*/ 95358 h 159865"/>
                <a:gd name="connsiteX49" fmla="*/ 43899 w 220226"/>
                <a:gd name="connsiteY49" fmla="*/ 97553 h 159865"/>
                <a:gd name="connsiteX50" fmla="*/ 44996 w 220226"/>
                <a:gd name="connsiteY50" fmla="*/ 109138 h 159865"/>
                <a:gd name="connsiteX51" fmla="*/ 64385 w 220226"/>
                <a:gd name="connsiteY51" fmla="*/ 121942 h 159865"/>
                <a:gd name="connsiteX52" fmla="*/ 65483 w 220226"/>
                <a:gd name="connsiteY52" fmla="*/ 122795 h 159865"/>
                <a:gd name="connsiteX53" fmla="*/ 66214 w 220226"/>
                <a:gd name="connsiteY53" fmla="*/ 123893 h 159865"/>
                <a:gd name="connsiteX54" fmla="*/ 69141 w 220226"/>
                <a:gd name="connsiteY54" fmla="*/ 128892 h 159865"/>
                <a:gd name="connsiteX55" fmla="*/ 74994 w 220226"/>
                <a:gd name="connsiteY55" fmla="*/ 138648 h 159865"/>
                <a:gd name="connsiteX56" fmla="*/ 74994 w 220226"/>
                <a:gd name="connsiteY56" fmla="*/ 138648 h 159865"/>
                <a:gd name="connsiteX57" fmla="*/ 77555 w 220226"/>
                <a:gd name="connsiteY57" fmla="*/ 142794 h 159865"/>
                <a:gd name="connsiteX58" fmla="*/ 83530 w 220226"/>
                <a:gd name="connsiteY58" fmla="*/ 142794 h 159865"/>
                <a:gd name="connsiteX59" fmla="*/ 84749 w 220226"/>
                <a:gd name="connsiteY59" fmla="*/ 141696 h 159865"/>
                <a:gd name="connsiteX60" fmla="*/ 85725 w 220226"/>
                <a:gd name="connsiteY60" fmla="*/ 140721 h 159865"/>
                <a:gd name="connsiteX61" fmla="*/ 88408 w 220226"/>
                <a:gd name="connsiteY61" fmla="*/ 138038 h 159865"/>
                <a:gd name="connsiteX62" fmla="*/ 91944 w 220226"/>
                <a:gd name="connsiteY62" fmla="*/ 139257 h 159865"/>
                <a:gd name="connsiteX63" fmla="*/ 102675 w 220226"/>
                <a:gd name="connsiteY63" fmla="*/ 142794 h 159865"/>
                <a:gd name="connsiteX64" fmla="*/ 110479 w 220226"/>
                <a:gd name="connsiteY64" fmla="*/ 141574 h 159865"/>
                <a:gd name="connsiteX65" fmla="*/ 113771 w 220226"/>
                <a:gd name="connsiteY65" fmla="*/ 141208 h 159865"/>
                <a:gd name="connsiteX66" fmla="*/ 115966 w 220226"/>
                <a:gd name="connsiteY66" fmla="*/ 143769 h 159865"/>
                <a:gd name="connsiteX67" fmla="*/ 124624 w 220226"/>
                <a:gd name="connsiteY67" fmla="*/ 153890 h 159865"/>
                <a:gd name="connsiteX68" fmla="*/ 128770 w 220226"/>
                <a:gd name="connsiteY68" fmla="*/ 158890 h 159865"/>
                <a:gd name="connsiteX69" fmla="*/ 133770 w 220226"/>
                <a:gd name="connsiteY69" fmla="*/ 156451 h 159865"/>
                <a:gd name="connsiteX70" fmla="*/ 135965 w 220226"/>
                <a:gd name="connsiteY70" fmla="*/ 155354 h 159865"/>
                <a:gd name="connsiteX71" fmla="*/ 138282 w 220226"/>
                <a:gd name="connsiteY71" fmla="*/ 155963 h 159865"/>
                <a:gd name="connsiteX72" fmla="*/ 147427 w 220226"/>
                <a:gd name="connsiteY72" fmla="*/ 158768 h 159865"/>
                <a:gd name="connsiteX73" fmla="*/ 150963 w 220226"/>
                <a:gd name="connsiteY73" fmla="*/ 159865 h 159865"/>
                <a:gd name="connsiteX74" fmla="*/ 176937 w 220226"/>
                <a:gd name="connsiteY74" fmla="*/ 158524 h 159865"/>
                <a:gd name="connsiteX75" fmla="*/ 186205 w 220226"/>
                <a:gd name="connsiteY75" fmla="*/ 147184 h 159865"/>
                <a:gd name="connsiteX76" fmla="*/ 187058 w 220226"/>
                <a:gd name="connsiteY76" fmla="*/ 146086 h 159865"/>
                <a:gd name="connsiteX77" fmla="*/ 186083 w 220226"/>
                <a:gd name="connsiteY77" fmla="*/ 143403 h 159865"/>
                <a:gd name="connsiteX78" fmla="*/ 189497 w 220226"/>
                <a:gd name="connsiteY78" fmla="*/ 143038 h 159865"/>
                <a:gd name="connsiteX79" fmla="*/ 192911 w 220226"/>
                <a:gd name="connsiteY79" fmla="*/ 138892 h 159865"/>
                <a:gd name="connsiteX80" fmla="*/ 194253 w 220226"/>
                <a:gd name="connsiteY80" fmla="*/ 142550 h 159865"/>
                <a:gd name="connsiteX81" fmla="*/ 217422 w 220226"/>
                <a:gd name="connsiteY81" fmla="*/ 139867 h 159865"/>
                <a:gd name="connsiteX82" fmla="*/ 220227 w 220226"/>
                <a:gd name="connsiteY82" fmla="*/ 139501 h 15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20226" h="159865">
                  <a:moveTo>
                    <a:pt x="220227" y="139501"/>
                  </a:moveTo>
                  <a:lnTo>
                    <a:pt x="218031" y="137062"/>
                  </a:lnTo>
                  <a:lnTo>
                    <a:pt x="210227" y="128527"/>
                  </a:lnTo>
                  <a:lnTo>
                    <a:pt x="209496" y="127673"/>
                  </a:lnTo>
                  <a:lnTo>
                    <a:pt x="209008" y="126697"/>
                  </a:lnTo>
                  <a:lnTo>
                    <a:pt x="208398" y="125234"/>
                  </a:lnTo>
                  <a:lnTo>
                    <a:pt x="200960" y="106455"/>
                  </a:lnTo>
                  <a:lnTo>
                    <a:pt x="177913" y="73775"/>
                  </a:lnTo>
                  <a:lnTo>
                    <a:pt x="175352" y="70239"/>
                  </a:lnTo>
                  <a:lnTo>
                    <a:pt x="177913" y="66702"/>
                  </a:lnTo>
                  <a:lnTo>
                    <a:pt x="179376" y="64629"/>
                  </a:lnTo>
                  <a:lnTo>
                    <a:pt x="190473" y="49021"/>
                  </a:lnTo>
                  <a:lnTo>
                    <a:pt x="190961" y="40607"/>
                  </a:lnTo>
                  <a:lnTo>
                    <a:pt x="188522" y="37558"/>
                  </a:lnTo>
                  <a:lnTo>
                    <a:pt x="182059" y="29754"/>
                  </a:lnTo>
                  <a:lnTo>
                    <a:pt x="180717" y="28047"/>
                  </a:lnTo>
                  <a:lnTo>
                    <a:pt x="180717" y="0"/>
                  </a:lnTo>
                  <a:lnTo>
                    <a:pt x="165353" y="3171"/>
                  </a:lnTo>
                  <a:lnTo>
                    <a:pt x="170230" y="16462"/>
                  </a:lnTo>
                  <a:lnTo>
                    <a:pt x="171694" y="20486"/>
                  </a:lnTo>
                  <a:lnTo>
                    <a:pt x="168401" y="23169"/>
                  </a:lnTo>
                  <a:lnTo>
                    <a:pt x="137672" y="49508"/>
                  </a:lnTo>
                  <a:lnTo>
                    <a:pt x="133038" y="53410"/>
                  </a:lnTo>
                  <a:lnTo>
                    <a:pt x="129014" y="48777"/>
                  </a:lnTo>
                  <a:lnTo>
                    <a:pt x="119991" y="38046"/>
                  </a:lnTo>
                  <a:lnTo>
                    <a:pt x="94505" y="55727"/>
                  </a:lnTo>
                  <a:lnTo>
                    <a:pt x="92675" y="57069"/>
                  </a:lnTo>
                  <a:lnTo>
                    <a:pt x="90359" y="56825"/>
                  </a:lnTo>
                  <a:lnTo>
                    <a:pt x="62556" y="53654"/>
                  </a:lnTo>
                  <a:lnTo>
                    <a:pt x="61215" y="53532"/>
                  </a:lnTo>
                  <a:lnTo>
                    <a:pt x="59995" y="52801"/>
                  </a:lnTo>
                  <a:lnTo>
                    <a:pt x="34021" y="36582"/>
                  </a:lnTo>
                  <a:lnTo>
                    <a:pt x="18657" y="47801"/>
                  </a:lnTo>
                  <a:lnTo>
                    <a:pt x="17072" y="49021"/>
                  </a:lnTo>
                  <a:lnTo>
                    <a:pt x="732" y="49021"/>
                  </a:lnTo>
                  <a:lnTo>
                    <a:pt x="732" y="49265"/>
                  </a:lnTo>
                  <a:lnTo>
                    <a:pt x="0" y="60483"/>
                  </a:lnTo>
                  <a:lnTo>
                    <a:pt x="122" y="60483"/>
                  </a:lnTo>
                  <a:lnTo>
                    <a:pt x="7926" y="63410"/>
                  </a:lnTo>
                  <a:lnTo>
                    <a:pt x="9877" y="64141"/>
                  </a:lnTo>
                  <a:lnTo>
                    <a:pt x="10975" y="65970"/>
                  </a:lnTo>
                  <a:lnTo>
                    <a:pt x="16828" y="75238"/>
                  </a:lnTo>
                  <a:lnTo>
                    <a:pt x="16828" y="75360"/>
                  </a:lnTo>
                  <a:lnTo>
                    <a:pt x="24754" y="77677"/>
                  </a:lnTo>
                  <a:lnTo>
                    <a:pt x="26339" y="78043"/>
                  </a:lnTo>
                  <a:lnTo>
                    <a:pt x="27437" y="79140"/>
                  </a:lnTo>
                  <a:lnTo>
                    <a:pt x="33534" y="85237"/>
                  </a:lnTo>
                  <a:lnTo>
                    <a:pt x="42070" y="93895"/>
                  </a:lnTo>
                  <a:lnTo>
                    <a:pt x="43655" y="95358"/>
                  </a:lnTo>
                  <a:lnTo>
                    <a:pt x="43899" y="97553"/>
                  </a:lnTo>
                  <a:lnTo>
                    <a:pt x="44996" y="109138"/>
                  </a:lnTo>
                  <a:lnTo>
                    <a:pt x="64385" y="121942"/>
                  </a:lnTo>
                  <a:lnTo>
                    <a:pt x="65483" y="122795"/>
                  </a:lnTo>
                  <a:lnTo>
                    <a:pt x="66214" y="123893"/>
                  </a:lnTo>
                  <a:lnTo>
                    <a:pt x="69141" y="128892"/>
                  </a:lnTo>
                  <a:lnTo>
                    <a:pt x="74994" y="138648"/>
                  </a:lnTo>
                  <a:lnTo>
                    <a:pt x="74994" y="138648"/>
                  </a:lnTo>
                  <a:lnTo>
                    <a:pt x="77555" y="142794"/>
                  </a:lnTo>
                  <a:lnTo>
                    <a:pt x="83530" y="142794"/>
                  </a:lnTo>
                  <a:lnTo>
                    <a:pt x="84749" y="141696"/>
                  </a:lnTo>
                  <a:lnTo>
                    <a:pt x="85725" y="140721"/>
                  </a:lnTo>
                  <a:lnTo>
                    <a:pt x="88408" y="138038"/>
                  </a:lnTo>
                  <a:lnTo>
                    <a:pt x="91944" y="139257"/>
                  </a:lnTo>
                  <a:lnTo>
                    <a:pt x="102675" y="142794"/>
                  </a:lnTo>
                  <a:lnTo>
                    <a:pt x="110479" y="141574"/>
                  </a:lnTo>
                  <a:lnTo>
                    <a:pt x="113771" y="141208"/>
                  </a:lnTo>
                  <a:lnTo>
                    <a:pt x="115966" y="143769"/>
                  </a:lnTo>
                  <a:lnTo>
                    <a:pt x="124624" y="153890"/>
                  </a:lnTo>
                  <a:lnTo>
                    <a:pt x="128770" y="158890"/>
                  </a:lnTo>
                  <a:lnTo>
                    <a:pt x="133770" y="156451"/>
                  </a:lnTo>
                  <a:lnTo>
                    <a:pt x="135965" y="155354"/>
                  </a:lnTo>
                  <a:lnTo>
                    <a:pt x="138282" y="155963"/>
                  </a:lnTo>
                  <a:lnTo>
                    <a:pt x="147427" y="158768"/>
                  </a:lnTo>
                  <a:lnTo>
                    <a:pt x="150963" y="159865"/>
                  </a:lnTo>
                  <a:lnTo>
                    <a:pt x="176937" y="158524"/>
                  </a:lnTo>
                  <a:lnTo>
                    <a:pt x="186205" y="147184"/>
                  </a:lnTo>
                  <a:lnTo>
                    <a:pt x="187058" y="146086"/>
                  </a:lnTo>
                  <a:lnTo>
                    <a:pt x="186083" y="143403"/>
                  </a:lnTo>
                  <a:lnTo>
                    <a:pt x="189497" y="143038"/>
                  </a:lnTo>
                  <a:lnTo>
                    <a:pt x="192911" y="138892"/>
                  </a:lnTo>
                  <a:lnTo>
                    <a:pt x="194253" y="142550"/>
                  </a:lnTo>
                  <a:lnTo>
                    <a:pt x="217422" y="139867"/>
                  </a:lnTo>
                  <a:lnTo>
                    <a:pt x="220227" y="13950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06" name="Freihandform: Form 405">
              <a:extLst>
                <a:ext uri="{FF2B5EF4-FFF2-40B4-BE49-F238E27FC236}">
                  <a16:creationId xmlns:a16="http://schemas.microsoft.com/office/drawing/2014/main" id="{BAAE63F7-1C28-4D25-BDD9-A7525D1DE371}"/>
                </a:ext>
              </a:extLst>
            </p:cNvPr>
            <p:cNvSpPr/>
            <p:nvPr/>
          </p:nvSpPr>
          <p:spPr>
            <a:xfrm>
              <a:off x="5006843" y="3485605"/>
              <a:ext cx="20486" cy="26095"/>
            </a:xfrm>
            <a:custGeom>
              <a:avLst/>
              <a:gdLst>
                <a:gd name="connsiteX0" fmla="*/ 15609 w 20486"/>
                <a:gd name="connsiteY0" fmla="*/ 0 h 26095"/>
                <a:gd name="connsiteX1" fmla="*/ 15486 w 20486"/>
                <a:gd name="connsiteY1" fmla="*/ 0 h 26095"/>
                <a:gd name="connsiteX2" fmla="*/ 11340 w 20486"/>
                <a:gd name="connsiteY2" fmla="*/ 0 h 26095"/>
                <a:gd name="connsiteX3" fmla="*/ 10243 w 20486"/>
                <a:gd name="connsiteY3" fmla="*/ 976 h 26095"/>
                <a:gd name="connsiteX4" fmla="*/ 8414 w 20486"/>
                <a:gd name="connsiteY4" fmla="*/ 2805 h 26095"/>
                <a:gd name="connsiteX5" fmla="*/ 0 w 20486"/>
                <a:gd name="connsiteY5" fmla="*/ 2805 h 26095"/>
                <a:gd name="connsiteX6" fmla="*/ 1097 w 20486"/>
                <a:gd name="connsiteY6" fmla="*/ 9268 h 26095"/>
                <a:gd name="connsiteX7" fmla="*/ 6463 w 20486"/>
                <a:gd name="connsiteY7" fmla="*/ 14877 h 26095"/>
                <a:gd name="connsiteX8" fmla="*/ 8048 w 20486"/>
                <a:gd name="connsiteY8" fmla="*/ 16584 h 26095"/>
                <a:gd name="connsiteX9" fmla="*/ 8170 w 20486"/>
                <a:gd name="connsiteY9" fmla="*/ 18779 h 26095"/>
                <a:gd name="connsiteX10" fmla="*/ 8536 w 20486"/>
                <a:gd name="connsiteY10" fmla="*/ 26096 h 26095"/>
                <a:gd name="connsiteX11" fmla="*/ 8902 w 20486"/>
                <a:gd name="connsiteY11" fmla="*/ 25852 h 26095"/>
                <a:gd name="connsiteX12" fmla="*/ 10243 w 20486"/>
                <a:gd name="connsiteY12" fmla="*/ 19755 h 26095"/>
                <a:gd name="connsiteX13" fmla="*/ 10853 w 20486"/>
                <a:gd name="connsiteY13" fmla="*/ 16828 h 26095"/>
                <a:gd name="connsiteX14" fmla="*/ 13779 w 20486"/>
                <a:gd name="connsiteY14" fmla="*/ 15487 h 26095"/>
                <a:gd name="connsiteX15" fmla="*/ 19267 w 20486"/>
                <a:gd name="connsiteY15" fmla="*/ 13048 h 26095"/>
                <a:gd name="connsiteX16" fmla="*/ 20486 w 20486"/>
                <a:gd name="connsiteY16" fmla="*/ 4878 h 26095"/>
                <a:gd name="connsiteX17" fmla="*/ 15974 w 20486"/>
                <a:gd name="connsiteY17" fmla="*/ 366 h 26095"/>
                <a:gd name="connsiteX18" fmla="*/ 15609 w 20486"/>
                <a:gd name="connsiteY18" fmla="*/ 0 h 26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486" h="26095">
                  <a:moveTo>
                    <a:pt x="15609" y="0"/>
                  </a:moveTo>
                  <a:lnTo>
                    <a:pt x="15486" y="0"/>
                  </a:lnTo>
                  <a:lnTo>
                    <a:pt x="11340" y="0"/>
                  </a:lnTo>
                  <a:lnTo>
                    <a:pt x="10243" y="976"/>
                  </a:lnTo>
                  <a:lnTo>
                    <a:pt x="8414" y="2805"/>
                  </a:lnTo>
                  <a:lnTo>
                    <a:pt x="0" y="2805"/>
                  </a:lnTo>
                  <a:lnTo>
                    <a:pt x="1097" y="9268"/>
                  </a:lnTo>
                  <a:lnTo>
                    <a:pt x="6463" y="14877"/>
                  </a:lnTo>
                  <a:lnTo>
                    <a:pt x="8048" y="16584"/>
                  </a:lnTo>
                  <a:lnTo>
                    <a:pt x="8170" y="18779"/>
                  </a:lnTo>
                  <a:lnTo>
                    <a:pt x="8536" y="26096"/>
                  </a:lnTo>
                  <a:lnTo>
                    <a:pt x="8902" y="25852"/>
                  </a:lnTo>
                  <a:lnTo>
                    <a:pt x="10243" y="19755"/>
                  </a:lnTo>
                  <a:lnTo>
                    <a:pt x="10853" y="16828"/>
                  </a:lnTo>
                  <a:lnTo>
                    <a:pt x="13779" y="15487"/>
                  </a:lnTo>
                  <a:lnTo>
                    <a:pt x="19267" y="13048"/>
                  </a:lnTo>
                  <a:lnTo>
                    <a:pt x="20486" y="4878"/>
                  </a:lnTo>
                  <a:lnTo>
                    <a:pt x="15974" y="366"/>
                  </a:lnTo>
                  <a:lnTo>
                    <a:pt x="1560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13" name="Freihandform: Form 412">
              <a:extLst>
                <a:ext uri="{FF2B5EF4-FFF2-40B4-BE49-F238E27FC236}">
                  <a16:creationId xmlns:a16="http://schemas.microsoft.com/office/drawing/2014/main" id="{98BFB798-4FB9-4B48-82F2-C2D2BE34426B}"/>
                </a:ext>
              </a:extLst>
            </p:cNvPr>
            <p:cNvSpPr/>
            <p:nvPr/>
          </p:nvSpPr>
          <p:spPr>
            <a:xfrm>
              <a:off x="5086105" y="3148193"/>
              <a:ext cx="285709" cy="210227"/>
            </a:xfrm>
            <a:custGeom>
              <a:avLst/>
              <a:gdLst>
                <a:gd name="connsiteX0" fmla="*/ 43533 w 285709"/>
                <a:gd name="connsiteY0" fmla="*/ 187302 h 210227"/>
                <a:gd name="connsiteX1" fmla="*/ 45484 w 285709"/>
                <a:gd name="connsiteY1" fmla="*/ 189497 h 210227"/>
                <a:gd name="connsiteX2" fmla="*/ 56825 w 285709"/>
                <a:gd name="connsiteY2" fmla="*/ 191936 h 210227"/>
                <a:gd name="connsiteX3" fmla="*/ 57434 w 285709"/>
                <a:gd name="connsiteY3" fmla="*/ 192058 h 210227"/>
                <a:gd name="connsiteX4" fmla="*/ 58044 w 285709"/>
                <a:gd name="connsiteY4" fmla="*/ 192424 h 210227"/>
                <a:gd name="connsiteX5" fmla="*/ 73531 w 285709"/>
                <a:gd name="connsiteY5" fmla="*/ 199497 h 210227"/>
                <a:gd name="connsiteX6" fmla="*/ 90968 w 285709"/>
                <a:gd name="connsiteY6" fmla="*/ 207545 h 210227"/>
                <a:gd name="connsiteX7" fmla="*/ 92676 w 285709"/>
                <a:gd name="connsiteY7" fmla="*/ 207789 h 210227"/>
                <a:gd name="connsiteX8" fmla="*/ 110601 w 285709"/>
                <a:gd name="connsiteY8" fmla="*/ 210227 h 210227"/>
                <a:gd name="connsiteX9" fmla="*/ 127185 w 285709"/>
                <a:gd name="connsiteY9" fmla="*/ 199984 h 210227"/>
                <a:gd name="connsiteX10" fmla="*/ 128892 w 285709"/>
                <a:gd name="connsiteY10" fmla="*/ 198887 h 210227"/>
                <a:gd name="connsiteX11" fmla="*/ 130843 w 285709"/>
                <a:gd name="connsiteY11" fmla="*/ 199009 h 210227"/>
                <a:gd name="connsiteX12" fmla="*/ 159134 w 285709"/>
                <a:gd name="connsiteY12" fmla="*/ 201448 h 210227"/>
                <a:gd name="connsiteX13" fmla="*/ 162792 w 285709"/>
                <a:gd name="connsiteY13" fmla="*/ 201692 h 210227"/>
                <a:gd name="connsiteX14" fmla="*/ 176815 w 285709"/>
                <a:gd name="connsiteY14" fmla="*/ 191448 h 210227"/>
                <a:gd name="connsiteX15" fmla="*/ 177791 w 285709"/>
                <a:gd name="connsiteY15" fmla="*/ 190839 h 210227"/>
                <a:gd name="connsiteX16" fmla="*/ 179010 w 285709"/>
                <a:gd name="connsiteY16" fmla="*/ 190473 h 210227"/>
                <a:gd name="connsiteX17" fmla="*/ 220349 w 285709"/>
                <a:gd name="connsiteY17" fmla="*/ 180839 h 210227"/>
                <a:gd name="connsiteX18" fmla="*/ 282539 w 285709"/>
                <a:gd name="connsiteY18" fmla="*/ 133892 h 210227"/>
                <a:gd name="connsiteX19" fmla="*/ 283758 w 285709"/>
                <a:gd name="connsiteY19" fmla="*/ 130721 h 210227"/>
                <a:gd name="connsiteX20" fmla="*/ 285709 w 285709"/>
                <a:gd name="connsiteY20" fmla="*/ 125356 h 210227"/>
                <a:gd name="connsiteX21" fmla="*/ 277905 w 285709"/>
                <a:gd name="connsiteY21" fmla="*/ 125966 h 210227"/>
                <a:gd name="connsiteX22" fmla="*/ 276563 w 285709"/>
                <a:gd name="connsiteY22" fmla="*/ 126088 h 210227"/>
                <a:gd name="connsiteX23" fmla="*/ 275832 w 285709"/>
                <a:gd name="connsiteY23" fmla="*/ 126210 h 210227"/>
                <a:gd name="connsiteX24" fmla="*/ 275100 w 285709"/>
                <a:gd name="connsiteY24" fmla="*/ 126088 h 210227"/>
                <a:gd name="connsiteX25" fmla="*/ 270466 w 285709"/>
                <a:gd name="connsiteY25" fmla="*/ 125356 h 210227"/>
                <a:gd name="connsiteX26" fmla="*/ 227543 w 285709"/>
                <a:gd name="connsiteY26" fmla="*/ 119137 h 210227"/>
                <a:gd name="connsiteX27" fmla="*/ 226567 w 285709"/>
                <a:gd name="connsiteY27" fmla="*/ 118893 h 210227"/>
                <a:gd name="connsiteX28" fmla="*/ 225714 w 285709"/>
                <a:gd name="connsiteY28" fmla="*/ 118527 h 210227"/>
                <a:gd name="connsiteX29" fmla="*/ 212422 w 285709"/>
                <a:gd name="connsiteY29" fmla="*/ 111943 h 210227"/>
                <a:gd name="connsiteX30" fmla="*/ 203886 w 285709"/>
                <a:gd name="connsiteY30" fmla="*/ 107553 h 210227"/>
                <a:gd name="connsiteX31" fmla="*/ 195350 w 285709"/>
                <a:gd name="connsiteY31" fmla="*/ 106333 h 210227"/>
                <a:gd name="connsiteX32" fmla="*/ 193155 w 285709"/>
                <a:gd name="connsiteY32" fmla="*/ 106089 h 210227"/>
                <a:gd name="connsiteX33" fmla="*/ 191692 w 285709"/>
                <a:gd name="connsiteY33" fmla="*/ 104504 h 210227"/>
                <a:gd name="connsiteX34" fmla="*/ 190716 w 285709"/>
                <a:gd name="connsiteY34" fmla="*/ 103407 h 210227"/>
                <a:gd name="connsiteX35" fmla="*/ 179864 w 285709"/>
                <a:gd name="connsiteY35" fmla="*/ 91334 h 210227"/>
                <a:gd name="connsiteX36" fmla="*/ 178522 w 285709"/>
                <a:gd name="connsiteY36" fmla="*/ 89871 h 210227"/>
                <a:gd name="connsiteX37" fmla="*/ 178279 w 285709"/>
                <a:gd name="connsiteY37" fmla="*/ 87798 h 210227"/>
                <a:gd name="connsiteX38" fmla="*/ 177181 w 285709"/>
                <a:gd name="connsiteY38" fmla="*/ 73287 h 210227"/>
                <a:gd name="connsiteX39" fmla="*/ 168645 w 285709"/>
                <a:gd name="connsiteY39" fmla="*/ 72433 h 210227"/>
                <a:gd name="connsiteX40" fmla="*/ 166206 w 285709"/>
                <a:gd name="connsiteY40" fmla="*/ 72068 h 210227"/>
                <a:gd name="connsiteX41" fmla="*/ 164621 w 285709"/>
                <a:gd name="connsiteY41" fmla="*/ 70239 h 210227"/>
                <a:gd name="connsiteX42" fmla="*/ 158646 w 285709"/>
                <a:gd name="connsiteY42" fmla="*/ 63166 h 210227"/>
                <a:gd name="connsiteX43" fmla="*/ 156817 w 285709"/>
                <a:gd name="connsiteY43" fmla="*/ 60971 h 210227"/>
                <a:gd name="connsiteX44" fmla="*/ 157305 w 285709"/>
                <a:gd name="connsiteY44" fmla="*/ 58166 h 210227"/>
                <a:gd name="connsiteX45" fmla="*/ 159744 w 285709"/>
                <a:gd name="connsiteY45" fmla="*/ 45118 h 210227"/>
                <a:gd name="connsiteX46" fmla="*/ 159744 w 285709"/>
                <a:gd name="connsiteY46" fmla="*/ 44996 h 210227"/>
                <a:gd name="connsiteX47" fmla="*/ 142671 w 285709"/>
                <a:gd name="connsiteY47" fmla="*/ 18901 h 210227"/>
                <a:gd name="connsiteX48" fmla="*/ 121210 w 285709"/>
                <a:gd name="connsiteY48" fmla="*/ 6707 h 210227"/>
                <a:gd name="connsiteX49" fmla="*/ 116454 w 285709"/>
                <a:gd name="connsiteY49" fmla="*/ 4878 h 210227"/>
                <a:gd name="connsiteX50" fmla="*/ 105114 w 285709"/>
                <a:gd name="connsiteY50" fmla="*/ 0 h 210227"/>
                <a:gd name="connsiteX51" fmla="*/ 64751 w 285709"/>
                <a:gd name="connsiteY51" fmla="*/ 3292 h 210227"/>
                <a:gd name="connsiteX52" fmla="*/ 57069 w 285709"/>
                <a:gd name="connsiteY52" fmla="*/ 3902 h 210227"/>
                <a:gd name="connsiteX53" fmla="*/ 54508 w 285709"/>
                <a:gd name="connsiteY53" fmla="*/ 38655 h 210227"/>
                <a:gd name="connsiteX54" fmla="*/ 54264 w 285709"/>
                <a:gd name="connsiteY54" fmla="*/ 43167 h 210227"/>
                <a:gd name="connsiteX55" fmla="*/ 49752 w 285709"/>
                <a:gd name="connsiteY55" fmla="*/ 44143 h 210227"/>
                <a:gd name="connsiteX56" fmla="*/ 34144 w 285709"/>
                <a:gd name="connsiteY56" fmla="*/ 47557 h 210227"/>
                <a:gd name="connsiteX57" fmla="*/ 31827 w 285709"/>
                <a:gd name="connsiteY57" fmla="*/ 64873 h 210227"/>
                <a:gd name="connsiteX58" fmla="*/ 31461 w 285709"/>
                <a:gd name="connsiteY58" fmla="*/ 68165 h 210227"/>
                <a:gd name="connsiteX59" fmla="*/ 28534 w 285709"/>
                <a:gd name="connsiteY59" fmla="*/ 69507 h 210227"/>
                <a:gd name="connsiteX60" fmla="*/ 14633 w 285709"/>
                <a:gd name="connsiteY60" fmla="*/ 76579 h 210227"/>
                <a:gd name="connsiteX61" fmla="*/ 14267 w 285709"/>
                <a:gd name="connsiteY61" fmla="*/ 81945 h 210227"/>
                <a:gd name="connsiteX62" fmla="*/ 14145 w 285709"/>
                <a:gd name="connsiteY62" fmla="*/ 84506 h 210227"/>
                <a:gd name="connsiteX63" fmla="*/ 14023 w 285709"/>
                <a:gd name="connsiteY63" fmla="*/ 88408 h 210227"/>
                <a:gd name="connsiteX64" fmla="*/ 14023 w 285709"/>
                <a:gd name="connsiteY64" fmla="*/ 88408 h 210227"/>
                <a:gd name="connsiteX65" fmla="*/ 13901 w 285709"/>
                <a:gd name="connsiteY65" fmla="*/ 90725 h 210227"/>
                <a:gd name="connsiteX66" fmla="*/ 13292 w 285709"/>
                <a:gd name="connsiteY66" fmla="*/ 100480 h 210227"/>
                <a:gd name="connsiteX67" fmla="*/ 13292 w 285709"/>
                <a:gd name="connsiteY67" fmla="*/ 102309 h 210227"/>
                <a:gd name="connsiteX68" fmla="*/ 12194 w 285709"/>
                <a:gd name="connsiteY68" fmla="*/ 103772 h 210227"/>
                <a:gd name="connsiteX69" fmla="*/ 1097 w 285709"/>
                <a:gd name="connsiteY69" fmla="*/ 119381 h 210227"/>
                <a:gd name="connsiteX70" fmla="*/ 0 w 285709"/>
                <a:gd name="connsiteY70" fmla="*/ 120722 h 210227"/>
                <a:gd name="connsiteX71" fmla="*/ 22315 w 285709"/>
                <a:gd name="connsiteY71" fmla="*/ 152305 h 210227"/>
                <a:gd name="connsiteX72" fmla="*/ 22803 w 285709"/>
                <a:gd name="connsiteY72" fmla="*/ 152915 h 210227"/>
                <a:gd name="connsiteX73" fmla="*/ 23047 w 285709"/>
                <a:gd name="connsiteY73" fmla="*/ 153524 h 210227"/>
                <a:gd name="connsiteX74" fmla="*/ 30242 w 285709"/>
                <a:gd name="connsiteY74" fmla="*/ 171450 h 210227"/>
                <a:gd name="connsiteX75" fmla="*/ 31217 w 285709"/>
                <a:gd name="connsiteY75" fmla="*/ 173889 h 210227"/>
                <a:gd name="connsiteX76" fmla="*/ 39387 w 285709"/>
                <a:gd name="connsiteY76" fmla="*/ 182912 h 210227"/>
                <a:gd name="connsiteX77" fmla="*/ 43533 w 285709"/>
                <a:gd name="connsiteY77" fmla="*/ 187302 h 21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85709" h="210227">
                  <a:moveTo>
                    <a:pt x="43533" y="187302"/>
                  </a:moveTo>
                  <a:lnTo>
                    <a:pt x="45484" y="189497"/>
                  </a:lnTo>
                  <a:lnTo>
                    <a:pt x="56825" y="191936"/>
                  </a:lnTo>
                  <a:lnTo>
                    <a:pt x="57434" y="192058"/>
                  </a:lnTo>
                  <a:lnTo>
                    <a:pt x="58044" y="192424"/>
                  </a:lnTo>
                  <a:lnTo>
                    <a:pt x="73531" y="199497"/>
                  </a:lnTo>
                  <a:lnTo>
                    <a:pt x="90968" y="207545"/>
                  </a:lnTo>
                  <a:lnTo>
                    <a:pt x="92676" y="207789"/>
                  </a:lnTo>
                  <a:lnTo>
                    <a:pt x="110601" y="210227"/>
                  </a:lnTo>
                  <a:lnTo>
                    <a:pt x="127185" y="199984"/>
                  </a:lnTo>
                  <a:lnTo>
                    <a:pt x="128892" y="198887"/>
                  </a:lnTo>
                  <a:lnTo>
                    <a:pt x="130843" y="199009"/>
                  </a:lnTo>
                  <a:lnTo>
                    <a:pt x="159134" y="201448"/>
                  </a:lnTo>
                  <a:lnTo>
                    <a:pt x="162792" y="201692"/>
                  </a:lnTo>
                  <a:lnTo>
                    <a:pt x="176815" y="191448"/>
                  </a:lnTo>
                  <a:lnTo>
                    <a:pt x="177791" y="190839"/>
                  </a:lnTo>
                  <a:lnTo>
                    <a:pt x="179010" y="190473"/>
                  </a:lnTo>
                  <a:lnTo>
                    <a:pt x="220349" y="180839"/>
                  </a:lnTo>
                  <a:lnTo>
                    <a:pt x="282539" y="133892"/>
                  </a:lnTo>
                  <a:lnTo>
                    <a:pt x="283758" y="130721"/>
                  </a:lnTo>
                  <a:lnTo>
                    <a:pt x="285709" y="125356"/>
                  </a:lnTo>
                  <a:lnTo>
                    <a:pt x="277905" y="125966"/>
                  </a:lnTo>
                  <a:lnTo>
                    <a:pt x="276563" y="126088"/>
                  </a:lnTo>
                  <a:lnTo>
                    <a:pt x="275832" y="126210"/>
                  </a:lnTo>
                  <a:lnTo>
                    <a:pt x="275100" y="126088"/>
                  </a:lnTo>
                  <a:lnTo>
                    <a:pt x="270466" y="125356"/>
                  </a:lnTo>
                  <a:lnTo>
                    <a:pt x="227543" y="119137"/>
                  </a:lnTo>
                  <a:lnTo>
                    <a:pt x="226567" y="118893"/>
                  </a:lnTo>
                  <a:lnTo>
                    <a:pt x="225714" y="118527"/>
                  </a:lnTo>
                  <a:lnTo>
                    <a:pt x="212422" y="111943"/>
                  </a:lnTo>
                  <a:lnTo>
                    <a:pt x="203886" y="107553"/>
                  </a:lnTo>
                  <a:lnTo>
                    <a:pt x="195350" y="106333"/>
                  </a:lnTo>
                  <a:lnTo>
                    <a:pt x="193155" y="106089"/>
                  </a:lnTo>
                  <a:lnTo>
                    <a:pt x="191692" y="104504"/>
                  </a:lnTo>
                  <a:lnTo>
                    <a:pt x="190716" y="103407"/>
                  </a:lnTo>
                  <a:lnTo>
                    <a:pt x="179864" y="91334"/>
                  </a:lnTo>
                  <a:lnTo>
                    <a:pt x="178522" y="89871"/>
                  </a:lnTo>
                  <a:lnTo>
                    <a:pt x="178279" y="87798"/>
                  </a:lnTo>
                  <a:lnTo>
                    <a:pt x="177181" y="73287"/>
                  </a:lnTo>
                  <a:lnTo>
                    <a:pt x="168645" y="72433"/>
                  </a:lnTo>
                  <a:lnTo>
                    <a:pt x="166206" y="72068"/>
                  </a:lnTo>
                  <a:lnTo>
                    <a:pt x="164621" y="70239"/>
                  </a:lnTo>
                  <a:lnTo>
                    <a:pt x="158646" y="63166"/>
                  </a:lnTo>
                  <a:lnTo>
                    <a:pt x="156817" y="60971"/>
                  </a:lnTo>
                  <a:lnTo>
                    <a:pt x="157305" y="58166"/>
                  </a:lnTo>
                  <a:lnTo>
                    <a:pt x="159744" y="45118"/>
                  </a:lnTo>
                  <a:lnTo>
                    <a:pt x="159744" y="44996"/>
                  </a:lnTo>
                  <a:lnTo>
                    <a:pt x="142671" y="18901"/>
                  </a:lnTo>
                  <a:lnTo>
                    <a:pt x="121210" y="6707"/>
                  </a:lnTo>
                  <a:lnTo>
                    <a:pt x="116454" y="4878"/>
                  </a:lnTo>
                  <a:lnTo>
                    <a:pt x="105114" y="0"/>
                  </a:lnTo>
                  <a:lnTo>
                    <a:pt x="64751" y="3292"/>
                  </a:lnTo>
                  <a:lnTo>
                    <a:pt x="57069" y="3902"/>
                  </a:lnTo>
                  <a:lnTo>
                    <a:pt x="54508" y="38655"/>
                  </a:lnTo>
                  <a:lnTo>
                    <a:pt x="54264" y="43167"/>
                  </a:lnTo>
                  <a:lnTo>
                    <a:pt x="49752" y="44143"/>
                  </a:lnTo>
                  <a:lnTo>
                    <a:pt x="34144" y="47557"/>
                  </a:lnTo>
                  <a:lnTo>
                    <a:pt x="31827" y="64873"/>
                  </a:lnTo>
                  <a:lnTo>
                    <a:pt x="31461" y="68165"/>
                  </a:lnTo>
                  <a:lnTo>
                    <a:pt x="28534" y="69507"/>
                  </a:lnTo>
                  <a:lnTo>
                    <a:pt x="14633" y="76579"/>
                  </a:lnTo>
                  <a:lnTo>
                    <a:pt x="14267" y="81945"/>
                  </a:lnTo>
                  <a:lnTo>
                    <a:pt x="14145" y="84506"/>
                  </a:lnTo>
                  <a:lnTo>
                    <a:pt x="14023" y="88408"/>
                  </a:lnTo>
                  <a:lnTo>
                    <a:pt x="14023" y="88408"/>
                  </a:lnTo>
                  <a:lnTo>
                    <a:pt x="13901" y="90725"/>
                  </a:lnTo>
                  <a:lnTo>
                    <a:pt x="13292" y="100480"/>
                  </a:lnTo>
                  <a:lnTo>
                    <a:pt x="13292" y="102309"/>
                  </a:lnTo>
                  <a:lnTo>
                    <a:pt x="12194" y="103772"/>
                  </a:lnTo>
                  <a:lnTo>
                    <a:pt x="1097" y="119381"/>
                  </a:lnTo>
                  <a:lnTo>
                    <a:pt x="0" y="120722"/>
                  </a:lnTo>
                  <a:lnTo>
                    <a:pt x="22315" y="152305"/>
                  </a:lnTo>
                  <a:lnTo>
                    <a:pt x="22803" y="152915"/>
                  </a:lnTo>
                  <a:lnTo>
                    <a:pt x="23047" y="153524"/>
                  </a:lnTo>
                  <a:lnTo>
                    <a:pt x="30242" y="171450"/>
                  </a:lnTo>
                  <a:lnTo>
                    <a:pt x="31217" y="173889"/>
                  </a:lnTo>
                  <a:lnTo>
                    <a:pt x="39387" y="182912"/>
                  </a:lnTo>
                  <a:lnTo>
                    <a:pt x="43533" y="1873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14" name="Freihandform: Form 413">
              <a:extLst>
                <a:ext uri="{FF2B5EF4-FFF2-40B4-BE49-F238E27FC236}">
                  <a16:creationId xmlns:a16="http://schemas.microsoft.com/office/drawing/2014/main" id="{27EF1422-A99D-45EC-9945-4EFA2D4AF6E9}"/>
                </a:ext>
              </a:extLst>
            </p:cNvPr>
            <p:cNvSpPr/>
            <p:nvPr/>
          </p:nvSpPr>
          <p:spPr>
            <a:xfrm>
              <a:off x="5143784" y="3079906"/>
              <a:ext cx="117917" cy="107796"/>
            </a:xfrm>
            <a:custGeom>
              <a:avLst/>
              <a:gdLst>
                <a:gd name="connsiteX0" fmla="*/ 7804 w 117917"/>
                <a:gd name="connsiteY0" fmla="*/ 25486 h 107796"/>
                <a:gd name="connsiteX1" fmla="*/ 2317 w 117917"/>
                <a:gd name="connsiteY1" fmla="*/ 35729 h 107796"/>
                <a:gd name="connsiteX2" fmla="*/ 0 w 117917"/>
                <a:gd name="connsiteY2" fmla="*/ 64263 h 107796"/>
                <a:gd name="connsiteX3" fmla="*/ 5731 w 117917"/>
                <a:gd name="connsiteY3" fmla="*/ 63775 h 107796"/>
                <a:gd name="connsiteX4" fmla="*/ 47313 w 117917"/>
                <a:gd name="connsiteY4" fmla="*/ 60361 h 107796"/>
                <a:gd name="connsiteX5" fmla="*/ 48777 w 117917"/>
                <a:gd name="connsiteY5" fmla="*/ 60239 h 107796"/>
                <a:gd name="connsiteX6" fmla="*/ 50118 w 117917"/>
                <a:gd name="connsiteY6" fmla="*/ 60849 h 107796"/>
                <a:gd name="connsiteX7" fmla="*/ 61337 w 117917"/>
                <a:gd name="connsiteY7" fmla="*/ 65483 h 107796"/>
                <a:gd name="connsiteX8" fmla="*/ 66580 w 117917"/>
                <a:gd name="connsiteY8" fmla="*/ 67677 h 107796"/>
                <a:gd name="connsiteX9" fmla="*/ 66824 w 117917"/>
                <a:gd name="connsiteY9" fmla="*/ 67800 h 107796"/>
                <a:gd name="connsiteX10" fmla="*/ 67190 w 117917"/>
                <a:gd name="connsiteY10" fmla="*/ 67921 h 107796"/>
                <a:gd name="connsiteX11" fmla="*/ 86700 w 117917"/>
                <a:gd name="connsiteY11" fmla="*/ 79018 h 107796"/>
                <a:gd name="connsiteX12" fmla="*/ 89261 w 117917"/>
                <a:gd name="connsiteY12" fmla="*/ 80481 h 107796"/>
                <a:gd name="connsiteX13" fmla="*/ 90603 w 117917"/>
                <a:gd name="connsiteY13" fmla="*/ 81213 h 107796"/>
                <a:gd name="connsiteX14" fmla="*/ 91456 w 117917"/>
                <a:gd name="connsiteY14" fmla="*/ 82432 h 107796"/>
                <a:gd name="connsiteX15" fmla="*/ 107918 w 117917"/>
                <a:gd name="connsiteY15" fmla="*/ 107796 h 107796"/>
                <a:gd name="connsiteX16" fmla="*/ 112186 w 117917"/>
                <a:gd name="connsiteY16" fmla="*/ 106333 h 107796"/>
                <a:gd name="connsiteX17" fmla="*/ 117795 w 117917"/>
                <a:gd name="connsiteY17" fmla="*/ 97187 h 107796"/>
                <a:gd name="connsiteX18" fmla="*/ 117917 w 117917"/>
                <a:gd name="connsiteY18" fmla="*/ 97065 h 107796"/>
                <a:gd name="connsiteX19" fmla="*/ 94871 w 117917"/>
                <a:gd name="connsiteY19" fmla="*/ 70116 h 107796"/>
                <a:gd name="connsiteX20" fmla="*/ 69750 w 117917"/>
                <a:gd name="connsiteY20" fmla="*/ 53410 h 107796"/>
                <a:gd name="connsiteX21" fmla="*/ 59263 w 117917"/>
                <a:gd name="connsiteY21" fmla="*/ 48899 h 107796"/>
                <a:gd name="connsiteX22" fmla="*/ 46094 w 117917"/>
                <a:gd name="connsiteY22" fmla="*/ 20974 h 107796"/>
                <a:gd name="connsiteX23" fmla="*/ 43045 w 117917"/>
                <a:gd name="connsiteY23" fmla="*/ 10121 h 107796"/>
                <a:gd name="connsiteX24" fmla="*/ 40241 w 117917"/>
                <a:gd name="connsiteY24" fmla="*/ 0 h 107796"/>
                <a:gd name="connsiteX25" fmla="*/ 12804 w 117917"/>
                <a:gd name="connsiteY25" fmla="*/ 16096 h 107796"/>
                <a:gd name="connsiteX26" fmla="*/ 7804 w 117917"/>
                <a:gd name="connsiteY26" fmla="*/ 25486 h 10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7917" h="107796">
                  <a:moveTo>
                    <a:pt x="7804" y="25486"/>
                  </a:moveTo>
                  <a:lnTo>
                    <a:pt x="2317" y="35729"/>
                  </a:lnTo>
                  <a:lnTo>
                    <a:pt x="0" y="64263"/>
                  </a:lnTo>
                  <a:lnTo>
                    <a:pt x="5731" y="63775"/>
                  </a:lnTo>
                  <a:lnTo>
                    <a:pt x="47313" y="60361"/>
                  </a:lnTo>
                  <a:lnTo>
                    <a:pt x="48777" y="60239"/>
                  </a:lnTo>
                  <a:lnTo>
                    <a:pt x="50118" y="60849"/>
                  </a:lnTo>
                  <a:lnTo>
                    <a:pt x="61337" y="65483"/>
                  </a:lnTo>
                  <a:lnTo>
                    <a:pt x="66580" y="67677"/>
                  </a:lnTo>
                  <a:lnTo>
                    <a:pt x="66824" y="67800"/>
                  </a:lnTo>
                  <a:lnTo>
                    <a:pt x="67190" y="67921"/>
                  </a:lnTo>
                  <a:lnTo>
                    <a:pt x="86700" y="79018"/>
                  </a:lnTo>
                  <a:lnTo>
                    <a:pt x="89261" y="80481"/>
                  </a:lnTo>
                  <a:lnTo>
                    <a:pt x="90603" y="81213"/>
                  </a:lnTo>
                  <a:lnTo>
                    <a:pt x="91456" y="82432"/>
                  </a:lnTo>
                  <a:lnTo>
                    <a:pt x="107918" y="107796"/>
                  </a:lnTo>
                  <a:lnTo>
                    <a:pt x="112186" y="106333"/>
                  </a:lnTo>
                  <a:lnTo>
                    <a:pt x="117795" y="97187"/>
                  </a:lnTo>
                  <a:lnTo>
                    <a:pt x="117917" y="97065"/>
                  </a:lnTo>
                  <a:lnTo>
                    <a:pt x="94871" y="70116"/>
                  </a:lnTo>
                  <a:lnTo>
                    <a:pt x="69750" y="53410"/>
                  </a:lnTo>
                  <a:lnTo>
                    <a:pt x="59263" y="48899"/>
                  </a:lnTo>
                  <a:lnTo>
                    <a:pt x="46094" y="20974"/>
                  </a:lnTo>
                  <a:lnTo>
                    <a:pt x="43045" y="10121"/>
                  </a:lnTo>
                  <a:lnTo>
                    <a:pt x="40241" y="0"/>
                  </a:lnTo>
                  <a:lnTo>
                    <a:pt x="12804" y="16096"/>
                  </a:lnTo>
                  <a:lnTo>
                    <a:pt x="7804" y="2548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15" name="Freihandform: Form 414">
              <a:extLst>
                <a:ext uri="{FF2B5EF4-FFF2-40B4-BE49-F238E27FC236}">
                  <a16:creationId xmlns:a16="http://schemas.microsoft.com/office/drawing/2014/main" id="{3C555713-2BED-44D2-9DC9-0627828930BD}"/>
                </a:ext>
              </a:extLst>
            </p:cNvPr>
            <p:cNvSpPr/>
            <p:nvPr/>
          </p:nvSpPr>
          <p:spPr>
            <a:xfrm>
              <a:off x="4433230" y="2963329"/>
              <a:ext cx="308512" cy="231201"/>
            </a:xfrm>
            <a:custGeom>
              <a:avLst/>
              <a:gdLst>
                <a:gd name="connsiteX0" fmla="*/ 39143 w 308512"/>
                <a:gd name="connsiteY0" fmla="*/ 226568 h 231201"/>
                <a:gd name="connsiteX1" fmla="*/ 40485 w 308512"/>
                <a:gd name="connsiteY1" fmla="*/ 229372 h 231201"/>
                <a:gd name="connsiteX2" fmla="*/ 41216 w 308512"/>
                <a:gd name="connsiteY2" fmla="*/ 231201 h 231201"/>
                <a:gd name="connsiteX3" fmla="*/ 53288 w 308512"/>
                <a:gd name="connsiteY3" fmla="*/ 229616 h 231201"/>
                <a:gd name="connsiteX4" fmla="*/ 54752 w 308512"/>
                <a:gd name="connsiteY4" fmla="*/ 229494 h 231201"/>
                <a:gd name="connsiteX5" fmla="*/ 57191 w 308512"/>
                <a:gd name="connsiteY5" fmla="*/ 229007 h 231201"/>
                <a:gd name="connsiteX6" fmla="*/ 59386 w 308512"/>
                <a:gd name="connsiteY6" fmla="*/ 228397 h 231201"/>
                <a:gd name="connsiteX7" fmla="*/ 64019 w 308512"/>
                <a:gd name="connsiteY7" fmla="*/ 216568 h 231201"/>
                <a:gd name="connsiteX8" fmla="*/ 68287 w 308512"/>
                <a:gd name="connsiteY8" fmla="*/ 205472 h 231201"/>
                <a:gd name="connsiteX9" fmla="*/ 68897 w 308512"/>
                <a:gd name="connsiteY9" fmla="*/ 203886 h 231201"/>
                <a:gd name="connsiteX10" fmla="*/ 70116 w 308512"/>
                <a:gd name="connsiteY10" fmla="*/ 202911 h 231201"/>
                <a:gd name="connsiteX11" fmla="*/ 75604 w 308512"/>
                <a:gd name="connsiteY11" fmla="*/ 198643 h 231201"/>
                <a:gd name="connsiteX12" fmla="*/ 83164 w 308512"/>
                <a:gd name="connsiteY12" fmla="*/ 192424 h 231201"/>
                <a:gd name="connsiteX13" fmla="*/ 85115 w 308512"/>
                <a:gd name="connsiteY13" fmla="*/ 190961 h 231201"/>
                <a:gd name="connsiteX14" fmla="*/ 87554 w 308512"/>
                <a:gd name="connsiteY14" fmla="*/ 191205 h 231201"/>
                <a:gd name="connsiteX15" fmla="*/ 117186 w 308512"/>
                <a:gd name="connsiteY15" fmla="*/ 193887 h 231201"/>
                <a:gd name="connsiteX16" fmla="*/ 119503 w 308512"/>
                <a:gd name="connsiteY16" fmla="*/ 194009 h 231201"/>
                <a:gd name="connsiteX17" fmla="*/ 121088 w 308512"/>
                <a:gd name="connsiteY17" fmla="*/ 195838 h 231201"/>
                <a:gd name="connsiteX18" fmla="*/ 134989 w 308512"/>
                <a:gd name="connsiteY18" fmla="*/ 210959 h 231201"/>
                <a:gd name="connsiteX19" fmla="*/ 153524 w 308512"/>
                <a:gd name="connsiteY19" fmla="*/ 210959 h 231201"/>
                <a:gd name="connsiteX20" fmla="*/ 154256 w 308512"/>
                <a:gd name="connsiteY20" fmla="*/ 211081 h 231201"/>
                <a:gd name="connsiteX21" fmla="*/ 170109 w 308512"/>
                <a:gd name="connsiteY21" fmla="*/ 215105 h 231201"/>
                <a:gd name="connsiteX22" fmla="*/ 182059 w 308512"/>
                <a:gd name="connsiteY22" fmla="*/ 212666 h 231201"/>
                <a:gd name="connsiteX23" fmla="*/ 190229 w 308512"/>
                <a:gd name="connsiteY23" fmla="*/ 202179 h 231201"/>
                <a:gd name="connsiteX24" fmla="*/ 192546 w 308512"/>
                <a:gd name="connsiteY24" fmla="*/ 199253 h 231201"/>
                <a:gd name="connsiteX25" fmla="*/ 196204 w 308512"/>
                <a:gd name="connsiteY25" fmla="*/ 199863 h 231201"/>
                <a:gd name="connsiteX26" fmla="*/ 232055 w 308512"/>
                <a:gd name="connsiteY26" fmla="*/ 206569 h 231201"/>
                <a:gd name="connsiteX27" fmla="*/ 238274 w 308512"/>
                <a:gd name="connsiteY27" fmla="*/ 204130 h 231201"/>
                <a:gd name="connsiteX28" fmla="*/ 258638 w 308512"/>
                <a:gd name="connsiteY28" fmla="*/ 196448 h 231201"/>
                <a:gd name="connsiteX29" fmla="*/ 262419 w 308512"/>
                <a:gd name="connsiteY29" fmla="*/ 173767 h 231201"/>
                <a:gd name="connsiteX30" fmla="*/ 262784 w 308512"/>
                <a:gd name="connsiteY30" fmla="*/ 171938 h 231201"/>
                <a:gd name="connsiteX31" fmla="*/ 264004 w 308512"/>
                <a:gd name="connsiteY31" fmla="*/ 170718 h 231201"/>
                <a:gd name="connsiteX32" fmla="*/ 287904 w 308512"/>
                <a:gd name="connsiteY32" fmla="*/ 143769 h 231201"/>
                <a:gd name="connsiteX33" fmla="*/ 298025 w 308512"/>
                <a:gd name="connsiteY33" fmla="*/ 132551 h 231201"/>
                <a:gd name="connsiteX34" fmla="*/ 299367 w 308512"/>
                <a:gd name="connsiteY34" fmla="*/ 77799 h 231201"/>
                <a:gd name="connsiteX35" fmla="*/ 299489 w 308512"/>
                <a:gd name="connsiteY35" fmla="*/ 76214 h 231201"/>
                <a:gd name="connsiteX36" fmla="*/ 300220 w 308512"/>
                <a:gd name="connsiteY36" fmla="*/ 74872 h 231201"/>
                <a:gd name="connsiteX37" fmla="*/ 302050 w 308512"/>
                <a:gd name="connsiteY37" fmla="*/ 71824 h 231201"/>
                <a:gd name="connsiteX38" fmla="*/ 308513 w 308512"/>
                <a:gd name="connsiteY38" fmla="*/ 60727 h 231201"/>
                <a:gd name="connsiteX39" fmla="*/ 301562 w 308512"/>
                <a:gd name="connsiteY39" fmla="*/ 52069 h 231201"/>
                <a:gd name="connsiteX40" fmla="*/ 293391 w 308512"/>
                <a:gd name="connsiteY40" fmla="*/ 41948 h 231201"/>
                <a:gd name="connsiteX41" fmla="*/ 292782 w 308512"/>
                <a:gd name="connsiteY41" fmla="*/ 41094 h 231201"/>
                <a:gd name="connsiteX42" fmla="*/ 292416 w 308512"/>
                <a:gd name="connsiteY42" fmla="*/ 39997 h 231201"/>
                <a:gd name="connsiteX43" fmla="*/ 287416 w 308512"/>
                <a:gd name="connsiteY43" fmla="*/ 24266 h 231201"/>
                <a:gd name="connsiteX44" fmla="*/ 284124 w 308512"/>
                <a:gd name="connsiteY44" fmla="*/ 14023 h 231201"/>
                <a:gd name="connsiteX45" fmla="*/ 232299 w 308512"/>
                <a:gd name="connsiteY45" fmla="*/ 0 h 231201"/>
                <a:gd name="connsiteX46" fmla="*/ 109504 w 308512"/>
                <a:gd name="connsiteY46" fmla="*/ 88286 h 231201"/>
                <a:gd name="connsiteX47" fmla="*/ 108040 w 308512"/>
                <a:gd name="connsiteY47" fmla="*/ 89383 h 231201"/>
                <a:gd name="connsiteX48" fmla="*/ 106211 w 308512"/>
                <a:gd name="connsiteY48" fmla="*/ 89383 h 231201"/>
                <a:gd name="connsiteX49" fmla="*/ 87554 w 308512"/>
                <a:gd name="connsiteY49" fmla="*/ 90237 h 231201"/>
                <a:gd name="connsiteX50" fmla="*/ 87188 w 308512"/>
                <a:gd name="connsiteY50" fmla="*/ 90237 h 231201"/>
                <a:gd name="connsiteX51" fmla="*/ 87066 w 308512"/>
                <a:gd name="connsiteY51" fmla="*/ 90603 h 231201"/>
                <a:gd name="connsiteX52" fmla="*/ 62190 w 308512"/>
                <a:gd name="connsiteY52" fmla="*/ 166694 h 231201"/>
                <a:gd name="connsiteX53" fmla="*/ 60971 w 308512"/>
                <a:gd name="connsiteY53" fmla="*/ 170352 h 231201"/>
                <a:gd name="connsiteX54" fmla="*/ 57191 w 308512"/>
                <a:gd name="connsiteY54" fmla="*/ 170840 h 231201"/>
                <a:gd name="connsiteX55" fmla="*/ 40119 w 308512"/>
                <a:gd name="connsiteY55" fmla="*/ 173157 h 231201"/>
                <a:gd name="connsiteX56" fmla="*/ 37924 w 308512"/>
                <a:gd name="connsiteY56" fmla="*/ 173401 h 231201"/>
                <a:gd name="connsiteX57" fmla="*/ 27559 w 308512"/>
                <a:gd name="connsiteY57" fmla="*/ 178523 h 231201"/>
                <a:gd name="connsiteX58" fmla="*/ 26461 w 308512"/>
                <a:gd name="connsiteY58" fmla="*/ 179132 h 231201"/>
                <a:gd name="connsiteX59" fmla="*/ 25120 w 308512"/>
                <a:gd name="connsiteY59" fmla="*/ 179254 h 231201"/>
                <a:gd name="connsiteX60" fmla="*/ 0 w 308512"/>
                <a:gd name="connsiteY60" fmla="*/ 180352 h 231201"/>
                <a:gd name="connsiteX61" fmla="*/ 732 w 308512"/>
                <a:gd name="connsiteY61" fmla="*/ 187546 h 231201"/>
                <a:gd name="connsiteX62" fmla="*/ 854 w 308512"/>
                <a:gd name="connsiteY62" fmla="*/ 189132 h 231201"/>
                <a:gd name="connsiteX63" fmla="*/ 7317 w 308512"/>
                <a:gd name="connsiteY63" fmla="*/ 196692 h 231201"/>
                <a:gd name="connsiteX64" fmla="*/ 18779 w 308512"/>
                <a:gd name="connsiteY64" fmla="*/ 196692 h 231201"/>
                <a:gd name="connsiteX65" fmla="*/ 19754 w 308512"/>
                <a:gd name="connsiteY65" fmla="*/ 201692 h 231201"/>
                <a:gd name="connsiteX66" fmla="*/ 21950 w 308512"/>
                <a:gd name="connsiteY66" fmla="*/ 212666 h 231201"/>
                <a:gd name="connsiteX67" fmla="*/ 38534 w 308512"/>
                <a:gd name="connsiteY67" fmla="*/ 225104 h 231201"/>
                <a:gd name="connsiteX68" fmla="*/ 39143 w 308512"/>
                <a:gd name="connsiteY68" fmla="*/ 226568 h 23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308512" h="231201">
                  <a:moveTo>
                    <a:pt x="39143" y="226568"/>
                  </a:moveTo>
                  <a:lnTo>
                    <a:pt x="40485" y="229372"/>
                  </a:lnTo>
                  <a:lnTo>
                    <a:pt x="41216" y="231201"/>
                  </a:lnTo>
                  <a:lnTo>
                    <a:pt x="53288" y="229616"/>
                  </a:lnTo>
                  <a:lnTo>
                    <a:pt x="54752" y="229494"/>
                  </a:lnTo>
                  <a:lnTo>
                    <a:pt x="57191" y="229007"/>
                  </a:lnTo>
                  <a:lnTo>
                    <a:pt x="59386" y="228397"/>
                  </a:lnTo>
                  <a:lnTo>
                    <a:pt x="64019" y="216568"/>
                  </a:lnTo>
                  <a:lnTo>
                    <a:pt x="68287" y="205472"/>
                  </a:lnTo>
                  <a:lnTo>
                    <a:pt x="68897" y="203886"/>
                  </a:lnTo>
                  <a:lnTo>
                    <a:pt x="70116" y="202911"/>
                  </a:lnTo>
                  <a:lnTo>
                    <a:pt x="75604" y="198643"/>
                  </a:lnTo>
                  <a:lnTo>
                    <a:pt x="83164" y="192424"/>
                  </a:lnTo>
                  <a:lnTo>
                    <a:pt x="85115" y="190961"/>
                  </a:lnTo>
                  <a:lnTo>
                    <a:pt x="87554" y="191205"/>
                  </a:lnTo>
                  <a:lnTo>
                    <a:pt x="117186" y="193887"/>
                  </a:lnTo>
                  <a:lnTo>
                    <a:pt x="119503" y="194009"/>
                  </a:lnTo>
                  <a:lnTo>
                    <a:pt x="121088" y="195838"/>
                  </a:lnTo>
                  <a:lnTo>
                    <a:pt x="134989" y="210959"/>
                  </a:lnTo>
                  <a:lnTo>
                    <a:pt x="153524" y="210959"/>
                  </a:lnTo>
                  <a:lnTo>
                    <a:pt x="154256" y="211081"/>
                  </a:lnTo>
                  <a:lnTo>
                    <a:pt x="170109" y="215105"/>
                  </a:lnTo>
                  <a:lnTo>
                    <a:pt x="182059" y="212666"/>
                  </a:lnTo>
                  <a:lnTo>
                    <a:pt x="190229" y="202179"/>
                  </a:lnTo>
                  <a:lnTo>
                    <a:pt x="192546" y="199253"/>
                  </a:lnTo>
                  <a:lnTo>
                    <a:pt x="196204" y="199863"/>
                  </a:lnTo>
                  <a:lnTo>
                    <a:pt x="232055" y="206569"/>
                  </a:lnTo>
                  <a:lnTo>
                    <a:pt x="238274" y="204130"/>
                  </a:lnTo>
                  <a:lnTo>
                    <a:pt x="258638" y="196448"/>
                  </a:lnTo>
                  <a:lnTo>
                    <a:pt x="262419" y="173767"/>
                  </a:lnTo>
                  <a:lnTo>
                    <a:pt x="262784" y="171938"/>
                  </a:lnTo>
                  <a:lnTo>
                    <a:pt x="264004" y="170718"/>
                  </a:lnTo>
                  <a:lnTo>
                    <a:pt x="287904" y="143769"/>
                  </a:lnTo>
                  <a:lnTo>
                    <a:pt x="298025" y="132551"/>
                  </a:lnTo>
                  <a:lnTo>
                    <a:pt x="299367" y="77799"/>
                  </a:lnTo>
                  <a:lnTo>
                    <a:pt x="299489" y="76214"/>
                  </a:lnTo>
                  <a:lnTo>
                    <a:pt x="300220" y="74872"/>
                  </a:lnTo>
                  <a:lnTo>
                    <a:pt x="302050" y="71824"/>
                  </a:lnTo>
                  <a:lnTo>
                    <a:pt x="308513" y="60727"/>
                  </a:lnTo>
                  <a:lnTo>
                    <a:pt x="301562" y="52069"/>
                  </a:lnTo>
                  <a:lnTo>
                    <a:pt x="293391" y="41948"/>
                  </a:lnTo>
                  <a:lnTo>
                    <a:pt x="292782" y="41094"/>
                  </a:lnTo>
                  <a:lnTo>
                    <a:pt x="292416" y="39997"/>
                  </a:lnTo>
                  <a:lnTo>
                    <a:pt x="287416" y="24266"/>
                  </a:lnTo>
                  <a:lnTo>
                    <a:pt x="284124" y="14023"/>
                  </a:lnTo>
                  <a:lnTo>
                    <a:pt x="232299" y="0"/>
                  </a:lnTo>
                  <a:lnTo>
                    <a:pt x="109504" y="88286"/>
                  </a:lnTo>
                  <a:lnTo>
                    <a:pt x="108040" y="89383"/>
                  </a:lnTo>
                  <a:lnTo>
                    <a:pt x="106211" y="89383"/>
                  </a:lnTo>
                  <a:lnTo>
                    <a:pt x="87554" y="90237"/>
                  </a:lnTo>
                  <a:lnTo>
                    <a:pt x="87188" y="90237"/>
                  </a:lnTo>
                  <a:lnTo>
                    <a:pt x="87066" y="90603"/>
                  </a:lnTo>
                  <a:lnTo>
                    <a:pt x="62190" y="166694"/>
                  </a:lnTo>
                  <a:lnTo>
                    <a:pt x="60971" y="170352"/>
                  </a:lnTo>
                  <a:lnTo>
                    <a:pt x="57191" y="170840"/>
                  </a:lnTo>
                  <a:lnTo>
                    <a:pt x="40119" y="173157"/>
                  </a:lnTo>
                  <a:lnTo>
                    <a:pt x="37924" y="173401"/>
                  </a:lnTo>
                  <a:lnTo>
                    <a:pt x="27559" y="178523"/>
                  </a:lnTo>
                  <a:lnTo>
                    <a:pt x="26461" y="179132"/>
                  </a:lnTo>
                  <a:lnTo>
                    <a:pt x="25120" y="179254"/>
                  </a:lnTo>
                  <a:lnTo>
                    <a:pt x="0" y="180352"/>
                  </a:lnTo>
                  <a:lnTo>
                    <a:pt x="732" y="187546"/>
                  </a:lnTo>
                  <a:lnTo>
                    <a:pt x="854" y="189132"/>
                  </a:lnTo>
                  <a:lnTo>
                    <a:pt x="7317" y="196692"/>
                  </a:lnTo>
                  <a:lnTo>
                    <a:pt x="18779" y="196692"/>
                  </a:lnTo>
                  <a:lnTo>
                    <a:pt x="19754" y="201692"/>
                  </a:lnTo>
                  <a:lnTo>
                    <a:pt x="21950" y="212666"/>
                  </a:lnTo>
                  <a:lnTo>
                    <a:pt x="38534" y="225104"/>
                  </a:lnTo>
                  <a:lnTo>
                    <a:pt x="39143" y="22656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26" name="Freihandform: Form 425">
              <a:extLst>
                <a:ext uri="{FF2B5EF4-FFF2-40B4-BE49-F238E27FC236}">
                  <a16:creationId xmlns:a16="http://schemas.microsoft.com/office/drawing/2014/main" id="{8F18CD08-26A3-435C-AF08-35B7553DD249}"/>
                </a:ext>
              </a:extLst>
            </p:cNvPr>
            <p:cNvSpPr/>
            <p:nvPr/>
          </p:nvSpPr>
          <p:spPr>
            <a:xfrm>
              <a:off x="5005502" y="3455730"/>
              <a:ext cx="25364" cy="24510"/>
            </a:xfrm>
            <a:custGeom>
              <a:avLst/>
              <a:gdLst>
                <a:gd name="connsiteX0" fmla="*/ 25364 w 25364"/>
                <a:gd name="connsiteY0" fmla="*/ 6829 h 24510"/>
                <a:gd name="connsiteX1" fmla="*/ 22803 w 25364"/>
                <a:gd name="connsiteY1" fmla="*/ 4024 h 24510"/>
                <a:gd name="connsiteX2" fmla="*/ 21218 w 25364"/>
                <a:gd name="connsiteY2" fmla="*/ 2317 h 24510"/>
                <a:gd name="connsiteX3" fmla="*/ 20121 w 25364"/>
                <a:gd name="connsiteY3" fmla="*/ 1097 h 24510"/>
                <a:gd name="connsiteX4" fmla="*/ 15853 w 25364"/>
                <a:gd name="connsiteY4" fmla="*/ 0 h 24510"/>
                <a:gd name="connsiteX5" fmla="*/ 10975 w 25364"/>
                <a:gd name="connsiteY5" fmla="*/ 4024 h 24510"/>
                <a:gd name="connsiteX6" fmla="*/ 10121 w 25364"/>
                <a:gd name="connsiteY6" fmla="*/ 4878 h 24510"/>
                <a:gd name="connsiteX7" fmla="*/ 9024 w 25364"/>
                <a:gd name="connsiteY7" fmla="*/ 5244 h 24510"/>
                <a:gd name="connsiteX8" fmla="*/ 1585 w 25364"/>
                <a:gd name="connsiteY8" fmla="*/ 7682 h 24510"/>
                <a:gd name="connsiteX9" fmla="*/ 610 w 25364"/>
                <a:gd name="connsiteY9" fmla="*/ 8048 h 24510"/>
                <a:gd name="connsiteX10" fmla="*/ 610 w 25364"/>
                <a:gd name="connsiteY10" fmla="*/ 8414 h 24510"/>
                <a:gd name="connsiteX11" fmla="*/ 0 w 25364"/>
                <a:gd name="connsiteY11" fmla="*/ 19998 h 24510"/>
                <a:gd name="connsiteX12" fmla="*/ 5731 w 25364"/>
                <a:gd name="connsiteY12" fmla="*/ 19998 h 24510"/>
                <a:gd name="connsiteX13" fmla="*/ 6707 w 25364"/>
                <a:gd name="connsiteY13" fmla="*/ 24510 h 24510"/>
                <a:gd name="connsiteX14" fmla="*/ 7561 w 25364"/>
                <a:gd name="connsiteY14" fmla="*/ 23657 h 24510"/>
                <a:gd name="connsiteX15" fmla="*/ 9268 w 25364"/>
                <a:gd name="connsiteY15" fmla="*/ 21828 h 24510"/>
                <a:gd name="connsiteX16" fmla="*/ 15243 w 25364"/>
                <a:gd name="connsiteY16" fmla="*/ 21828 h 24510"/>
                <a:gd name="connsiteX17" fmla="*/ 16341 w 25364"/>
                <a:gd name="connsiteY17" fmla="*/ 16706 h 24510"/>
                <a:gd name="connsiteX18" fmla="*/ 16950 w 25364"/>
                <a:gd name="connsiteY18" fmla="*/ 13536 h 24510"/>
                <a:gd name="connsiteX19" fmla="*/ 19877 w 25364"/>
                <a:gd name="connsiteY19" fmla="*/ 12316 h 24510"/>
                <a:gd name="connsiteX20" fmla="*/ 23901 w 25364"/>
                <a:gd name="connsiteY20" fmla="*/ 10609 h 24510"/>
                <a:gd name="connsiteX21" fmla="*/ 25364 w 25364"/>
                <a:gd name="connsiteY21" fmla="*/ 6829 h 2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64" h="24510">
                  <a:moveTo>
                    <a:pt x="25364" y="6829"/>
                  </a:moveTo>
                  <a:lnTo>
                    <a:pt x="22803" y="4024"/>
                  </a:lnTo>
                  <a:lnTo>
                    <a:pt x="21218" y="2317"/>
                  </a:lnTo>
                  <a:lnTo>
                    <a:pt x="20121" y="1097"/>
                  </a:lnTo>
                  <a:lnTo>
                    <a:pt x="15853" y="0"/>
                  </a:lnTo>
                  <a:lnTo>
                    <a:pt x="10975" y="4024"/>
                  </a:lnTo>
                  <a:lnTo>
                    <a:pt x="10121" y="4878"/>
                  </a:lnTo>
                  <a:lnTo>
                    <a:pt x="9024" y="5244"/>
                  </a:lnTo>
                  <a:lnTo>
                    <a:pt x="1585" y="7682"/>
                  </a:lnTo>
                  <a:lnTo>
                    <a:pt x="610" y="8048"/>
                  </a:lnTo>
                  <a:lnTo>
                    <a:pt x="610" y="8414"/>
                  </a:lnTo>
                  <a:lnTo>
                    <a:pt x="0" y="19998"/>
                  </a:lnTo>
                  <a:lnTo>
                    <a:pt x="5731" y="19998"/>
                  </a:lnTo>
                  <a:lnTo>
                    <a:pt x="6707" y="24510"/>
                  </a:lnTo>
                  <a:lnTo>
                    <a:pt x="7561" y="23657"/>
                  </a:lnTo>
                  <a:lnTo>
                    <a:pt x="9268" y="21828"/>
                  </a:lnTo>
                  <a:lnTo>
                    <a:pt x="15243" y="21828"/>
                  </a:lnTo>
                  <a:lnTo>
                    <a:pt x="16341" y="16706"/>
                  </a:lnTo>
                  <a:lnTo>
                    <a:pt x="16950" y="13536"/>
                  </a:lnTo>
                  <a:lnTo>
                    <a:pt x="19877" y="12316"/>
                  </a:lnTo>
                  <a:lnTo>
                    <a:pt x="23901" y="10609"/>
                  </a:lnTo>
                  <a:lnTo>
                    <a:pt x="25364" y="682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27" name="Freihandform: Form 426">
              <a:extLst>
                <a:ext uri="{FF2B5EF4-FFF2-40B4-BE49-F238E27FC236}">
                  <a16:creationId xmlns:a16="http://schemas.microsoft.com/office/drawing/2014/main" id="{76231210-5988-4DD5-AD30-E7EA4AD5EC90}"/>
                </a:ext>
              </a:extLst>
            </p:cNvPr>
            <p:cNvSpPr/>
            <p:nvPr/>
          </p:nvSpPr>
          <p:spPr>
            <a:xfrm>
              <a:off x="4097525" y="3163558"/>
              <a:ext cx="51947" cy="10243"/>
            </a:xfrm>
            <a:custGeom>
              <a:avLst/>
              <a:gdLst>
                <a:gd name="connsiteX0" fmla="*/ 28900 w 51947"/>
                <a:gd name="connsiteY0" fmla="*/ 6341 h 10243"/>
                <a:gd name="connsiteX1" fmla="*/ 29876 w 51947"/>
                <a:gd name="connsiteY1" fmla="*/ 6219 h 10243"/>
                <a:gd name="connsiteX2" fmla="*/ 30729 w 51947"/>
                <a:gd name="connsiteY2" fmla="*/ 6341 h 10243"/>
                <a:gd name="connsiteX3" fmla="*/ 48899 w 51947"/>
                <a:gd name="connsiteY3" fmla="*/ 10243 h 10243"/>
                <a:gd name="connsiteX4" fmla="*/ 51947 w 51947"/>
                <a:gd name="connsiteY4" fmla="*/ 8780 h 10243"/>
                <a:gd name="connsiteX5" fmla="*/ 48411 w 51947"/>
                <a:gd name="connsiteY5" fmla="*/ 3780 h 10243"/>
                <a:gd name="connsiteX6" fmla="*/ 33534 w 51947"/>
                <a:gd name="connsiteY6" fmla="*/ 0 h 10243"/>
                <a:gd name="connsiteX7" fmla="*/ 1342 w 51947"/>
                <a:gd name="connsiteY7" fmla="*/ 2561 h 10243"/>
                <a:gd name="connsiteX8" fmla="*/ 1707 w 51947"/>
                <a:gd name="connsiteY8" fmla="*/ 3049 h 10243"/>
                <a:gd name="connsiteX9" fmla="*/ 0 w 51947"/>
                <a:gd name="connsiteY9" fmla="*/ 8902 h 10243"/>
                <a:gd name="connsiteX10" fmla="*/ 28900 w 51947"/>
                <a:gd name="connsiteY10" fmla="*/ 6341 h 1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47" h="10243">
                  <a:moveTo>
                    <a:pt x="28900" y="6341"/>
                  </a:moveTo>
                  <a:lnTo>
                    <a:pt x="29876" y="6219"/>
                  </a:lnTo>
                  <a:lnTo>
                    <a:pt x="30729" y="6341"/>
                  </a:lnTo>
                  <a:lnTo>
                    <a:pt x="48899" y="10243"/>
                  </a:lnTo>
                  <a:lnTo>
                    <a:pt x="51947" y="8780"/>
                  </a:lnTo>
                  <a:lnTo>
                    <a:pt x="48411" y="3780"/>
                  </a:lnTo>
                  <a:lnTo>
                    <a:pt x="33534" y="0"/>
                  </a:lnTo>
                  <a:lnTo>
                    <a:pt x="1342" y="2561"/>
                  </a:lnTo>
                  <a:lnTo>
                    <a:pt x="1707" y="3049"/>
                  </a:lnTo>
                  <a:lnTo>
                    <a:pt x="0" y="8902"/>
                  </a:lnTo>
                  <a:lnTo>
                    <a:pt x="28900" y="6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28" name="Freihandform: Form 427">
              <a:extLst>
                <a:ext uri="{FF2B5EF4-FFF2-40B4-BE49-F238E27FC236}">
                  <a16:creationId xmlns:a16="http://schemas.microsoft.com/office/drawing/2014/main" id="{074EE52D-B514-474B-9D99-4381EE6AAF42}"/>
                </a:ext>
              </a:extLst>
            </p:cNvPr>
            <p:cNvSpPr/>
            <p:nvPr/>
          </p:nvSpPr>
          <p:spPr>
            <a:xfrm>
              <a:off x="4919777" y="2783465"/>
              <a:ext cx="201447" cy="206325"/>
            </a:xfrm>
            <a:custGeom>
              <a:avLst/>
              <a:gdLst>
                <a:gd name="connsiteX0" fmla="*/ 4390 w 201447"/>
                <a:gd name="connsiteY0" fmla="*/ 42924 h 206325"/>
                <a:gd name="connsiteX1" fmla="*/ 9756 w 201447"/>
                <a:gd name="connsiteY1" fmla="*/ 63654 h 206325"/>
                <a:gd name="connsiteX2" fmla="*/ 9877 w 201447"/>
                <a:gd name="connsiteY2" fmla="*/ 64507 h 206325"/>
                <a:gd name="connsiteX3" fmla="*/ 9877 w 201447"/>
                <a:gd name="connsiteY3" fmla="*/ 65239 h 206325"/>
                <a:gd name="connsiteX4" fmla="*/ 9633 w 201447"/>
                <a:gd name="connsiteY4" fmla="*/ 98041 h 206325"/>
                <a:gd name="connsiteX5" fmla="*/ 9024 w 201447"/>
                <a:gd name="connsiteY5" fmla="*/ 152915 h 206325"/>
                <a:gd name="connsiteX6" fmla="*/ 8414 w 201447"/>
                <a:gd name="connsiteY6" fmla="*/ 184010 h 206325"/>
                <a:gd name="connsiteX7" fmla="*/ 8048 w 201447"/>
                <a:gd name="connsiteY7" fmla="*/ 198277 h 206325"/>
                <a:gd name="connsiteX8" fmla="*/ 13536 w 201447"/>
                <a:gd name="connsiteY8" fmla="*/ 198765 h 206325"/>
                <a:gd name="connsiteX9" fmla="*/ 61824 w 201447"/>
                <a:gd name="connsiteY9" fmla="*/ 202667 h 206325"/>
                <a:gd name="connsiteX10" fmla="*/ 154256 w 201447"/>
                <a:gd name="connsiteY10" fmla="*/ 198033 h 206325"/>
                <a:gd name="connsiteX11" fmla="*/ 156939 w 201447"/>
                <a:gd name="connsiteY11" fmla="*/ 197911 h 206325"/>
                <a:gd name="connsiteX12" fmla="*/ 158768 w 201447"/>
                <a:gd name="connsiteY12" fmla="*/ 199863 h 206325"/>
                <a:gd name="connsiteX13" fmla="*/ 164012 w 201447"/>
                <a:gd name="connsiteY13" fmla="*/ 204984 h 206325"/>
                <a:gd name="connsiteX14" fmla="*/ 169255 w 201447"/>
                <a:gd name="connsiteY14" fmla="*/ 206325 h 206325"/>
                <a:gd name="connsiteX15" fmla="*/ 169255 w 201447"/>
                <a:gd name="connsiteY15" fmla="*/ 195107 h 206325"/>
                <a:gd name="connsiteX16" fmla="*/ 173889 w 201447"/>
                <a:gd name="connsiteY16" fmla="*/ 193887 h 206325"/>
                <a:gd name="connsiteX17" fmla="*/ 189375 w 201447"/>
                <a:gd name="connsiteY17" fmla="*/ 189863 h 206325"/>
                <a:gd name="connsiteX18" fmla="*/ 200106 w 201447"/>
                <a:gd name="connsiteY18" fmla="*/ 180352 h 206325"/>
                <a:gd name="connsiteX19" fmla="*/ 201448 w 201447"/>
                <a:gd name="connsiteY19" fmla="*/ 179132 h 206325"/>
                <a:gd name="connsiteX20" fmla="*/ 197789 w 201447"/>
                <a:gd name="connsiteY20" fmla="*/ 157305 h 206325"/>
                <a:gd name="connsiteX21" fmla="*/ 183644 w 201447"/>
                <a:gd name="connsiteY21" fmla="*/ 129258 h 206325"/>
                <a:gd name="connsiteX22" fmla="*/ 173767 w 201447"/>
                <a:gd name="connsiteY22" fmla="*/ 105114 h 206325"/>
                <a:gd name="connsiteX23" fmla="*/ 162304 w 201447"/>
                <a:gd name="connsiteY23" fmla="*/ 86213 h 206325"/>
                <a:gd name="connsiteX24" fmla="*/ 159622 w 201447"/>
                <a:gd name="connsiteY24" fmla="*/ 75482 h 206325"/>
                <a:gd name="connsiteX25" fmla="*/ 142428 w 201447"/>
                <a:gd name="connsiteY25" fmla="*/ 59873 h 206325"/>
                <a:gd name="connsiteX26" fmla="*/ 139501 w 201447"/>
                <a:gd name="connsiteY26" fmla="*/ 34510 h 206325"/>
                <a:gd name="connsiteX27" fmla="*/ 142428 w 201447"/>
                <a:gd name="connsiteY27" fmla="*/ 25486 h 206325"/>
                <a:gd name="connsiteX28" fmla="*/ 145842 w 201447"/>
                <a:gd name="connsiteY28" fmla="*/ 24510 h 206325"/>
                <a:gd name="connsiteX29" fmla="*/ 152183 w 201447"/>
                <a:gd name="connsiteY29" fmla="*/ 30973 h 206325"/>
                <a:gd name="connsiteX30" fmla="*/ 152305 w 201447"/>
                <a:gd name="connsiteY30" fmla="*/ 32315 h 206325"/>
                <a:gd name="connsiteX31" fmla="*/ 153647 w 201447"/>
                <a:gd name="connsiteY31" fmla="*/ 49630 h 206325"/>
                <a:gd name="connsiteX32" fmla="*/ 163158 w 201447"/>
                <a:gd name="connsiteY32" fmla="*/ 63166 h 206325"/>
                <a:gd name="connsiteX33" fmla="*/ 174864 w 201447"/>
                <a:gd name="connsiteY33" fmla="*/ 76214 h 206325"/>
                <a:gd name="connsiteX34" fmla="*/ 180595 w 201447"/>
                <a:gd name="connsiteY34" fmla="*/ 73897 h 206325"/>
                <a:gd name="connsiteX35" fmla="*/ 180718 w 201447"/>
                <a:gd name="connsiteY35" fmla="*/ 63532 h 206325"/>
                <a:gd name="connsiteX36" fmla="*/ 185473 w 201447"/>
                <a:gd name="connsiteY36" fmla="*/ 42314 h 206325"/>
                <a:gd name="connsiteX37" fmla="*/ 184132 w 201447"/>
                <a:gd name="connsiteY37" fmla="*/ 38168 h 206325"/>
                <a:gd name="connsiteX38" fmla="*/ 175962 w 201447"/>
                <a:gd name="connsiteY38" fmla="*/ 11463 h 206325"/>
                <a:gd name="connsiteX39" fmla="*/ 175718 w 201447"/>
                <a:gd name="connsiteY39" fmla="*/ 10487 h 206325"/>
                <a:gd name="connsiteX40" fmla="*/ 174498 w 201447"/>
                <a:gd name="connsiteY40" fmla="*/ 7561 h 206325"/>
                <a:gd name="connsiteX41" fmla="*/ 173889 w 201447"/>
                <a:gd name="connsiteY41" fmla="*/ 6219 h 206325"/>
                <a:gd name="connsiteX42" fmla="*/ 173889 w 201447"/>
                <a:gd name="connsiteY42" fmla="*/ 6219 h 206325"/>
                <a:gd name="connsiteX43" fmla="*/ 155354 w 201447"/>
                <a:gd name="connsiteY43" fmla="*/ 9512 h 206325"/>
                <a:gd name="connsiteX44" fmla="*/ 145964 w 201447"/>
                <a:gd name="connsiteY44" fmla="*/ 7561 h 206325"/>
                <a:gd name="connsiteX45" fmla="*/ 142672 w 201447"/>
                <a:gd name="connsiteY45" fmla="*/ 8414 h 206325"/>
                <a:gd name="connsiteX46" fmla="*/ 140721 w 201447"/>
                <a:gd name="connsiteY46" fmla="*/ 10731 h 206325"/>
                <a:gd name="connsiteX47" fmla="*/ 139014 w 201447"/>
                <a:gd name="connsiteY47" fmla="*/ 9268 h 206325"/>
                <a:gd name="connsiteX48" fmla="*/ 134136 w 201447"/>
                <a:gd name="connsiteY48" fmla="*/ 10487 h 206325"/>
                <a:gd name="connsiteX49" fmla="*/ 120600 w 201447"/>
                <a:gd name="connsiteY49" fmla="*/ 854 h 206325"/>
                <a:gd name="connsiteX50" fmla="*/ 109626 w 201447"/>
                <a:gd name="connsiteY50" fmla="*/ 0 h 206325"/>
                <a:gd name="connsiteX51" fmla="*/ 102309 w 201447"/>
                <a:gd name="connsiteY51" fmla="*/ 5488 h 206325"/>
                <a:gd name="connsiteX52" fmla="*/ 96578 w 201447"/>
                <a:gd name="connsiteY52" fmla="*/ 6463 h 206325"/>
                <a:gd name="connsiteX53" fmla="*/ 88042 w 201447"/>
                <a:gd name="connsiteY53" fmla="*/ 13170 h 206325"/>
                <a:gd name="connsiteX54" fmla="*/ 73775 w 201447"/>
                <a:gd name="connsiteY54" fmla="*/ 14145 h 206325"/>
                <a:gd name="connsiteX55" fmla="*/ 50728 w 201447"/>
                <a:gd name="connsiteY55" fmla="*/ 7438 h 206325"/>
                <a:gd name="connsiteX56" fmla="*/ 30242 w 201447"/>
                <a:gd name="connsiteY56" fmla="*/ 2805 h 206325"/>
                <a:gd name="connsiteX57" fmla="*/ 14877 w 201447"/>
                <a:gd name="connsiteY57" fmla="*/ 1829 h 206325"/>
                <a:gd name="connsiteX58" fmla="*/ 9877 w 201447"/>
                <a:gd name="connsiteY58" fmla="*/ 4024 h 206325"/>
                <a:gd name="connsiteX59" fmla="*/ 9756 w 201447"/>
                <a:gd name="connsiteY59" fmla="*/ 4878 h 206325"/>
                <a:gd name="connsiteX60" fmla="*/ 8170 w 201447"/>
                <a:gd name="connsiteY60" fmla="*/ 17316 h 206325"/>
                <a:gd name="connsiteX61" fmla="*/ 7804 w 201447"/>
                <a:gd name="connsiteY61" fmla="*/ 19877 h 206325"/>
                <a:gd name="connsiteX62" fmla="*/ 5853 w 201447"/>
                <a:gd name="connsiteY62" fmla="*/ 21340 h 206325"/>
                <a:gd name="connsiteX63" fmla="*/ 0 w 201447"/>
                <a:gd name="connsiteY63" fmla="*/ 25852 h 206325"/>
                <a:gd name="connsiteX64" fmla="*/ 4390 w 201447"/>
                <a:gd name="connsiteY64" fmla="*/ 42924 h 20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01447" h="206325">
                  <a:moveTo>
                    <a:pt x="4390" y="42924"/>
                  </a:moveTo>
                  <a:lnTo>
                    <a:pt x="9756" y="63654"/>
                  </a:lnTo>
                  <a:lnTo>
                    <a:pt x="9877" y="64507"/>
                  </a:lnTo>
                  <a:lnTo>
                    <a:pt x="9877" y="65239"/>
                  </a:lnTo>
                  <a:lnTo>
                    <a:pt x="9633" y="98041"/>
                  </a:lnTo>
                  <a:lnTo>
                    <a:pt x="9024" y="152915"/>
                  </a:lnTo>
                  <a:lnTo>
                    <a:pt x="8414" y="184010"/>
                  </a:lnTo>
                  <a:lnTo>
                    <a:pt x="8048" y="198277"/>
                  </a:lnTo>
                  <a:lnTo>
                    <a:pt x="13536" y="198765"/>
                  </a:lnTo>
                  <a:lnTo>
                    <a:pt x="61824" y="202667"/>
                  </a:lnTo>
                  <a:lnTo>
                    <a:pt x="154256" y="198033"/>
                  </a:lnTo>
                  <a:lnTo>
                    <a:pt x="156939" y="197911"/>
                  </a:lnTo>
                  <a:lnTo>
                    <a:pt x="158768" y="199863"/>
                  </a:lnTo>
                  <a:lnTo>
                    <a:pt x="164012" y="204984"/>
                  </a:lnTo>
                  <a:lnTo>
                    <a:pt x="169255" y="206325"/>
                  </a:lnTo>
                  <a:lnTo>
                    <a:pt x="169255" y="195107"/>
                  </a:lnTo>
                  <a:lnTo>
                    <a:pt x="173889" y="193887"/>
                  </a:lnTo>
                  <a:lnTo>
                    <a:pt x="189375" y="189863"/>
                  </a:lnTo>
                  <a:lnTo>
                    <a:pt x="200106" y="180352"/>
                  </a:lnTo>
                  <a:lnTo>
                    <a:pt x="201448" y="179132"/>
                  </a:lnTo>
                  <a:lnTo>
                    <a:pt x="197789" y="157305"/>
                  </a:lnTo>
                  <a:lnTo>
                    <a:pt x="183644" y="129258"/>
                  </a:lnTo>
                  <a:lnTo>
                    <a:pt x="173767" y="105114"/>
                  </a:lnTo>
                  <a:lnTo>
                    <a:pt x="162304" y="86213"/>
                  </a:lnTo>
                  <a:lnTo>
                    <a:pt x="159622" y="75482"/>
                  </a:lnTo>
                  <a:lnTo>
                    <a:pt x="142428" y="59873"/>
                  </a:lnTo>
                  <a:lnTo>
                    <a:pt x="139501" y="34510"/>
                  </a:lnTo>
                  <a:lnTo>
                    <a:pt x="142428" y="25486"/>
                  </a:lnTo>
                  <a:lnTo>
                    <a:pt x="145842" y="24510"/>
                  </a:lnTo>
                  <a:lnTo>
                    <a:pt x="152183" y="30973"/>
                  </a:lnTo>
                  <a:lnTo>
                    <a:pt x="152305" y="32315"/>
                  </a:lnTo>
                  <a:lnTo>
                    <a:pt x="153647" y="49630"/>
                  </a:lnTo>
                  <a:lnTo>
                    <a:pt x="163158" y="63166"/>
                  </a:lnTo>
                  <a:lnTo>
                    <a:pt x="174864" y="76214"/>
                  </a:lnTo>
                  <a:lnTo>
                    <a:pt x="180595" y="73897"/>
                  </a:lnTo>
                  <a:lnTo>
                    <a:pt x="180718" y="63532"/>
                  </a:lnTo>
                  <a:lnTo>
                    <a:pt x="185473" y="42314"/>
                  </a:lnTo>
                  <a:lnTo>
                    <a:pt x="184132" y="38168"/>
                  </a:lnTo>
                  <a:lnTo>
                    <a:pt x="175962" y="11463"/>
                  </a:lnTo>
                  <a:lnTo>
                    <a:pt x="175718" y="10487"/>
                  </a:lnTo>
                  <a:lnTo>
                    <a:pt x="174498" y="7561"/>
                  </a:lnTo>
                  <a:lnTo>
                    <a:pt x="173889" y="6219"/>
                  </a:lnTo>
                  <a:lnTo>
                    <a:pt x="173889" y="6219"/>
                  </a:lnTo>
                  <a:lnTo>
                    <a:pt x="155354" y="9512"/>
                  </a:lnTo>
                  <a:lnTo>
                    <a:pt x="145964" y="7561"/>
                  </a:lnTo>
                  <a:lnTo>
                    <a:pt x="142672" y="8414"/>
                  </a:lnTo>
                  <a:lnTo>
                    <a:pt x="140721" y="10731"/>
                  </a:lnTo>
                  <a:lnTo>
                    <a:pt x="139014" y="9268"/>
                  </a:lnTo>
                  <a:lnTo>
                    <a:pt x="134136" y="10487"/>
                  </a:lnTo>
                  <a:lnTo>
                    <a:pt x="120600" y="854"/>
                  </a:lnTo>
                  <a:lnTo>
                    <a:pt x="109626" y="0"/>
                  </a:lnTo>
                  <a:lnTo>
                    <a:pt x="102309" y="5488"/>
                  </a:lnTo>
                  <a:lnTo>
                    <a:pt x="96578" y="6463"/>
                  </a:lnTo>
                  <a:lnTo>
                    <a:pt x="88042" y="13170"/>
                  </a:lnTo>
                  <a:lnTo>
                    <a:pt x="73775" y="14145"/>
                  </a:lnTo>
                  <a:lnTo>
                    <a:pt x="50728" y="7438"/>
                  </a:lnTo>
                  <a:lnTo>
                    <a:pt x="30242" y="2805"/>
                  </a:lnTo>
                  <a:lnTo>
                    <a:pt x="14877" y="1829"/>
                  </a:lnTo>
                  <a:lnTo>
                    <a:pt x="9877" y="4024"/>
                  </a:lnTo>
                  <a:lnTo>
                    <a:pt x="9756" y="4878"/>
                  </a:lnTo>
                  <a:lnTo>
                    <a:pt x="8170" y="17316"/>
                  </a:lnTo>
                  <a:lnTo>
                    <a:pt x="7804" y="19877"/>
                  </a:lnTo>
                  <a:lnTo>
                    <a:pt x="5853" y="21340"/>
                  </a:lnTo>
                  <a:lnTo>
                    <a:pt x="0" y="25852"/>
                  </a:lnTo>
                  <a:lnTo>
                    <a:pt x="4390" y="4292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29" name="Freihandform: Form 428">
              <a:extLst>
                <a:ext uri="{FF2B5EF4-FFF2-40B4-BE49-F238E27FC236}">
                  <a16:creationId xmlns:a16="http://schemas.microsoft.com/office/drawing/2014/main" id="{70E5F2BE-2D23-42C7-BCC6-8CA1807DA5D8}"/>
                </a:ext>
              </a:extLst>
            </p:cNvPr>
            <p:cNvSpPr/>
            <p:nvPr/>
          </p:nvSpPr>
          <p:spPr>
            <a:xfrm>
              <a:off x="4201053" y="2685546"/>
              <a:ext cx="196691" cy="172181"/>
            </a:xfrm>
            <a:custGeom>
              <a:avLst/>
              <a:gdLst>
                <a:gd name="connsiteX0" fmla="*/ 48533 w 196691"/>
                <a:gd name="connsiteY0" fmla="*/ 162548 h 172181"/>
                <a:gd name="connsiteX1" fmla="*/ 48167 w 196691"/>
                <a:gd name="connsiteY1" fmla="*/ 159134 h 172181"/>
                <a:gd name="connsiteX2" fmla="*/ 50972 w 196691"/>
                <a:gd name="connsiteY2" fmla="*/ 157061 h 172181"/>
                <a:gd name="connsiteX3" fmla="*/ 68532 w 196691"/>
                <a:gd name="connsiteY3" fmla="*/ 143891 h 172181"/>
                <a:gd name="connsiteX4" fmla="*/ 69507 w 196691"/>
                <a:gd name="connsiteY4" fmla="*/ 143160 h 172181"/>
                <a:gd name="connsiteX5" fmla="*/ 70604 w 196691"/>
                <a:gd name="connsiteY5" fmla="*/ 142794 h 172181"/>
                <a:gd name="connsiteX6" fmla="*/ 117308 w 196691"/>
                <a:gd name="connsiteY6" fmla="*/ 130356 h 172181"/>
                <a:gd name="connsiteX7" fmla="*/ 118406 w 196691"/>
                <a:gd name="connsiteY7" fmla="*/ 126332 h 172181"/>
                <a:gd name="connsiteX8" fmla="*/ 118771 w 196691"/>
                <a:gd name="connsiteY8" fmla="*/ 124990 h 172181"/>
                <a:gd name="connsiteX9" fmla="*/ 119747 w 196691"/>
                <a:gd name="connsiteY9" fmla="*/ 123893 h 172181"/>
                <a:gd name="connsiteX10" fmla="*/ 124015 w 196691"/>
                <a:gd name="connsiteY10" fmla="*/ 119137 h 172181"/>
                <a:gd name="connsiteX11" fmla="*/ 126332 w 196691"/>
                <a:gd name="connsiteY11" fmla="*/ 116454 h 172181"/>
                <a:gd name="connsiteX12" fmla="*/ 128161 w 196691"/>
                <a:gd name="connsiteY12" fmla="*/ 114503 h 172181"/>
                <a:gd name="connsiteX13" fmla="*/ 136453 w 196691"/>
                <a:gd name="connsiteY13" fmla="*/ 114503 h 172181"/>
                <a:gd name="connsiteX14" fmla="*/ 145720 w 196691"/>
                <a:gd name="connsiteY14" fmla="*/ 109382 h 172181"/>
                <a:gd name="connsiteX15" fmla="*/ 146574 w 196691"/>
                <a:gd name="connsiteY15" fmla="*/ 109016 h 172181"/>
                <a:gd name="connsiteX16" fmla="*/ 147428 w 196691"/>
                <a:gd name="connsiteY16" fmla="*/ 108772 h 172181"/>
                <a:gd name="connsiteX17" fmla="*/ 151574 w 196691"/>
                <a:gd name="connsiteY17" fmla="*/ 107918 h 172181"/>
                <a:gd name="connsiteX18" fmla="*/ 154012 w 196691"/>
                <a:gd name="connsiteY18" fmla="*/ 107431 h 172181"/>
                <a:gd name="connsiteX19" fmla="*/ 154378 w 196691"/>
                <a:gd name="connsiteY19" fmla="*/ 106455 h 172181"/>
                <a:gd name="connsiteX20" fmla="*/ 157792 w 196691"/>
                <a:gd name="connsiteY20" fmla="*/ 91822 h 172181"/>
                <a:gd name="connsiteX21" fmla="*/ 159012 w 196691"/>
                <a:gd name="connsiteY21" fmla="*/ 86823 h 172181"/>
                <a:gd name="connsiteX22" fmla="*/ 164134 w 196691"/>
                <a:gd name="connsiteY22" fmla="*/ 87188 h 172181"/>
                <a:gd name="connsiteX23" fmla="*/ 175230 w 196691"/>
                <a:gd name="connsiteY23" fmla="*/ 87798 h 172181"/>
                <a:gd name="connsiteX24" fmla="*/ 177913 w 196691"/>
                <a:gd name="connsiteY24" fmla="*/ 87920 h 172181"/>
                <a:gd name="connsiteX25" fmla="*/ 190229 w 196691"/>
                <a:gd name="connsiteY25" fmla="*/ 85725 h 172181"/>
                <a:gd name="connsiteX26" fmla="*/ 196692 w 196691"/>
                <a:gd name="connsiteY26" fmla="*/ 66458 h 172181"/>
                <a:gd name="connsiteX27" fmla="*/ 196326 w 196691"/>
                <a:gd name="connsiteY27" fmla="*/ 64995 h 172181"/>
                <a:gd name="connsiteX28" fmla="*/ 194131 w 196691"/>
                <a:gd name="connsiteY28" fmla="*/ 57800 h 172181"/>
                <a:gd name="connsiteX29" fmla="*/ 190107 w 196691"/>
                <a:gd name="connsiteY29" fmla="*/ 37436 h 172181"/>
                <a:gd name="connsiteX30" fmla="*/ 186693 w 196691"/>
                <a:gd name="connsiteY30" fmla="*/ 20120 h 172181"/>
                <a:gd name="connsiteX31" fmla="*/ 186693 w 196691"/>
                <a:gd name="connsiteY31" fmla="*/ 19877 h 172181"/>
                <a:gd name="connsiteX32" fmla="*/ 176328 w 196691"/>
                <a:gd name="connsiteY32" fmla="*/ 18291 h 172181"/>
                <a:gd name="connsiteX33" fmla="*/ 170231 w 196691"/>
                <a:gd name="connsiteY33" fmla="*/ 15731 h 172181"/>
                <a:gd name="connsiteX34" fmla="*/ 149744 w 196691"/>
                <a:gd name="connsiteY34" fmla="*/ 16584 h 172181"/>
                <a:gd name="connsiteX35" fmla="*/ 134746 w 196691"/>
                <a:gd name="connsiteY35" fmla="*/ 14633 h 172181"/>
                <a:gd name="connsiteX36" fmla="*/ 129868 w 196691"/>
                <a:gd name="connsiteY36" fmla="*/ 10731 h 172181"/>
                <a:gd name="connsiteX37" fmla="*/ 124624 w 196691"/>
                <a:gd name="connsiteY37" fmla="*/ 8780 h 172181"/>
                <a:gd name="connsiteX38" fmla="*/ 121454 w 196691"/>
                <a:gd name="connsiteY38" fmla="*/ 7561 h 172181"/>
                <a:gd name="connsiteX39" fmla="*/ 120478 w 196691"/>
                <a:gd name="connsiteY39" fmla="*/ 2561 h 172181"/>
                <a:gd name="connsiteX40" fmla="*/ 115845 w 196691"/>
                <a:gd name="connsiteY40" fmla="*/ 0 h 172181"/>
                <a:gd name="connsiteX41" fmla="*/ 108406 w 196691"/>
                <a:gd name="connsiteY41" fmla="*/ 5122 h 172181"/>
                <a:gd name="connsiteX42" fmla="*/ 108406 w 196691"/>
                <a:gd name="connsiteY42" fmla="*/ 15243 h 172181"/>
                <a:gd name="connsiteX43" fmla="*/ 93164 w 196691"/>
                <a:gd name="connsiteY43" fmla="*/ 32437 h 172181"/>
                <a:gd name="connsiteX44" fmla="*/ 92188 w 196691"/>
                <a:gd name="connsiteY44" fmla="*/ 43167 h 172181"/>
                <a:gd name="connsiteX45" fmla="*/ 78652 w 196691"/>
                <a:gd name="connsiteY45" fmla="*/ 51459 h 172181"/>
                <a:gd name="connsiteX46" fmla="*/ 65727 w 196691"/>
                <a:gd name="connsiteY46" fmla="*/ 56093 h 172181"/>
                <a:gd name="connsiteX47" fmla="*/ 44631 w 196691"/>
                <a:gd name="connsiteY47" fmla="*/ 71702 h 172181"/>
                <a:gd name="connsiteX48" fmla="*/ 42070 w 196691"/>
                <a:gd name="connsiteY48" fmla="*/ 76701 h 172181"/>
                <a:gd name="connsiteX49" fmla="*/ 39265 w 196691"/>
                <a:gd name="connsiteY49" fmla="*/ 88896 h 172181"/>
                <a:gd name="connsiteX50" fmla="*/ 33778 w 196691"/>
                <a:gd name="connsiteY50" fmla="*/ 103650 h 172181"/>
                <a:gd name="connsiteX51" fmla="*/ 34632 w 196691"/>
                <a:gd name="connsiteY51" fmla="*/ 133160 h 172181"/>
                <a:gd name="connsiteX52" fmla="*/ 26584 w 196691"/>
                <a:gd name="connsiteY52" fmla="*/ 148159 h 172181"/>
                <a:gd name="connsiteX53" fmla="*/ 13779 w 196691"/>
                <a:gd name="connsiteY53" fmla="*/ 162792 h 172181"/>
                <a:gd name="connsiteX54" fmla="*/ 3536 w 196691"/>
                <a:gd name="connsiteY54" fmla="*/ 169255 h 172181"/>
                <a:gd name="connsiteX55" fmla="*/ 0 w 196691"/>
                <a:gd name="connsiteY55" fmla="*/ 172182 h 172181"/>
                <a:gd name="connsiteX56" fmla="*/ 49387 w 196691"/>
                <a:gd name="connsiteY56" fmla="*/ 172182 h 172181"/>
                <a:gd name="connsiteX57" fmla="*/ 48533 w 196691"/>
                <a:gd name="connsiteY57" fmla="*/ 162548 h 17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96691" h="172181">
                  <a:moveTo>
                    <a:pt x="48533" y="162548"/>
                  </a:moveTo>
                  <a:lnTo>
                    <a:pt x="48167" y="159134"/>
                  </a:lnTo>
                  <a:lnTo>
                    <a:pt x="50972" y="157061"/>
                  </a:lnTo>
                  <a:lnTo>
                    <a:pt x="68532" y="143891"/>
                  </a:lnTo>
                  <a:lnTo>
                    <a:pt x="69507" y="143160"/>
                  </a:lnTo>
                  <a:lnTo>
                    <a:pt x="70604" y="142794"/>
                  </a:lnTo>
                  <a:lnTo>
                    <a:pt x="117308" y="130356"/>
                  </a:lnTo>
                  <a:lnTo>
                    <a:pt x="118406" y="126332"/>
                  </a:lnTo>
                  <a:lnTo>
                    <a:pt x="118771" y="124990"/>
                  </a:lnTo>
                  <a:lnTo>
                    <a:pt x="119747" y="123893"/>
                  </a:lnTo>
                  <a:lnTo>
                    <a:pt x="124015" y="119137"/>
                  </a:lnTo>
                  <a:lnTo>
                    <a:pt x="126332" y="116454"/>
                  </a:lnTo>
                  <a:lnTo>
                    <a:pt x="128161" y="114503"/>
                  </a:lnTo>
                  <a:lnTo>
                    <a:pt x="136453" y="114503"/>
                  </a:lnTo>
                  <a:lnTo>
                    <a:pt x="145720" y="109382"/>
                  </a:lnTo>
                  <a:lnTo>
                    <a:pt x="146574" y="109016"/>
                  </a:lnTo>
                  <a:lnTo>
                    <a:pt x="147428" y="108772"/>
                  </a:lnTo>
                  <a:lnTo>
                    <a:pt x="151574" y="107918"/>
                  </a:lnTo>
                  <a:lnTo>
                    <a:pt x="154012" y="107431"/>
                  </a:lnTo>
                  <a:lnTo>
                    <a:pt x="154378" y="106455"/>
                  </a:lnTo>
                  <a:lnTo>
                    <a:pt x="157792" y="91822"/>
                  </a:lnTo>
                  <a:lnTo>
                    <a:pt x="159012" y="86823"/>
                  </a:lnTo>
                  <a:lnTo>
                    <a:pt x="164134" y="87188"/>
                  </a:lnTo>
                  <a:lnTo>
                    <a:pt x="175230" y="87798"/>
                  </a:lnTo>
                  <a:lnTo>
                    <a:pt x="177913" y="87920"/>
                  </a:lnTo>
                  <a:lnTo>
                    <a:pt x="190229" y="85725"/>
                  </a:lnTo>
                  <a:lnTo>
                    <a:pt x="196692" y="66458"/>
                  </a:lnTo>
                  <a:lnTo>
                    <a:pt x="196326" y="64995"/>
                  </a:lnTo>
                  <a:lnTo>
                    <a:pt x="194131" y="57800"/>
                  </a:lnTo>
                  <a:lnTo>
                    <a:pt x="190107" y="37436"/>
                  </a:lnTo>
                  <a:lnTo>
                    <a:pt x="186693" y="20120"/>
                  </a:lnTo>
                  <a:lnTo>
                    <a:pt x="186693" y="19877"/>
                  </a:lnTo>
                  <a:lnTo>
                    <a:pt x="176328" y="18291"/>
                  </a:lnTo>
                  <a:lnTo>
                    <a:pt x="170231" y="15731"/>
                  </a:lnTo>
                  <a:lnTo>
                    <a:pt x="149744" y="16584"/>
                  </a:lnTo>
                  <a:lnTo>
                    <a:pt x="134746" y="14633"/>
                  </a:lnTo>
                  <a:lnTo>
                    <a:pt x="129868" y="10731"/>
                  </a:lnTo>
                  <a:lnTo>
                    <a:pt x="124624" y="8780"/>
                  </a:lnTo>
                  <a:lnTo>
                    <a:pt x="121454" y="7561"/>
                  </a:lnTo>
                  <a:lnTo>
                    <a:pt x="120478" y="2561"/>
                  </a:lnTo>
                  <a:lnTo>
                    <a:pt x="115845" y="0"/>
                  </a:lnTo>
                  <a:lnTo>
                    <a:pt x="108406" y="5122"/>
                  </a:lnTo>
                  <a:lnTo>
                    <a:pt x="108406" y="15243"/>
                  </a:lnTo>
                  <a:lnTo>
                    <a:pt x="93164" y="32437"/>
                  </a:lnTo>
                  <a:lnTo>
                    <a:pt x="92188" y="43167"/>
                  </a:lnTo>
                  <a:lnTo>
                    <a:pt x="78652" y="51459"/>
                  </a:lnTo>
                  <a:lnTo>
                    <a:pt x="65727" y="56093"/>
                  </a:lnTo>
                  <a:lnTo>
                    <a:pt x="44631" y="71702"/>
                  </a:lnTo>
                  <a:lnTo>
                    <a:pt x="42070" y="76701"/>
                  </a:lnTo>
                  <a:lnTo>
                    <a:pt x="39265" y="88896"/>
                  </a:lnTo>
                  <a:lnTo>
                    <a:pt x="33778" y="103650"/>
                  </a:lnTo>
                  <a:lnTo>
                    <a:pt x="34632" y="133160"/>
                  </a:lnTo>
                  <a:lnTo>
                    <a:pt x="26584" y="148159"/>
                  </a:lnTo>
                  <a:lnTo>
                    <a:pt x="13779" y="162792"/>
                  </a:lnTo>
                  <a:lnTo>
                    <a:pt x="3536" y="169255"/>
                  </a:lnTo>
                  <a:lnTo>
                    <a:pt x="0" y="172182"/>
                  </a:lnTo>
                  <a:lnTo>
                    <a:pt x="49387" y="172182"/>
                  </a:lnTo>
                  <a:lnTo>
                    <a:pt x="48533" y="16254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0" name="Freihandform: Form 429">
              <a:extLst>
                <a:ext uri="{FF2B5EF4-FFF2-40B4-BE49-F238E27FC236}">
                  <a16:creationId xmlns:a16="http://schemas.microsoft.com/office/drawing/2014/main" id="{A618C15C-091E-47F6-8D23-C37AB07670FE}"/>
                </a:ext>
              </a:extLst>
            </p:cNvPr>
            <p:cNvSpPr/>
            <p:nvPr/>
          </p:nvSpPr>
          <p:spPr>
            <a:xfrm>
              <a:off x="4089111" y="2865776"/>
              <a:ext cx="164133" cy="136330"/>
            </a:xfrm>
            <a:custGeom>
              <a:avLst/>
              <a:gdLst>
                <a:gd name="connsiteX0" fmla="*/ 73043 w 164133"/>
                <a:gd name="connsiteY0" fmla="*/ 132795 h 136330"/>
                <a:gd name="connsiteX1" fmla="*/ 72433 w 164133"/>
                <a:gd name="connsiteY1" fmla="*/ 115479 h 136330"/>
                <a:gd name="connsiteX2" fmla="*/ 72433 w 164133"/>
                <a:gd name="connsiteY2" fmla="*/ 114259 h 136330"/>
                <a:gd name="connsiteX3" fmla="*/ 72921 w 164133"/>
                <a:gd name="connsiteY3" fmla="*/ 113040 h 136330"/>
                <a:gd name="connsiteX4" fmla="*/ 78165 w 164133"/>
                <a:gd name="connsiteY4" fmla="*/ 99870 h 136330"/>
                <a:gd name="connsiteX5" fmla="*/ 79750 w 164133"/>
                <a:gd name="connsiteY5" fmla="*/ 95846 h 136330"/>
                <a:gd name="connsiteX6" fmla="*/ 81213 w 164133"/>
                <a:gd name="connsiteY6" fmla="*/ 92188 h 136330"/>
                <a:gd name="connsiteX7" fmla="*/ 85115 w 164133"/>
                <a:gd name="connsiteY7" fmla="*/ 91944 h 136330"/>
                <a:gd name="connsiteX8" fmla="*/ 96822 w 164133"/>
                <a:gd name="connsiteY8" fmla="*/ 91334 h 136330"/>
                <a:gd name="connsiteX9" fmla="*/ 96334 w 164133"/>
                <a:gd name="connsiteY9" fmla="*/ 80360 h 136330"/>
                <a:gd name="connsiteX10" fmla="*/ 94261 w 164133"/>
                <a:gd name="connsiteY10" fmla="*/ 40851 h 136330"/>
                <a:gd name="connsiteX11" fmla="*/ 94017 w 164133"/>
                <a:gd name="connsiteY11" fmla="*/ 34388 h 136330"/>
                <a:gd name="connsiteX12" fmla="*/ 100358 w 164133"/>
                <a:gd name="connsiteY12" fmla="*/ 34388 h 136330"/>
                <a:gd name="connsiteX13" fmla="*/ 160841 w 164133"/>
                <a:gd name="connsiteY13" fmla="*/ 34388 h 136330"/>
                <a:gd name="connsiteX14" fmla="*/ 162792 w 164133"/>
                <a:gd name="connsiteY14" fmla="*/ 20242 h 136330"/>
                <a:gd name="connsiteX15" fmla="*/ 163646 w 164133"/>
                <a:gd name="connsiteY15" fmla="*/ 13048 h 136330"/>
                <a:gd name="connsiteX16" fmla="*/ 164133 w 164133"/>
                <a:gd name="connsiteY16" fmla="*/ 10121 h 136330"/>
                <a:gd name="connsiteX17" fmla="*/ 164012 w 164133"/>
                <a:gd name="connsiteY17" fmla="*/ 9877 h 136330"/>
                <a:gd name="connsiteX18" fmla="*/ 163280 w 164133"/>
                <a:gd name="connsiteY18" fmla="*/ 5365 h 136330"/>
                <a:gd name="connsiteX19" fmla="*/ 162426 w 164133"/>
                <a:gd name="connsiteY19" fmla="*/ 0 h 136330"/>
                <a:gd name="connsiteX20" fmla="*/ 101090 w 164133"/>
                <a:gd name="connsiteY20" fmla="*/ 0 h 136330"/>
                <a:gd name="connsiteX21" fmla="*/ 99748 w 164133"/>
                <a:gd name="connsiteY21" fmla="*/ 732 h 136330"/>
                <a:gd name="connsiteX22" fmla="*/ 89261 w 164133"/>
                <a:gd name="connsiteY22" fmla="*/ 1707 h 136330"/>
                <a:gd name="connsiteX23" fmla="*/ 78774 w 164133"/>
                <a:gd name="connsiteY23" fmla="*/ 6951 h 136330"/>
                <a:gd name="connsiteX24" fmla="*/ 64995 w 164133"/>
                <a:gd name="connsiteY24" fmla="*/ 29144 h 136330"/>
                <a:gd name="connsiteX25" fmla="*/ 60849 w 164133"/>
                <a:gd name="connsiteY25" fmla="*/ 36339 h 136330"/>
                <a:gd name="connsiteX26" fmla="*/ 54874 w 164133"/>
                <a:gd name="connsiteY26" fmla="*/ 38290 h 136330"/>
                <a:gd name="connsiteX27" fmla="*/ 45240 w 164133"/>
                <a:gd name="connsiteY27" fmla="*/ 49874 h 136330"/>
                <a:gd name="connsiteX28" fmla="*/ 39509 w 164133"/>
                <a:gd name="connsiteY28" fmla="*/ 67678 h 136330"/>
                <a:gd name="connsiteX29" fmla="*/ 26217 w 164133"/>
                <a:gd name="connsiteY29" fmla="*/ 85847 h 136330"/>
                <a:gd name="connsiteX30" fmla="*/ 10243 w 164133"/>
                <a:gd name="connsiteY30" fmla="*/ 113040 h 136330"/>
                <a:gd name="connsiteX31" fmla="*/ 0 w 164133"/>
                <a:gd name="connsiteY31" fmla="*/ 136331 h 136330"/>
                <a:gd name="connsiteX32" fmla="*/ 73165 w 164133"/>
                <a:gd name="connsiteY32" fmla="*/ 136331 h 136330"/>
                <a:gd name="connsiteX33" fmla="*/ 73043 w 164133"/>
                <a:gd name="connsiteY33" fmla="*/ 132795 h 13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64133" h="136330">
                  <a:moveTo>
                    <a:pt x="73043" y="132795"/>
                  </a:moveTo>
                  <a:lnTo>
                    <a:pt x="72433" y="115479"/>
                  </a:lnTo>
                  <a:lnTo>
                    <a:pt x="72433" y="114259"/>
                  </a:lnTo>
                  <a:lnTo>
                    <a:pt x="72921" y="113040"/>
                  </a:lnTo>
                  <a:lnTo>
                    <a:pt x="78165" y="99870"/>
                  </a:lnTo>
                  <a:lnTo>
                    <a:pt x="79750" y="95846"/>
                  </a:lnTo>
                  <a:lnTo>
                    <a:pt x="81213" y="92188"/>
                  </a:lnTo>
                  <a:lnTo>
                    <a:pt x="85115" y="91944"/>
                  </a:lnTo>
                  <a:lnTo>
                    <a:pt x="96822" y="91334"/>
                  </a:lnTo>
                  <a:lnTo>
                    <a:pt x="96334" y="80360"/>
                  </a:lnTo>
                  <a:lnTo>
                    <a:pt x="94261" y="40851"/>
                  </a:lnTo>
                  <a:lnTo>
                    <a:pt x="94017" y="34388"/>
                  </a:lnTo>
                  <a:lnTo>
                    <a:pt x="100358" y="34388"/>
                  </a:lnTo>
                  <a:lnTo>
                    <a:pt x="160841" y="34388"/>
                  </a:lnTo>
                  <a:lnTo>
                    <a:pt x="162792" y="20242"/>
                  </a:lnTo>
                  <a:lnTo>
                    <a:pt x="163646" y="13048"/>
                  </a:lnTo>
                  <a:lnTo>
                    <a:pt x="164133" y="10121"/>
                  </a:lnTo>
                  <a:lnTo>
                    <a:pt x="164012" y="9877"/>
                  </a:lnTo>
                  <a:lnTo>
                    <a:pt x="163280" y="5365"/>
                  </a:lnTo>
                  <a:lnTo>
                    <a:pt x="162426" y="0"/>
                  </a:lnTo>
                  <a:lnTo>
                    <a:pt x="101090" y="0"/>
                  </a:lnTo>
                  <a:lnTo>
                    <a:pt x="99748" y="732"/>
                  </a:lnTo>
                  <a:lnTo>
                    <a:pt x="89261" y="1707"/>
                  </a:lnTo>
                  <a:lnTo>
                    <a:pt x="78774" y="6951"/>
                  </a:lnTo>
                  <a:lnTo>
                    <a:pt x="64995" y="29144"/>
                  </a:lnTo>
                  <a:lnTo>
                    <a:pt x="60849" y="36339"/>
                  </a:lnTo>
                  <a:lnTo>
                    <a:pt x="54874" y="38290"/>
                  </a:lnTo>
                  <a:lnTo>
                    <a:pt x="45240" y="49874"/>
                  </a:lnTo>
                  <a:lnTo>
                    <a:pt x="39509" y="67678"/>
                  </a:lnTo>
                  <a:lnTo>
                    <a:pt x="26217" y="85847"/>
                  </a:lnTo>
                  <a:lnTo>
                    <a:pt x="10243" y="113040"/>
                  </a:lnTo>
                  <a:lnTo>
                    <a:pt x="0" y="136331"/>
                  </a:lnTo>
                  <a:lnTo>
                    <a:pt x="73165" y="136331"/>
                  </a:lnTo>
                  <a:lnTo>
                    <a:pt x="73043" y="1327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1" name="Freihandform: Form 430">
              <a:extLst>
                <a:ext uri="{FF2B5EF4-FFF2-40B4-BE49-F238E27FC236}">
                  <a16:creationId xmlns:a16="http://schemas.microsoft.com/office/drawing/2014/main" id="{18C7C66C-98DC-4A25-A7FF-1D387FA34528}"/>
                </a:ext>
              </a:extLst>
            </p:cNvPr>
            <p:cNvSpPr/>
            <p:nvPr/>
          </p:nvSpPr>
          <p:spPr>
            <a:xfrm>
              <a:off x="4869293" y="2969548"/>
              <a:ext cx="310585" cy="277904"/>
            </a:xfrm>
            <a:custGeom>
              <a:avLst/>
              <a:gdLst>
                <a:gd name="connsiteX0" fmla="*/ 243639 w 310585"/>
                <a:gd name="connsiteY0" fmla="*/ 10975 h 277904"/>
                <a:gd name="connsiteX1" fmla="*/ 242298 w 310585"/>
                <a:gd name="connsiteY1" fmla="*/ 11340 h 277904"/>
                <a:gd name="connsiteX2" fmla="*/ 227787 w 310585"/>
                <a:gd name="connsiteY2" fmla="*/ 15243 h 277904"/>
                <a:gd name="connsiteX3" fmla="*/ 227787 w 310585"/>
                <a:gd name="connsiteY3" fmla="*/ 30485 h 277904"/>
                <a:gd name="connsiteX4" fmla="*/ 220227 w 310585"/>
                <a:gd name="connsiteY4" fmla="*/ 28534 h 277904"/>
                <a:gd name="connsiteX5" fmla="*/ 212056 w 310585"/>
                <a:gd name="connsiteY5" fmla="*/ 26583 h 277904"/>
                <a:gd name="connsiteX6" fmla="*/ 210349 w 310585"/>
                <a:gd name="connsiteY6" fmla="*/ 26096 h 277904"/>
                <a:gd name="connsiteX7" fmla="*/ 209252 w 310585"/>
                <a:gd name="connsiteY7" fmla="*/ 24876 h 277904"/>
                <a:gd name="connsiteX8" fmla="*/ 204252 w 310585"/>
                <a:gd name="connsiteY8" fmla="*/ 19998 h 277904"/>
                <a:gd name="connsiteX9" fmla="*/ 112552 w 310585"/>
                <a:gd name="connsiteY9" fmla="*/ 24632 h 277904"/>
                <a:gd name="connsiteX10" fmla="*/ 112186 w 310585"/>
                <a:gd name="connsiteY10" fmla="*/ 24632 h 277904"/>
                <a:gd name="connsiteX11" fmla="*/ 111699 w 310585"/>
                <a:gd name="connsiteY11" fmla="*/ 24632 h 277904"/>
                <a:gd name="connsiteX12" fmla="*/ 58288 w 310585"/>
                <a:gd name="connsiteY12" fmla="*/ 20242 h 277904"/>
                <a:gd name="connsiteX13" fmla="*/ 55727 w 310585"/>
                <a:gd name="connsiteY13" fmla="*/ 58044 h 277904"/>
                <a:gd name="connsiteX14" fmla="*/ 55483 w 310585"/>
                <a:gd name="connsiteY14" fmla="*/ 62678 h 277904"/>
                <a:gd name="connsiteX15" fmla="*/ 50972 w 310585"/>
                <a:gd name="connsiteY15" fmla="*/ 63654 h 277904"/>
                <a:gd name="connsiteX16" fmla="*/ 37680 w 310585"/>
                <a:gd name="connsiteY16" fmla="*/ 66336 h 277904"/>
                <a:gd name="connsiteX17" fmla="*/ 37680 w 310585"/>
                <a:gd name="connsiteY17" fmla="*/ 67800 h 277904"/>
                <a:gd name="connsiteX18" fmla="*/ 37192 w 310585"/>
                <a:gd name="connsiteY18" fmla="*/ 145964 h 277904"/>
                <a:gd name="connsiteX19" fmla="*/ 37192 w 310585"/>
                <a:gd name="connsiteY19" fmla="*/ 151086 h 277904"/>
                <a:gd name="connsiteX20" fmla="*/ 32192 w 310585"/>
                <a:gd name="connsiteY20" fmla="*/ 151939 h 277904"/>
                <a:gd name="connsiteX21" fmla="*/ 12072 w 310585"/>
                <a:gd name="connsiteY21" fmla="*/ 155354 h 277904"/>
                <a:gd name="connsiteX22" fmla="*/ 12926 w 310585"/>
                <a:gd name="connsiteY22" fmla="*/ 163524 h 277904"/>
                <a:gd name="connsiteX23" fmla="*/ 13048 w 310585"/>
                <a:gd name="connsiteY23" fmla="*/ 165109 h 277904"/>
                <a:gd name="connsiteX24" fmla="*/ 13170 w 310585"/>
                <a:gd name="connsiteY24" fmla="*/ 167060 h 277904"/>
                <a:gd name="connsiteX25" fmla="*/ 12194 w 310585"/>
                <a:gd name="connsiteY25" fmla="*/ 168767 h 277904"/>
                <a:gd name="connsiteX26" fmla="*/ 11828 w 310585"/>
                <a:gd name="connsiteY26" fmla="*/ 169377 h 277904"/>
                <a:gd name="connsiteX27" fmla="*/ 8658 w 310585"/>
                <a:gd name="connsiteY27" fmla="*/ 174742 h 277904"/>
                <a:gd name="connsiteX28" fmla="*/ 4756 w 310585"/>
                <a:gd name="connsiteY28" fmla="*/ 193887 h 277904"/>
                <a:gd name="connsiteX29" fmla="*/ 3171 w 310585"/>
                <a:gd name="connsiteY29" fmla="*/ 202057 h 277904"/>
                <a:gd name="connsiteX30" fmla="*/ 3049 w 310585"/>
                <a:gd name="connsiteY30" fmla="*/ 203033 h 277904"/>
                <a:gd name="connsiteX31" fmla="*/ 2439 w 310585"/>
                <a:gd name="connsiteY31" fmla="*/ 203886 h 277904"/>
                <a:gd name="connsiteX32" fmla="*/ 0 w 310585"/>
                <a:gd name="connsiteY32" fmla="*/ 208032 h 277904"/>
                <a:gd name="connsiteX33" fmla="*/ 3902 w 310585"/>
                <a:gd name="connsiteY33" fmla="*/ 212056 h 277904"/>
                <a:gd name="connsiteX34" fmla="*/ 7072 w 310585"/>
                <a:gd name="connsiteY34" fmla="*/ 215227 h 277904"/>
                <a:gd name="connsiteX35" fmla="*/ 8901 w 310585"/>
                <a:gd name="connsiteY35" fmla="*/ 216934 h 277904"/>
                <a:gd name="connsiteX36" fmla="*/ 8901 w 310585"/>
                <a:gd name="connsiteY36" fmla="*/ 227909 h 277904"/>
                <a:gd name="connsiteX37" fmla="*/ 18901 w 310585"/>
                <a:gd name="connsiteY37" fmla="*/ 234860 h 277904"/>
                <a:gd name="connsiteX38" fmla="*/ 20608 w 310585"/>
                <a:gd name="connsiteY38" fmla="*/ 236079 h 277904"/>
                <a:gd name="connsiteX39" fmla="*/ 22681 w 310585"/>
                <a:gd name="connsiteY39" fmla="*/ 237542 h 277904"/>
                <a:gd name="connsiteX40" fmla="*/ 23169 w 310585"/>
                <a:gd name="connsiteY40" fmla="*/ 239981 h 277904"/>
                <a:gd name="connsiteX41" fmla="*/ 24266 w 310585"/>
                <a:gd name="connsiteY41" fmla="*/ 245469 h 277904"/>
                <a:gd name="connsiteX42" fmla="*/ 24632 w 310585"/>
                <a:gd name="connsiteY42" fmla="*/ 247542 h 277904"/>
                <a:gd name="connsiteX43" fmla="*/ 23778 w 310585"/>
                <a:gd name="connsiteY43" fmla="*/ 249371 h 277904"/>
                <a:gd name="connsiteX44" fmla="*/ 22315 w 310585"/>
                <a:gd name="connsiteY44" fmla="*/ 252297 h 277904"/>
                <a:gd name="connsiteX45" fmla="*/ 23291 w 310585"/>
                <a:gd name="connsiteY45" fmla="*/ 253639 h 277904"/>
                <a:gd name="connsiteX46" fmla="*/ 31827 w 310585"/>
                <a:gd name="connsiteY46" fmla="*/ 265223 h 277904"/>
                <a:gd name="connsiteX47" fmla="*/ 33046 w 310585"/>
                <a:gd name="connsiteY47" fmla="*/ 267052 h 277904"/>
                <a:gd name="connsiteX48" fmla="*/ 32924 w 310585"/>
                <a:gd name="connsiteY48" fmla="*/ 269247 h 277904"/>
                <a:gd name="connsiteX49" fmla="*/ 32924 w 310585"/>
                <a:gd name="connsiteY49" fmla="*/ 270101 h 277904"/>
                <a:gd name="connsiteX50" fmla="*/ 46094 w 310585"/>
                <a:gd name="connsiteY50" fmla="*/ 270101 h 277904"/>
                <a:gd name="connsiteX51" fmla="*/ 62068 w 310585"/>
                <a:gd name="connsiteY51" fmla="*/ 258516 h 277904"/>
                <a:gd name="connsiteX52" fmla="*/ 65483 w 310585"/>
                <a:gd name="connsiteY52" fmla="*/ 256077 h 277904"/>
                <a:gd name="connsiteX53" fmla="*/ 68897 w 310585"/>
                <a:gd name="connsiteY53" fmla="*/ 258272 h 277904"/>
                <a:gd name="connsiteX54" fmla="*/ 95602 w 310585"/>
                <a:gd name="connsiteY54" fmla="*/ 274978 h 277904"/>
                <a:gd name="connsiteX55" fmla="*/ 122185 w 310585"/>
                <a:gd name="connsiteY55" fmla="*/ 277905 h 277904"/>
                <a:gd name="connsiteX56" fmla="*/ 148525 w 310585"/>
                <a:gd name="connsiteY56" fmla="*/ 259736 h 277904"/>
                <a:gd name="connsiteX57" fmla="*/ 153037 w 310585"/>
                <a:gd name="connsiteY57" fmla="*/ 256443 h 277904"/>
                <a:gd name="connsiteX58" fmla="*/ 156695 w 310585"/>
                <a:gd name="connsiteY58" fmla="*/ 260711 h 277904"/>
                <a:gd name="connsiteX59" fmla="*/ 165597 w 310585"/>
                <a:gd name="connsiteY59" fmla="*/ 271320 h 277904"/>
                <a:gd name="connsiteX60" fmla="*/ 194009 w 310585"/>
                <a:gd name="connsiteY60" fmla="*/ 247176 h 277904"/>
                <a:gd name="connsiteX61" fmla="*/ 188765 w 310585"/>
                <a:gd name="connsiteY61" fmla="*/ 232908 h 277904"/>
                <a:gd name="connsiteX62" fmla="*/ 186327 w 310585"/>
                <a:gd name="connsiteY62" fmla="*/ 226324 h 277904"/>
                <a:gd name="connsiteX63" fmla="*/ 193278 w 310585"/>
                <a:gd name="connsiteY63" fmla="*/ 224860 h 277904"/>
                <a:gd name="connsiteX64" fmla="*/ 213032 w 310585"/>
                <a:gd name="connsiteY64" fmla="*/ 220836 h 277904"/>
                <a:gd name="connsiteX65" fmla="*/ 220349 w 310585"/>
                <a:gd name="connsiteY65" fmla="*/ 219373 h 277904"/>
                <a:gd name="connsiteX66" fmla="*/ 220349 w 310585"/>
                <a:gd name="connsiteY66" fmla="*/ 254370 h 277904"/>
                <a:gd name="connsiteX67" fmla="*/ 223275 w 310585"/>
                <a:gd name="connsiteY67" fmla="*/ 257906 h 277904"/>
                <a:gd name="connsiteX68" fmla="*/ 223519 w 310585"/>
                <a:gd name="connsiteY68" fmla="*/ 253639 h 277904"/>
                <a:gd name="connsiteX69" fmla="*/ 223763 w 310585"/>
                <a:gd name="connsiteY69" fmla="*/ 250102 h 277904"/>
                <a:gd name="connsiteX70" fmla="*/ 226933 w 310585"/>
                <a:gd name="connsiteY70" fmla="*/ 248517 h 277904"/>
                <a:gd name="connsiteX71" fmla="*/ 240957 w 310585"/>
                <a:gd name="connsiteY71" fmla="*/ 241566 h 277904"/>
                <a:gd name="connsiteX72" fmla="*/ 243273 w 310585"/>
                <a:gd name="connsiteY72" fmla="*/ 223763 h 277904"/>
                <a:gd name="connsiteX73" fmla="*/ 243883 w 310585"/>
                <a:gd name="connsiteY73" fmla="*/ 219495 h 277904"/>
                <a:gd name="connsiteX74" fmla="*/ 248029 w 310585"/>
                <a:gd name="connsiteY74" fmla="*/ 218641 h 277904"/>
                <a:gd name="connsiteX75" fmla="*/ 263516 w 310585"/>
                <a:gd name="connsiteY75" fmla="*/ 215349 h 277904"/>
                <a:gd name="connsiteX76" fmla="*/ 265833 w 310585"/>
                <a:gd name="connsiteY76" fmla="*/ 183278 h 277904"/>
                <a:gd name="connsiteX77" fmla="*/ 265711 w 310585"/>
                <a:gd name="connsiteY77" fmla="*/ 183278 h 277904"/>
                <a:gd name="connsiteX78" fmla="*/ 266198 w 310585"/>
                <a:gd name="connsiteY78" fmla="*/ 178401 h 277904"/>
                <a:gd name="connsiteX79" fmla="*/ 266443 w 310585"/>
                <a:gd name="connsiteY79" fmla="*/ 175230 h 277904"/>
                <a:gd name="connsiteX80" fmla="*/ 266443 w 310585"/>
                <a:gd name="connsiteY80" fmla="*/ 175230 h 277904"/>
                <a:gd name="connsiteX81" fmla="*/ 269003 w 310585"/>
                <a:gd name="connsiteY81" fmla="*/ 144989 h 277904"/>
                <a:gd name="connsiteX82" fmla="*/ 269003 w 310585"/>
                <a:gd name="connsiteY82" fmla="*/ 143769 h 277904"/>
                <a:gd name="connsiteX83" fmla="*/ 269613 w 310585"/>
                <a:gd name="connsiteY83" fmla="*/ 142672 h 277904"/>
                <a:gd name="connsiteX84" fmla="*/ 275222 w 310585"/>
                <a:gd name="connsiteY84" fmla="*/ 132185 h 277904"/>
                <a:gd name="connsiteX85" fmla="*/ 280466 w 310585"/>
                <a:gd name="connsiteY85" fmla="*/ 122307 h 277904"/>
                <a:gd name="connsiteX86" fmla="*/ 281319 w 310585"/>
                <a:gd name="connsiteY86" fmla="*/ 120722 h 277904"/>
                <a:gd name="connsiteX87" fmla="*/ 282783 w 310585"/>
                <a:gd name="connsiteY87" fmla="*/ 119869 h 277904"/>
                <a:gd name="connsiteX88" fmla="*/ 310585 w 310585"/>
                <a:gd name="connsiteY88" fmla="*/ 103528 h 277904"/>
                <a:gd name="connsiteX89" fmla="*/ 283636 w 310585"/>
                <a:gd name="connsiteY89" fmla="*/ 77799 h 277904"/>
                <a:gd name="connsiteX90" fmla="*/ 283636 w 310585"/>
                <a:gd name="connsiteY90" fmla="*/ 62678 h 277904"/>
                <a:gd name="connsiteX91" fmla="*/ 282173 w 310585"/>
                <a:gd name="connsiteY91" fmla="*/ 29266 h 277904"/>
                <a:gd name="connsiteX92" fmla="*/ 274125 w 310585"/>
                <a:gd name="connsiteY92" fmla="*/ 14511 h 277904"/>
                <a:gd name="connsiteX93" fmla="*/ 256077 w 310585"/>
                <a:gd name="connsiteY93" fmla="*/ 0 h 277904"/>
                <a:gd name="connsiteX94" fmla="*/ 244737 w 310585"/>
                <a:gd name="connsiteY94" fmla="*/ 9999 h 277904"/>
                <a:gd name="connsiteX95" fmla="*/ 243639 w 310585"/>
                <a:gd name="connsiteY95" fmla="*/ 10975 h 277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10585" h="277904">
                  <a:moveTo>
                    <a:pt x="243639" y="10975"/>
                  </a:moveTo>
                  <a:lnTo>
                    <a:pt x="242298" y="11340"/>
                  </a:lnTo>
                  <a:lnTo>
                    <a:pt x="227787" y="15243"/>
                  </a:lnTo>
                  <a:lnTo>
                    <a:pt x="227787" y="30485"/>
                  </a:lnTo>
                  <a:lnTo>
                    <a:pt x="220227" y="28534"/>
                  </a:lnTo>
                  <a:lnTo>
                    <a:pt x="212056" y="26583"/>
                  </a:lnTo>
                  <a:lnTo>
                    <a:pt x="210349" y="26096"/>
                  </a:lnTo>
                  <a:lnTo>
                    <a:pt x="209252" y="24876"/>
                  </a:lnTo>
                  <a:lnTo>
                    <a:pt x="204252" y="19998"/>
                  </a:lnTo>
                  <a:lnTo>
                    <a:pt x="112552" y="24632"/>
                  </a:lnTo>
                  <a:lnTo>
                    <a:pt x="112186" y="24632"/>
                  </a:lnTo>
                  <a:lnTo>
                    <a:pt x="111699" y="24632"/>
                  </a:lnTo>
                  <a:lnTo>
                    <a:pt x="58288" y="20242"/>
                  </a:lnTo>
                  <a:lnTo>
                    <a:pt x="55727" y="58044"/>
                  </a:lnTo>
                  <a:lnTo>
                    <a:pt x="55483" y="62678"/>
                  </a:lnTo>
                  <a:lnTo>
                    <a:pt x="50972" y="63654"/>
                  </a:lnTo>
                  <a:lnTo>
                    <a:pt x="37680" y="66336"/>
                  </a:lnTo>
                  <a:lnTo>
                    <a:pt x="37680" y="67800"/>
                  </a:lnTo>
                  <a:lnTo>
                    <a:pt x="37192" y="145964"/>
                  </a:lnTo>
                  <a:lnTo>
                    <a:pt x="37192" y="151086"/>
                  </a:lnTo>
                  <a:lnTo>
                    <a:pt x="32192" y="151939"/>
                  </a:lnTo>
                  <a:lnTo>
                    <a:pt x="12072" y="155354"/>
                  </a:lnTo>
                  <a:lnTo>
                    <a:pt x="12926" y="163524"/>
                  </a:lnTo>
                  <a:lnTo>
                    <a:pt x="13048" y="165109"/>
                  </a:lnTo>
                  <a:lnTo>
                    <a:pt x="13170" y="167060"/>
                  </a:lnTo>
                  <a:lnTo>
                    <a:pt x="12194" y="168767"/>
                  </a:lnTo>
                  <a:lnTo>
                    <a:pt x="11828" y="169377"/>
                  </a:lnTo>
                  <a:lnTo>
                    <a:pt x="8658" y="174742"/>
                  </a:lnTo>
                  <a:lnTo>
                    <a:pt x="4756" y="193887"/>
                  </a:lnTo>
                  <a:lnTo>
                    <a:pt x="3171" y="202057"/>
                  </a:lnTo>
                  <a:lnTo>
                    <a:pt x="3049" y="203033"/>
                  </a:lnTo>
                  <a:lnTo>
                    <a:pt x="2439" y="203886"/>
                  </a:lnTo>
                  <a:lnTo>
                    <a:pt x="0" y="208032"/>
                  </a:lnTo>
                  <a:lnTo>
                    <a:pt x="3902" y="212056"/>
                  </a:lnTo>
                  <a:lnTo>
                    <a:pt x="7072" y="215227"/>
                  </a:lnTo>
                  <a:lnTo>
                    <a:pt x="8901" y="216934"/>
                  </a:lnTo>
                  <a:lnTo>
                    <a:pt x="8901" y="227909"/>
                  </a:lnTo>
                  <a:lnTo>
                    <a:pt x="18901" y="234860"/>
                  </a:lnTo>
                  <a:lnTo>
                    <a:pt x="20608" y="236079"/>
                  </a:lnTo>
                  <a:lnTo>
                    <a:pt x="22681" y="237542"/>
                  </a:lnTo>
                  <a:lnTo>
                    <a:pt x="23169" y="239981"/>
                  </a:lnTo>
                  <a:lnTo>
                    <a:pt x="24266" y="245469"/>
                  </a:lnTo>
                  <a:lnTo>
                    <a:pt x="24632" y="247542"/>
                  </a:lnTo>
                  <a:lnTo>
                    <a:pt x="23778" y="249371"/>
                  </a:lnTo>
                  <a:lnTo>
                    <a:pt x="22315" y="252297"/>
                  </a:lnTo>
                  <a:lnTo>
                    <a:pt x="23291" y="253639"/>
                  </a:lnTo>
                  <a:lnTo>
                    <a:pt x="31827" y="265223"/>
                  </a:lnTo>
                  <a:lnTo>
                    <a:pt x="33046" y="267052"/>
                  </a:lnTo>
                  <a:lnTo>
                    <a:pt x="32924" y="269247"/>
                  </a:lnTo>
                  <a:lnTo>
                    <a:pt x="32924" y="270101"/>
                  </a:lnTo>
                  <a:lnTo>
                    <a:pt x="46094" y="270101"/>
                  </a:lnTo>
                  <a:lnTo>
                    <a:pt x="62068" y="258516"/>
                  </a:lnTo>
                  <a:lnTo>
                    <a:pt x="65483" y="256077"/>
                  </a:lnTo>
                  <a:lnTo>
                    <a:pt x="68897" y="258272"/>
                  </a:lnTo>
                  <a:lnTo>
                    <a:pt x="95602" y="274978"/>
                  </a:lnTo>
                  <a:lnTo>
                    <a:pt x="122185" y="277905"/>
                  </a:lnTo>
                  <a:lnTo>
                    <a:pt x="148525" y="259736"/>
                  </a:lnTo>
                  <a:lnTo>
                    <a:pt x="153037" y="256443"/>
                  </a:lnTo>
                  <a:lnTo>
                    <a:pt x="156695" y="260711"/>
                  </a:lnTo>
                  <a:lnTo>
                    <a:pt x="165597" y="271320"/>
                  </a:lnTo>
                  <a:lnTo>
                    <a:pt x="194009" y="247176"/>
                  </a:lnTo>
                  <a:lnTo>
                    <a:pt x="188765" y="232908"/>
                  </a:lnTo>
                  <a:lnTo>
                    <a:pt x="186327" y="226324"/>
                  </a:lnTo>
                  <a:lnTo>
                    <a:pt x="193278" y="224860"/>
                  </a:lnTo>
                  <a:lnTo>
                    <a:pt x="213032" y="220836"/>
                  </a:lnTo>
                  <a:lnTo>
                    <a:pt x="220349" y="219373"/>
                  </a:lnTo>
                  <a:lnTo>
                    <a:pt x="220349" y="254370"/>
                  </a:lnTo>
                  <a:lnTo>
                    <a:pt x="223275" y="257906"/>
                  </a:lnTo>
                  <a:lnTo>
                    <a:pt x="223519" y="253639"/>
                  </a:lnTo>
                  <a:lnTo>
                    <a:pt x="223763" y="250102"/>
                  </a:lnTo>
                  <a:lnTo>
                    <a:pt x="226933" y="248517"/>
                  </a:lnTo>
                  <a:lnTo>
                    <a:pt x="240957" y="241566"/>
                  </a:lnTo>
                  <a:lnTo>
                    <a:pt x="243273" y="223763"/>
                  </a:lnTo>
                  <a:lnTo>
                    <a:pt x="243883" y="219495"/>
                  </a:lnTo>
                  <a:lnTo>
                    <a:pt x="248029" y="218641"/>
                  </a:lnTo>
                  <a:lnTo>
                    <a:pt x="263516" y="215349"/>
                  </a:lnTo>
                  <a:lnTo>
                    <a:pt x="265833" y="183278"/>
                  </a:lnTo>
                  <a:lnTo>
                    <a:pt x="265711" y="183278"/>
                  </a:lnTo>
                  <a:lnTo>
                    <a:pt x="266198" y="178401"/>
                  </a:lnTo>
                  <a:lnTo>
                    <a:pt x="266443" y="175230"/>
                  </a:lnTo>
                  <a:lnTo>
                    <a:pt x="266443" y="175230"/>
                  </a:lnTo>
                  <a:lnTo>
                    <a:pt x="269003" y="144989"/>
                  </a:lnTo>
                  <a:lnTo>
                    <a:pt x="269003" y="143769"/>
                  </a:lnTo>
                  <a:lnTo>
                    <a:pt x="269613" y="142672"/>
                  </a:lnTo>
                  <a:lnTo>
                    <a:pt x="275222" y="132185"/>
                  </a:lnTo>
                  <a:lnTo>
                    <a:pt x="280466" y="122307"/>
                  </a:lnTo>
                  <a:lnTo>
                    <a:pt x="281319" y="120722"/>
                  </a:lnTo>
                  <a:lnTo>
                    <a:pt x="282783" y="119869"/>
                  </a:lnTo>
                  <a:lnTo>
                    <a:pt x="310585" y="103528"/>
                  </a:lnTo>
                  <a:lnTo>
                    <a:pt x="283636" y="77799"/>
                  </a:lnTo>
                  <a:lnTo>
                    <a:pt x="283636" y="62678"/>
                  </a:lnTo>
                  <a:lnTo>
                    <a:pt x="282173" y="29266"/>
                  </a:lnTo>
                  <a:lnTo>
                    <a:pt x="274125" y="14511"/>
                  </a:lnTo>
                  <a:lnTo>
                    <a:pt x="256077" y="0"/>
                  </a:lnTo>
                  <a:lnTo>
                    <a:pt x="244737" y="9999"/>
                  </a:lnTo>
                  <a:lnTo>
                    <a:pt x="243639" y="10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2" name="Freihandform: Form 431">
              <a:extLst>
                <a:ext uri="{FF2B5EF4-FFF2-40B4-BE49-F238E27FC236}">
                  <a16:creationId xmlns:a16="http://schemas.microsoft.com/office/drawing/2014/main" id="{5A4C4F09-AC30-4B51-8BCF-89BB004130EB}"/>
                </a:ext>
              </a:extLst>
            </p:cNvPr>
            <p:cNvSpPr/>
            <p:nvPr/>
          </p:nvSpPr>
          <p:spPr>
            <a:xfrm>
              <a:off x="4090452" y="3100635"/>
              <a:ext cx="106088" cy="91700"/>
            </a:xfrm>
            <a:custGeom>
              <a:avLst/>
              <a:gdLst>
                <a:gd name="connsiteX0" fmla="*/ 31583 w 106088"/>
                <a:gd name="connsiteY0" fmla="*/ 82067 h 91700"/>
                <a:gd name="connsiteX1" fmla="*/ 32924 w 106088"/>
                <a:gd name="connsiteY1" fmla="*/ 82067 h 91700"/>
                <a:gd name="connsiteX2" fmla="*/ 60117 w 106088"/>
                <a:gd name="connsiteY2" fmla="*/ 84628 h 91700"/>
                <a:gd name="connsiteX3" fmla="*/ 63288 w 106088"/>
                <a:gd name="connsiteY3" fmla="*/ 84628 h 91700"/>
                <a:gd name="connsiteX4" fmla="*/ 79628 w 106088"/>
                <a:gd name="connsiteY4" fmla="*/ 83286 h 91700"/>
                <a:gd name="connsiteX5" fmla="*/ 81457 w 106088"/>
                <a:gd name="connsiteY5" fmla="*/ 83286 h 91700"/>
                <a:gd name="connsiteX6" fmla="*/ 96943 w 106088"/>
                <a:gd name="connsiteY6" fmla="*/ 87067 h 91700"/>
                <a:gd name="connsiteX7" fmla="*/ 106089 w 106088"/>
                <a:gd name="connsiteY7" fmla="*/ 89139 h 91700"/>
                <a:gd name="connsiteX8" fmla="*/ 106089 w 106088"/>
                <a:gd name="connsiteY8" fmla="*/ 81945 h 91700"/>
                <a:gd name="connsiteX9" fmla="*/ 95480 w 106088"/>
                <a:gd name="connsiteY9" fmla="*/ 73775 h 91700"/>
                <a:gd name="connsiteX10" fmla="*/ 93529 w 106088"/>
                <a:gd name="connsiteY10" fmla="*/ 72311 h 91700"/>
                <a:gd name="connsiteX11" fmla="*/ 93529 w 106088"/>
                <a:gd name="connsiteY11" fmla="*/ 69873 h 91700"/>
                <a:gd name="connsiteX12" fmla="*/ 89627 w 106088"/>
                <a:gd name="connsiteY12" fmla="*/ 40973 h 91700"/>
                <a:gd name="connsiteX13" fmla="*/ 88286 w 106088"/>
                <a:gd name="connsiteY13" fmla="*/ 39875 h 91700"/>
                <a:gd name="connsiteX14" fmla="*/ 69629 w 106088"/>
                <a:gd name="connsiteY14" fmla="*/ 23657 h 91700"/>
                <a:gd name="connsiteX15" fmla="*/ 69629 w 106088"/>
                <a:gd name="connsiteY15" fmla="*/ 23657 h 91700"/>
                <a:gd name="connsiteX16" fmla="*/ 69629 w 106088"/>
                <a:gd name="connsiteY16" fmla="*/ 23657 h 91700"/>
                <a:gd name="connsiteX17" fmla="*/ 61458 w 106088"/>
                <a:gd name="connsiteY17" fmla="*/ 12804 h 91700"/>
                <a:gd name="connsiteX18" fmla="*/ 52923 w 106088"/>
                <a:gd name="connsiteY18" fmla="*/ 5975 h 91700"/>
                <a:gd name="connsiteX19" fmla="*/ 47557 w 106088"/>
                <a:gd name="connsiteY19" fmla="*/ 2561 h 91700"/>
                <a:gd name="connsiteX20" fmla="*/ 26827 w 106088"/>
                <a:gd name="connsiteY20" fmla="*/ 0 h 91700"/>
                <a:gd name="connsiteX21" fmla="*/ 17438 w 106088"/>
                <a:gd name="connsiteY21" fmla="*/ 3780 h 91700"/>
                <a:gd name="connsiteX22" fmla="*/ 13047 w 106088"/>
                <a:gd name="connsiteY22" fmla="*/ 5488 h 91700"/>
                <a:gd name="connsiteX23" fmla="*/ 12316 w 106088"/>
                <a:gd name="connsiteY23" fmla="*/ 8414 h 91700"/>
                <a:gd name="connsiteX24" fmla="*/ 6707 w 106088"/>
                <a:gd name="connsiteY24" fmla="*/ 28169 h 91700"/>
                <a:gd name="connsiteX25" fmla="*/ 0 w 106088"/>
                <a:gd name="connsiteY25" fmla="*/ 40363 h 91700"/>
                <a:gd name="connsiteX26" fmla="*/ 2683 w 106088"/>
                <a:gd name="connsiteY26" fmla="*/ 53533 h 91700"/>
                <a:gd name="connsiteX27" fmla="*/ 5487 w 106088"/>
                <a:gd name="connsiteY27" fmla="*/ 58532 h 91700"/>
                <a:gd name="connsiteX28" fmla="*/ 8170 w 106088"/>
                <a:gd name="connsiteY28" fmla="*/ 58532 h 91700"/>
                <a:gd name="connsiteX29" fmla="*/ 41460 w 106088"/>
                <a:gd name="connsiteY29" fmla="*/ 55971 h 91700"/>
                <a:gd name="connsiteX30" fmla="*/ 42435 w 106088"/>
                <a:gd name="connsiteY30" fmla="*/ 55971 h 91700"/>
                <a:gd name="connsiteX31" fmla="*/ 43411 w 106088"/>
                <a:gd name="connsiteY31" fmla="*/ 55971 h 91700"/>
                <a:gd name="connsiteX32" fmla="*/ 59386 w 106088"/>
                <a:gd name="connsiteY32" fmla="*/ 59995 h 91700"/>
                <a:gd name="connsiteX33" fmla="*/ 61580 w 106088"/>
                <a:gd name="connsiteY33" fmla="*/ 60605 h 91700"/>
                <a:gd name="connsiteX34" fmla="*/ 62800 w 106088"/>
                <a:gd name="connsiteY34" fmla="*/ 62434 h 91700"/>
                <a:gd name="connsiteX35" fmla="*/ 68043 w 106088"/>
                <a:gd name="connsiteY35" fmla="*/ 69629 h 91700"/>
                <a:gd name="connsiteX36" fmla="*/ 72189 w 106088"/>
                <a:gd name="connsiteY36" fmla="*/ 75482 h 91700"/>
                <a:gd name="connsiteX37" fmla="*/ 65848 w 106088"/>
                <a:gd name="connsiteY37" fmla="*/ 78653 h 91700"/>
                <a:gd name="connsiteX38" fmla="*/ 60117 w 106088"/>
                <a:gd name="connsiteY38" fmla="*/ 81457 h 91700"/>
                <a:gd name="connsiteX39" fmla="*/ 58288 w 106088"/>
                <a:gd name="connsiteY39" fmla="*/ 82433 h 91700"/>
                <a:gd name="connsiteX40" fmla="*/ 56215 w 106088"/>
                <a:gd name="connsiteY40" fmla="*/ 82433 h 91700"/>
                <a:gd name="connsiteX41" fmla="*/ 37680 w 106088"/>
                <a:gd name="connsiteY41" fmla="*/ 78531 h 91700"/>
                <a:gd name="connsiteX42" fmla="*/ 8292 w 106088"/>
                <a:gd name="connsiteY42" fmla="*/ 81213 h 91700"/>
                <a:gd name="connsiteX43" fmla="*/ 5975 w 106088"/>
                <a:gd name="connsiteY43" fmla="*/ 81213 h 91700"/>
                <a:gd name="connsiteX44" fmla="*/ 4390 w 106088"/>
                <a:gd name="connsiteY44" fmla="*/ 86701 h 91700"/>
                <a:gd name="connsiteX45" fmla="*/ 8536 w 106088"/>
                <a:gd name="connsiteY45" fmla="*/ 91700 h 91700"/>
                <a:gd name="connsiteX46" fmla="*/ 13170 w 106088"/>
                <a:gd name="connsiteY46" fmla="*/ 90115 h 91700"/>
                <a:gd name="connsiteX47" fmla="*/ 31461 w 106088"/>
                <a:gd name="connsiteY47" fmla="*/ 83530 h 91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6088" h="91700">
                  <a:moveTo>
                    <a:pt x="31583" y="82067"/>
                  </a:moveTo>
                  <a:lnTo>
                    <a:pt x="32924" y="82067"/>
                  </a:lnTo>
                  <a:lnTo>
                    <a:pt x="60117" y="84628"/>
                  </a:lnTo>
                  <a:lnTo>
                    <a:pt x="63288" y="84628"/>
                  </a:lnTo>
                  <a:lnTo>
                    <a:pt x="79628" y="83286"/>
                  </a:lnTo>
                  <a:lnTo>
                    <a:pt x="81457" y="83286"/>
                  </a:lnTo>
                  <a:lnTo>
                    <a:pt x="96943" y="87067"/>
                  </a:lnTo>
                  <a:lnTo>
                    <a:pt x="106089" y="89139"/>
                  </a:lnTo>
                  <a:lnTo>
                    <a:pt x="106089" y="81945"/>
                  </a:lnTo>
                  <a:lnTo>
                    <a:pt x="95480" y="73775"/>
                  </a:lnTo>
                  <a:lnTo>
                    <a:pt x="93529" y="72311"/>
                  </a:lnTo>
                  <a:lnTo>
                    <a:pt x="93529" y="69873"/>
                  </a:lnTo>
                  <a:lnTo>
                    <a:pt x="89627" y="40973"/>
                  </a:lnTo>
                  <a:lnTo>
                    <a:pt x="88286" y="39875"/>
                  </a:lnTo>
                  <a:lnTo>
                    <a:pt x="69629" y="23657"/>
                  </a:lnTo>
                  <a:lnTo>
                    <a:pt x="69629" y="23657"/>
                  </a:lnTo>
                  <a:lnTo>
                    <a:pt x="69629" y="23657"/>
                  </a:lnTo>
                  <a:lnTo>
                    <a:pt x="61458" y="12804"/>
                  </a:lnTo>
                  <a:cubicBezTo>
                    <a:pt x="60239" y="11829"/>
                    <a:pt x="56581" y="8658"/>
                    <a:pt x="52923" y="5975"/>
                  </a:cubicBezTo>
                  <a:cubicBezTo>
                    <a:pt x="51226" y="4699"/>
                    <a:pt x="49432" y="3557"/>
                    <a:pt x="47557" y="2561"/>
                  </a:cubicBezTo>
                  <a:cubicBezTo>
                    <a:pt x="40705" y="1293"/>
                    <a:pt x="33782" y="438"/>
                    <a:pt x="26827" y="0"/>
                  </a:cubicBezTo>
                  <a:lnTo>
                    <a:pt x="17438" y="3780"/>
                  </a:lnTo>
                  <a:lnTo>
                    <a:pt x="13047" y="5488"/>
                  </a:lnTo>
                  <a:lnTo>
                    <a:pt x="12316" y="8414"/>
                  </a:lnTo>
                  <a:lnTo>
                    <a:pt x="6707" y="28169"/>
                  </a:lnTo>
                  <a:lnTo>
                    <a:pt x="0" y="40363"/>
                  </a:lnTo>
                  <a:lnTo>
                    <a:pt x="2683" y="53533"/>
                  </a:lnTo>
                  <a:lnTo>
                    <a:pt x="5487" y="58532"/>
                  </a:lnTo>
                  <a:lnTo>
                    <a:pt x="8170" y="58532"/>
                  </a:lnTo>
                  <a:lnTo>
                    <a:pt x="41460" y="55971"/>
                  </a:lnTo>
                  <a:lnTo>
                    <a:pt x="42435" y="55971"/>
                  </a:lnTo>
                  <a:lnTo>
                    <a:pt x="43411" y="55971"/>
                  </a:lnTo>
                  <a:lnTo>
                    <a:pt x="59386" y="59995"/>
                  </a:lnTo>
                  <a:lnTo>
                    <a:pt x="61580" y="60605"/>
                  </a:lnTo>
                  <a:lnTo>
                    <a:pt x="62800" y="62434"/>
                  </a:lnTo>
                  <a:lnTo>
                    <a:pt x="68043" y="69629"/>
                  </a:lnTo>
                  <a:lnTo>
                    <a:pt x="72189" y="75482"/>
                  </a:lnTo>
                  <a:lnTo>
                    <a:pt x="65848" y="78653"/>
                  </a:lnTo>
                  <a:lnTo>
                    <a:pt x="60117" y="81457"/>
                  </a:lnTo>
                  <a:lnTo>
                    <a:pt x="58288" y="82433"/>
                  </a:lnTo>
                  <a:lnTo>
                    <a:pt x="56215" y="82433"/>
                  </a:lnTo>
                  <a:lnTo>
                    <a:pt x="37680" y="78531"/>
                  </a:lnTo>
                  <a:lnTo>
                    <a:pt x="8292" y="81213"/>
                  </a:lnTo>
                  <a:lnTo>
                    <a:pt x="5975" y="81213"/>
                  </a:lnTo>
                  <a:lnTo>
                    <a:pt x="4390" y="86701"/>
                  </a:lnTo>
                  <a:lnTo>
                    <a:pt x="8536" y="91700"/>
                  </a:lnTo>
                  <a:lnTo>
                    <a:pt x="13170" y="90115"/>
                  </a:lnTo>
                  <a:lnTo>
                    <a:pt x="31461" y="8353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3" name="Freihandform: Form 432">
              <a:extLst>
                <a:ext uri="{FF2B5EF4-FFF2-40B4-BE49-F238E27FC236}">
                  <a16:creationId xmlns:a16="http://schemas.microsoft.com/office/drawing/2014/main" id="{32C30FCD-1555-4DC6-8C11-D0744DC6CDEB}"/>
                </a:ext>
              </a:extLst>
            </p:cNvPr>
            <p:cNvSpPr/>
            <p:nvPr/>
          </p:nvSpPr>
          <p:spPr>
            <a:xfrm>
              <a:off x="4088379" y="2882726"/>
              <a:ext cx="234371" cy="249614"/>
            </a:xfrm>
            <a:custGeom>
              <a:avLst/>
              <a:gdLst>
                <a:gd name="connsiteX0" fmla="*/ 6097 w 234371"/>
                <a:gd name="connsiteY0" fmla="*/ 135477 h 249614"/>
                <a:gd name="connsiteX1" fmla="*/ 13536 w 234371"/>
                <a:gd name="connsiteY1" fmla="*/ 150476 h 249614"/>
                <a:gd name="connsiteX2" fmla="*/ 12194 w 234371"/>
                <a:gd name="connsiteY2" fmla="*/ 164865 h 249614"/>
                <a:gd name="connsiteX3" fmla="*/ 20608 w 234371"/>
                <a:gd name="connsiteY3" fmla="*/ 193399 h 249614"/>
                <a:gd name="connsiteX4" fmla="*/ 20608 w 234371"/>
                <a:gd name="connsiteY4" fmla="*/ 199618 h 249614"/>
                <a:gd name="connsiteX5" fmla="*/ 16828 w 234371"/>
                <a:gd name="connsiteY5" fmla="*/ 213154 h 249614"/>
                <a:gd name="connsiteX6" fmla="*/ 25242 w 234371"/>
                <a:gd name="connsiteY6" fmla="*/ 209740 h 249614"/>
                <a:gd name="connsiteX7" fmla="*/ 26583 w 234371"/>
                <a:gd name="connsiteY7" fmla="*/ 209740 h 249614"/>
                <a:gd name="connsiteX8" fmla="*/ 27925 w 234371"/>
                <a:gd name="connsiteY8" fmla="*/ 209740 h 249614"/>
                <a:gd name="connsiteX9" fmla="*/ 51094 w 234371"/>
                <a:gd name="connsiteY9" fmla="*/ 212666 h 249614"/>
                <a:gd name="connsiteX10" fmla="*/ 58654 w 234371"/>
                <a:gd name="connsiteY10" fmla="*/ 217178 h 249614"/>
                <a:gd name="connsiteX11" fmla="*/ 67922 w 234371"/>
                <a:gd name="connsiteY11" fmla="*/ 224616 h 249614"/>
                <a:gd name="connsiteX12" fmla="*/ 67922 w 234371"/>
                <a:gd name="connsiteY12" fmla="*/ 224616 h 249614"/>
                <a:gd name="connsiteX13" fmla="*/ 67922 w 234371"/>
                <a:gd name="connsiteY13" fmla="*/ 224616 h 249614"/>
                <a:gd name="connsiteX14" fmla="*/ 75848 w 234371"/>
                <a:gd name="connsiteY14" fmla="*/ 235225 h 249614"/>
                <a:gd name="connsiteX15" fmla="*/ 92310 w 234371"/>
                <a:gd name="connsiteY15" fmla="*/ 249614 h 249614"/>
                <a:gd name="connsiteX16" fmla="*/ 94383 w 234371"/>
                <a:gd name="connsiteY16" fmla="*/ 242542 h 249614"/>
                <a:gd name="connsiteX17" fmla="*/ 95480 w 234371"/>
                <a:gd name="connsiteY17" fmla="*/ 238884 h 249614"/>
                <a:gd name="connsiteX18" fmla="*/ 99261 w 234371"/>
                <a:gd name="connsiteY18" fmla="*/ 238274 h 249614"/>
                <a:gd name="connsiteX19" fmla="*/ 105358 w 234371"/>
                <a:gd name="connsiteY19" fmla="*/ 237298 h 249614"/>
                <a:gd name="connsiteX20" fmla="*/ 108650 w 234371"/>
                <a:gd name="connsiteY20" fmla="*/ 236689 h 249614"/>
                <a:gd name="connsiteX21" fmla="*/ 110967 w 234371"/>
                <a:gd name="connsiteY21" fmla="*/ 239371 h 249614"/>
                <a:gd name="connsiteX22" fmla="*/ 116210 w 234371"/>
                <a:gd name="connsiteY22" fmla="*/ 245468 h 249614"/>
                <a:gd name="connsiteX23" fmla="*/ 123893 w 234371"/>
                <a:gd name="connsiteY23" fmla="*/ 239737 h 249614"/>
                <a:gd name="connsiteX24" fmla="*/ 125844 w 234371"/>
                <a:gd name="connsiteY24" fmla="*/ 238274 h 249614"/>
                <a:gd name="connsiteX25" fmla="*/ 128161 w 234371"/>
                <a:gd name="connsiteY25" fmla="*/ 238274 h 249614"/>
                <a:gd name="connsiteX26" fmla="*/ 140355 w 234371"/>
                <a:gd name="connsiteY26" fmla="*/ 239493 h 249614"/>
                <a:gd name="connsiteX27" fmla="*/ 145355 w 234371"/>
                <a:gd name="connsiteY27" fmla="*/ 236201 h 249614"/>
                <a:gd name="connsiteX28" fmla="*/ 146452 w 234371"/>
                <a:gd name="connsiteY28" fmla="*/ 235469 h 249614"/>
                <a:gd name="connsiteX29" fmla="*/ 150110 w 234371"/>
                <a:gd name="connsiteY29" fmla="*/ 233030 h 249614"/>
                <a:gd name="connsiteX30" fmla="*/ 153524 w 234371"/>
                <a:gd name="connsiteY30" fmla="*/ 235591 h 249614"/>
                <a:gd name="connsiteX31" fmla="*/ 156939 w 234371"/>
                <a:gd name="connsiteY31" fmla="*/ 238152 h 249614"/>
                <a:gd name="connsiteX32" fmla="*/ 222056 w 234371"/>
                <a:gd name="connsiteY32" fmla="*/ 236933 h 249614"/>
                <a:gd name="connsiteX33" fmla="*/ 198765 w 234371"/>
                <a:gd name="connsiteY33" fmla="*/ 52557 h 249614"/>
                <a:gd name="connsiteX34" fmla="*/ 197911 w 234371"/>
                <a:gd name="connsiteY34" fmla="*/ 45850 h 249614"/>
                <a:gd name="connsiteX35" fmla="*/ 204740 w 234371"/>
                <a:gd name="connsiteY35" fmla="*/ 45850 h 249614"/>
                <a:gd name="connsiteX36" fmla="*/ 234372 w 234371"/>
                <a:gd name="connsiteY36" fmla="*/ 45850 h 249614"/>
                <a:gd name="connsiteX37" fmla="*/ 171450 w 234371"/>
                <a:gd name="connsiteY37" fmla="*/ 0 h 249614"/>
                <a:gd name="connsiteX38" fmla="*/ 171450 w 234371"/>
                <a:gd name="connsiteY38" fmla="*/ 3049 h 249614"/>
                <a:gd name="connsiteX39" fmla="*/ 169255 w 234371"/>
                <a:gd name="connsiteY39" fmla="*/ 19876 h 249614"/>
                <a:gd name="connsiteX40" fmla="*/ 168523 w 234371"/>
                <a:gd name="connsiteY40" fmla="*/ 25120 h 249614"/>
                <a:gd name="connsiteX41" fmla="*/ 103041 w 234371"/>
                <a:gd name="connsiteY41" fmla="*/ 25120 h 249614"/>
                <a:gd name="connsiteX42" fmla="*/ 104992 w 234371"/>
                <a:gd name="connsiteY42" fmla="*/ 63653 h 249614"/>
                <a:gd name="connsiteX43" fmla="*/ 105601 w 234371"/>
                <a:gd name="connsiteY43" fmla="*/ 75848 h 249614"/>
                <a:gd name="connsiteX44" fmla="*/ 105601 w 234371"/>
                <a:gd name="connsiteY44" fmla="*/ 81945 h 249614"/>
                <a:gd name="connsiteX45" fmla="*/ 99626 w 234371"/>
                <a:gd name="connsiteY45" fmla="*/ 81945 h 249614"/>
                <a:gd name="connsiteX46" fmla="*/ 87432 w 234371"/>
                <a:gd name="connsiteY46" fmla="*/ 82676 h 249614"/>
                <a:gd name="connsiteX47" fmla="*/ 86213 w 234371"/>
                <a:gd name="connsiteY47" fmla="*/ 85725 h 249614"/>
                <a:gd name="connsiteX48" fmla="*/ 81091 w 234371"/>
                <a:gd name="connsiteY48" fmla="*/ 97919 h 249614"/>
                <a:gd name="connsiteX49" fmla="*/ 81823 w 234371"/>
                <a:gd name="connsiteY49" fmla="*/ 114747 h 249614"/>
                <a:gd name="connsiteX50" fmla="*/ 81823 w 234371"/>
                <a:gd name="connsiteY50" fmla="*/ 120356 h 249614"/>
                <a:gd name="connsiteX51" fmla="*/ 81823 w 234371"/>
                <a:gd name="connsiteY51" fmla="*/ 126697 h 249614"/>
                <a:gd name="connsiteX52" fmla="*/ 0 w 234371"/>
                <a:gd name="connsiteY52" fmla="*/ 126697 h 249614"/>
                <a:gd name="connsiteX53" fmla="*/ 1585 w 234371"/>
                <a:gd name="connsiteY53" fmla="*/ 130599 h 24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34371" h="249614">
                  <a:moveTo>
                    <a:pt x="6097" y="135477"/>
                  </a:moveTo>
                  <a:lnTo>
                    <a:pt x="13536" y="150476"/>
                  </a:lnTo>
                  <a:lnTo>
                    <a:pt x="12194" y="164865"/>
                  </a:lnTo>
                  <a:lnTo>
                    <a:pt x="20608" y="193399"/>
                  </a:lnTo>
                  <a:lnTo>
                    <a:pt x="20608" y="199618"/>
                  </a:lnTo>
                  <a:lnTo>
                    <a:pt x="16828" y="213154"/>
                  </a:lnTo>
                  <a:lnTo>
                    <a:pt x="25242" y="209740"/>
                  </a:lnTo>
                  <a:lnTo>
                    <a:pt x="26583" y="209740"/>
                  </a:lnTo>
                  <a:lnTo>
                    <a:pt x="27925" y="209740"/>
                  </a:lnTo>
                  <a:cubicBezTo>
                    <a:pt x="35702" y="210227"/>
                    <a:pt x="43440" y="211204"/>
                    <a:pt x="51094" y="212666"/>
                  </a:cubicBezTo>
                  <a:cubicBezTo>
                    <a:pt x="53801" y="213831"/>
                    <a:pt x="56343" y="215348"/>
                    <a:pt x="58654" y="217178"/>
                  </a:cubicBezTo>
                  <a:cubicBezTo>
                    <a:pt x="61947" y="219617"/>
                    <a:pt x="65605" y="222665"/>
                    <a:pt x="67922" y="224616"/>
                  </a:cubicBezTo>
                  <a:lnTo>
                    <a:pt x="67922" y="224616"/>
                  </a:lnTo>
                  <a:lnTo>
                    <a:pt x="67922" y="224616"/>
                  </a:lnTo>
                  <a:lnTo>
                    <a:pt x="75848" y="235225"/>
                  </a:lnTo>
                  <a:lnTo>
                    <a:pt x="92310" y="249614"/>
                  </a:lnTo>
                  <a:lnTo>
                    <a:pt x="94383" y="242542"/>
                  </a:lnTo>
                  <a:lnTo>
                    <a:pt x="95480" y="238884"/>
                  </a:lnTo>
                  <a:lnTo>
                    <a:pt x="99261" y="238274"/>
                  </a:lnTo>
                  <a:lnTo>
                    <a:pt x="105358" y="237298"/>
                  </a:lnTo>
                  <a:lnTo>
                    <a:pt x="108650" y="236689"/>
                  </a:lnTo>
                  <a:lnTo>
                    <a:pt x="110967" y="239371"/>
                  </a:lnTo>
                  <a:lnTo>
                    <a:pt x="116210" y="245468"/>
                  </a:lnTo>
                  <a:lnTo>
                    <a:pt x="123893" y="239737"/>
                  </a:lnTo>
                  <a:lnTo>
                    <a:pt x="125844" y="238274"/>
                  </a:lnTo>
                  <a:lnTo>
                    <a:pt x="128161" y="238274"/>
                  </a:lnTo>
                  <a:lnTo>
                    <a:pt x="140355" y="239493"/>
                  </a:lnTo>
                  <a:lnTo>
                    <a:pt x="145355" y="236201"/>
                  </a:lnTo>
                  <a:lnTo>
                    <a:pt x="146452" y="235469"/>
                  </a:lnTo>
                  <a:lnTo>
                    <a:pt x="150110" y="233030"/>
                  </a:lnTo>
                  <a:lnTo>
                    <a:pt x="153524" y="235591"/>
                  </a:lnTo>
                  <a:lnTo>
                    <a:pt x="156939" y="238152"/>
                  </a:lnTo>
                  <a:lnTo>
                    <a:pt x="222056" y="236933"/>
                  </a:lnTo>
                  <a:lnTo>
                    <a:pt x="198765" y="52557"/>
                  </a:lnTo>
                  <a:lnTo>
                    <a:pt x="197911" y="45850"/>
                  </a:lnTo>
                  <a:lnTo>
                    <a:pt x="204740" y="45850"/>
                  </a:lnTo>
                  <a:lnTo>
                    <a:pt x="234372" y="45850"/>
                  </a:lnTo>
                  <a:lnTo>
                    <a:pt x="171450" y="0"/>
                  </a:lnTo>
                  <a:lnTo>
                    <a:pt x="171450" y="3049"/>
                  </a:lnTo>
                  <a:lnTo>
                    <a:pt x="169255" y="19876"/>
                  </a:lnTo>
                  <a:lnTo>
                    <a:pt x="168523" y="25120"/>
                  </a:lnTo>
                  <a:lnTo>
                    <a:pt x="103041" y="25120"/>
                  </a:lnTo>
                  <a:lnTo>
                    <a:pt x="104992" y="63653"/>
                  </a:lnTo>
                  <a:lnTo>
                    <a:pt x="105601" y="75848"/>
                  </a:lnTo>
                  <a:lnTo>
                    <a:pt x="105601" y="81945"/>
                  </a:lnTo>
                  <a:lnTo>
                    <a:pt x="99626" y="81945"/>
                  </a:lnTo>
                  <a:lnTo>
                    <a:pt x="87432" y="82676"/>
                  </a:lnTo>
                  <a:lnTo>
                    <a:pt x="86213" y="85725"/>
                  </a:lnTo>
                  <a:lnTo>
                    <a:pt x="81091" y="97919"/>
                  </a:lnTo>
                  <a:lnTo>
                    <a:pt x="81823" y="114747"/>
                  </a:lnTo>
                  <a:lnTo>
                    <a:pt x="81823" y="120356"/>
                  </a:lnTo>
                  <a:lnTo>
                    <a:pt x="81823" y="126697"/>
                  </a:lnTo>
                  <a:lnTo>
                    <a:pt x="0" y="126697"/>
                  </a:lnTo>
                  <a:lnTo>
                    <a:pt x="1585" y="13059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4" name="Freihandform: Form 433">
              <a:extLst>
                <a:ext uri="{FF2B5EF4-FFF2-40B4-BE49-F238E27FC236}">
                  <a16:creationId xmlns:a16="http://schemas.microsoft.com/office/drawing/2014/main" id="{C4EC3DC6-47BD-4EA2-B438-D977A5A32A38}"/>
                </a:ext>
              </a:extLst>
            </p:cNvPr>
            <p:cNvSpPr/>
            <p:nvPr/>
          </p:nvSpPr>
          <p:spPr>
            <a:xfrm>
              <a:off x="4323848" y="3138316"/>
              <a:ext cx="145232" cy="104260"/>
            </a:xfrm>
            <a:custGeom>
              <a:avLst/>
              <a:gdLst>
                <a:gd name="connsiteX0" fmla="*/ 19754 w 145232"/>
                <a:gd name="connsiteY0" fmla="*/ 98041 h 104260"/>
                <a:gd name="connsiteX1" fmla="*/ 21340 w 145232"/>
                <a:gd name="connsiteY1" fmla="*/ 96822 h 104260"/>
                <a:gd name="connsiteX2" fmla="*/ 23413 w 145232"/>
                <a:gd name="connsiteY2" fmla="*/ 96822 h 104260"/>
                <a:gd name="connsiteX3" fmla="*/ 41216 w 145232"/>
                <a:gd name="connsiteY3" fmla="*/ 96822 h 104260"/>
                <a:gd name="connsiteX4" fmla="*/ 49752 w 145232"/>
                <a:gd name="connsiteY4" fmla="*/ 73653 h 104260"/>
                <a:gd name="connsiteX5" fmla="*/ 50972 w 145232"/>
                <a:gd name="connsiteY5" fmla="*/ 70482 h 104260"/>
                <a:gd name="connsiteX6" fmla="*/ 54142 w 145232"/>
                <a:gd name="connsiteY6" fmla="*/ 69751 h 104260"/>
                <a:gd name="connsiteX7" fmla="*/ 65239 w 145232"/>
                <a:gd name="connsiteY7" fmla="*/ 67312 h 104260"/>
                <a:gd name="connsiteX8" fmla="*/ 67068 w 145232"/>
                <a:gd name="connsiteY8" fmla="*/ 66946 h 104260"/>
                <a:gd name="connsiteX9" fmla="*/ 68775 w 145232"/>
                <a:gd name="connsiteY9" fmla="*/ 67678 h 104260"/>
                <a:gd name="connsiteX10" fmla="*/ 70361 w 145232"/>
                <a:gd name="connsiteY10" fmla="*/ 68287 h 104260"/>
                <a:gd name="connsiteX11" fmla="*/ 81335 w 145232"/>
                <a:gd name="connsiteY11" fmla="*/ 72677 h 104260"/>
                <a:gd name="connsiteX12" fmla="*/ 89749 w 145232"/>
                <a:gd name="connsiteY12" fmla="*/ 71458 h 104260"/>
                <a:gd name="connsiteX13" fmla="*/ 91212 w 145232"/>
                <a:gd name="connsiteY13" fmla="*/ 71214 h 104260"/>
                <a:gd name="connsiteX14" fmla="*/ 92554 w 145232"/>
                <a:gd name="connsiteY14" fmla="*/ 71702 h 104260"/>
                <a:gd name="connsiteX15" fmla="*/ 99382 w 145232"/>
                <a:gd name="connsiteY15" fmla="*/ 74019 h 104260"/>
                <a:gd name="connsiteX16" fmla="*/ 99382 w 145232"/>
                <a:gd name="connsiteY16" fmla="*/ 74019 h 104260"/>
                <a:gd name="connsiteX17" fmla="*/ 107796 w 145232"/>
                <a:gd name="connsiteY17" fmla="*/ 76823 h 104260"/>
                <a:gd name="connsiteX18" fmla="*/ 115967 w 145232"/>
                <a:gd name="connsiteY18" fmla="*/ 79506 h 104260"/>
                <a:gd name="connsiteX19" fmla="*/ 145233 w 145232"/>
                <a:gd name="connsiteY19" fmla="*/ 63654 h 104260"/>
                <a:gd name="connsiteX20" fmla="*/ 143891 w 145232"/>
                <a:gd name="connsiteY20" fmla="*/ 60727 h 104260"/>
                <a:gd name="connsiteX21" fmla="*/ 141452 w 145232"/>
                <a:gd name="connsiteY21" fmla="*/ 55240 h 104260"/>
                <a:gd name="connsiteX22" fmla="*/ 125966 w 145232"/>
                <a:gd name="connsiteY22" fmla="*/ 43533 h 104260"/>
                <a:gd name="connsiteX23" fmla="*/ 124015 w 145232"/>
                <a:gd name="connsiteY23" fmla="*/ 42192 h 104260"/>
                <a:gd name="connsiteX24" fmla="*/ 123649 w 145232"/>
                <a:gd name="connsiteY24" fmla="*/ 39875 h 104260"/>
                <a:gd name="connsiteX25" fmla="*/ 121576 w 145232"/>
                <a:gd name="connsiteY25" fmla="*/ 29754 h 104260"/>
                <a:gd name="connsiteX26" fmla="*/ 113162 w 145232"/>
                <a:gd name="connsiteY26" fmla="*/ 29754 h 104260"/>
                <a:gd name="connsiteX27" fmla="*/ 111211 w 145232"/>
                <a:gd name="connsiteY27" fmla="*/ 27559 h 104260"/>
                <a:gd name="connsiteX28" fmla="*/ 103772 w 145232"/>
                <a:gd name="connsiteY28" fmla="*/ 18901 h 104260"/>
                <a:gd name="connsiteX29" fmla="*/ 102553 w 145232"/>
                <a:gd name="connsiteY29" fmla="*/ 17438 h 104260"/>
                <a:gd name="connsiteX30" fmla="*/ 102431 w 145232"/>
                <a:gd name="connsiteY30" fmla="*/ 15609 h 104260"/>
                <a:gd name="connsiteX31" fmla="*/ 102187 w 145232"/>
                <a:gd name="connsiteY31" fmla="*/ 13779 h 104260"/>
                <a:gd name="connsiteX32" fmla="*/ 101212 w 145232"/>
                <a:gd name="connsiteY32" fmla="*/ 4268 h 104260"/>
                <a:gd name="connsiteX33" fmla="*/ 101212 w 145232"/>
                <a:gd name="connsiteY33" fmla="*/ 3414 h 104260"/>
                <a:gd name="connsiteX34" fmla="*/ 97797 w 145232"/>
                <a:gd name="connsiteY34" fmla="*/ 0 h 104260"/>
                <a:gd name="connsiteX35" fmla="*/ 95602 w 145232"/>
                <a:gd name="connsiteY35" fmla="*/ 244 h 104260"/>
                <a:gd name="connsiteX36" fmla="*/ 78896 w 145232"/>
                <a:gd name="connsiteY36" fmla="*/ 1219 h 104260"/>
                <a:gd name="connsiteX37" fmla="*/ 72799 w 145232"/>
                <a:gd name="connsiteY37" fmla="*/ 10365 h 104260"/>
                <a:gd name="connsiteX38" fmla="*/ 72068 w 145232"/>
                <a:gd name="connsiteY38" fmla="*/ 11463 h 104260"/>
                <a:gd name="connsiteX39" fmla="*/ 70238 w 145232"/>
                <a:gd name="connsiteY39" fmla="*/ 14145 h 104260"/>
                <a:gd name="connsiteX40" fmla="*/ 60117 w 145232"/>
                <a:gd name="connsiteY40" fmla="*/ 14145 h 104260"/>
                <a:gd name="connsiteX41" fmla="*/ 43777 w 145232"/>
                <a:gd name="connsiteY41" fmla="*/ 35607 h 104260"/>
                <a:gd name="connsiteX42" fmla="*/ 41460 w 145232"/>
                <a:gd name="connsiteY42" fmla="*/ 38655 h 104260"/>
                <a:gd name="connsiteX43" fmla="*/ 37680 w 145232"/>
                <a:gd name="connsiteY43" fmla="*/ 37924 h 104260"/>
                <a:gd name="connsiteX44" fmla="*/ 28168 w 145232"/>
                <a:gd name="connsiteY44" fmla="*/ 35973 h 104260"/>
                <a:gd name="connsiteX45" fmla="*/ 26705 w 145232"/>
                <a:gd name="connsiteY45" fmla="*/ 40607 h 104260"/>
                <a:gd name="connsiteX46" fmla="*/ 26217 w 145232"/>
                <a:gd name="connsiteY46" fmla="*/ 42192 h 104260"/>
                <a:gd name="connsiteX47" fmla="*/ 24998 w 145232"/>
                <a:gd name="connsiteY47" fmla="*/ 43167 h 104260"/>
                <a:gd name="connsiteX48" fmla="*/ 8536 w 145232"/>
                <a:gd name="connsiteY48" fmla="*/ 58410 h 104260"/>
                <a:gd name="connsiteX49" fmla="*/ 9511 w 145232"/>
                <a:gd name="connsiteY49" fmla="*/ 64873 h 104260"/>
                <a:gd name="connsiteX50" fmla="*/ 9999 w 145232"/>
                <a:gd name="connsiteY50" fmla="*/ 68897 h 104260"/>
                <a:gd name="connsiteX51" fmla="*/ 6585 w 145232"/>
                <a:gd name="connsiteY51" fmla="*/ 70970 h 104260"/>
                <a:gd name="connsiteX52" fmla="*/ 3171 w 145232"/>
                <a:gd name="connsiteY52" fmla="*/ 73043 h 104260"/>
                <a:gd name="connsiteX53" fmla="*/ 2317 w 145232"/>
                <a:gd name="connsiteY53" fmla="*/ 73531 h 104260"/>
                <a:gd name="connsiteX54" fmla="*/ 0 w 145232"/>
                <a:gd name="connsiteY54" fmla="*/ 93529 h 104260"/>
                <a:gd name="connsiteX55" fmla="*/ 0 w 145232"/>
                <a:gd name="connsiteY55" fmla="*/ 93651 h 104260"/>
                <a:gd name="connsiteX56" fmla="*/ 11585 w 145232"/>
                <a:gd name="connsiteY56" fmla="*/ 104260 h 104260"/>
                <a:gd name="connsiteX57" fmla="*/ 19754 w 145232"/>
                <a:gd name="connsiteY57" fmla="*/ 98041 h 10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45232" h="104260">
                  <a:moveTo>
                    <a:pt x="19754" y="98041"/>
                  </a:moveTo>
                  <a:lnTo>
                    <a:pt x="21340" y="96822"/>
                  </a:lnTo>
                  <a:lnTo>
                    <a:pt x="23413" y="96822"/>
                  </a:lnTo>
                  <a:lnTo>
                    <a:pt x="41216" y="96822"/>
                  </a:lnTo>
                  <a:lnTo>
                    <a:pt x="49752" y="73653"/>
                  </a:lnTo>
                  <a:lnTo>
                    <a:pt x="50972" y="70482"/>
                  </a:lnTo>
                  <a:lnTo>
                    <a:pt x="54142" y="69751"/>
                  </a:lnTo>
                  <a:lnTo>
                    <a:pt x="65239" y="67312"/>
                  </a:lnTo>
                  <a:lnTo>
                    <a:pt x="67068" y="66946"/>
                  </a:lnTo>
                  <a:lnTo>
                    <a:pt x="68775" y="67678"/>
                  </a:lnTo>
                  <a:lnTo>
                    <a:pt x="70361" y="68287"/>
                  </a:lnTo>
                  <a:lnTo>
                    <a:pt x="81335" y="72677"/>
                  </a:lnTo>
                  <a:lnTo>
                    <a:pt x="89749" y="71458"/>
                  </a:lnTo>
                  <a:lnTo>
                    <a:pt x="91212" y="71214"/>
                  </a:lnTo>
                  <a:lnTo>
                    <a:pt x="92554" y="71702"/>
                  </a:lnTo>
                  <a:lnTo>
                    <a:pt x="99382" y="74019"/>
                  </a:lnTo>
                  <a:lnTo>
                    <a:pt x="99382" y="74019"/>
                  </a:lnTo>
                  <a:lnTo>
                    <a:pt x="107796" y="76823"/>
                  </a:lnTo>
                  <a:lnTo>
                    <a:pt x="115967" y="79506"/>
                  </a:lnTo>
                  <a:lnTo>
                    <a:pt x="145233" y="63654"/>
                  </a:lnTo>
                  <a:lnTo>
                    <a:pt x="143891" y="60727"/>
                  </a:lnTo>
                  <a:lnTo>
                    <a:pt x="141452" y="55240"/>
                  </a:lnTo>
                  <a:lnTo>
                    <a:pt x="125966" y="43533"/>
                  </a:lnTo>
                  <a:lnTo>
                    <a:pt x="124015" y="42192"/>
                  </a:lnTo>
                  <a:lnTo>
                    <a:pt x="123649" y="39875"/>
                  </a:lnTo>
                  <a:lnTo>
                    <a:pt x="121576" y="29754"/>
                  </a:lnTo>
                  <a:lnTo>
                    <a:pt x="113162" y="29754"/>
                  </a:lnTo>
                  <a:lnTo>
                    <a:pt x="111211" y="27559"/>
                  </a:lnTo>
                  <a:lnTo>
                    <a:pt x="103772" y="18901"/>
                  </a:lnTo>
                  <a:lnTo>
                    <a:pt x="102553" y="17438"/>
                  </a:lnTo>
                  <a:lnTo>
                    <a:pt x="102431" y="15609"/>
                  </a:lnTo>
                  <a:lnTo>
                    <a:pt x="102187" y="13779"/>
                  </a:lnTo>
                  <a:lnTo>
                    <a:pt x="101212" y="4268"/>
                  </a:lnTo>
                  <a:lnTo>
                    <a:pt x="101212" y="3414"/>
                  </a:lnTo>
                  <a:lnTo>
                    <a:pt x="97797" y="0"/>
                  </a:lnTo>
                  <a:lnTo>
                    <a:pt x="95602" y="244"/>
                  </a:lnTo>
                  <a:lnTo>
                    <a:pt x="78896" y="1219"/>
                  </a:lnTo>
                  <a:lnTo>
                    <a:pt x="72799" y="10365"/>
                  </a:lnTo>
                  <a:lnTo>
                    <a:pt x="72068" y="11463"/>
                  </a:lnTo>
                  <a:lnTo>
                    <a:pt x="70238" y="14145"/>
                  </a:lnTo>
                  <a:lnTo>
                    <a:pt x="60117" y="14145"/>
                  </a:lnTo>
                  <a:lnTo>
                    <a:pt x="43777" y="35607"/>
                  </a:lnTo>
                  <a:lnTo>
                    <a:pt x="41460" y="38655"/>
                  </a:lnTo>
                  <a:lnTo>
                    <a:pt x="37680" y="37924"/>
                  </a:lnTo>
                  <a:lnTo>
                    <a:pt x="28168" y="35973"/>
                  </a:lnTo>
                  <a:lnTo>
                    <a:pt x="26705" y="40607"/>
                  </a:lnTo>
                  <a:lnTo>
                    <a:pt x="26217" y="42192"/>
                  </a:lnTo>
                  <a:lnTo>
                    <a:pt x="24998" y="43167"/>
                  </a:lnTo>
                  <a:lnTo>
                    <a:pt x="8536" y="58410"/>
                  </a:lnTo>
                  <a:lnTo>
                    <a:pt x="9511" y="64873"/>
                  </a:lnTo>
                  <a:lnTo>
                    <a:pt x="9999" y="68897"/>
                  </a:lnTo>
                  <a:lnTo>
                    <a:pt x="6585" y="70970"/>
                  </a:lnTo>
                  <a:lnTo>
                    <a:pt x="3171" y="73043"/>
                  </a:lnTo>
                  <a:lnTo>
                    <a:pt x="2317" y="73531"/>
                  </a:lnTo>
                  <a:lnTo>
                    <a:pt x="0" y="93529"/>
                  </a:lnTo>
                  <a:lnTo>
                    <a:pt x="0" y="93651"/>
                  </a:lnTo>
                  <a:lnTo>
                    <a:pt x="11585" y="104260"/>
                  </a:lnTo>
                  <a:lnTo>
                    <a:pt x="19754" y="980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5" name="Freihandform: Form 434">
              <a:extLst>
                <a:ext uri="{FF2B5EF4-FFF2-40B4-BE49-F238E27FC236}">
                  <a16:creationId xmlns:a16="http://schemas.microsoft.com/office/drawing/2014/main" id="{7BCEBD27-9882-40F9-A9B0-DC083FB80943}"/>
                </a:ext>
              </a:extLst>
            </p:cNvPr>
            <p:cNvSpPr/>
            <p:nvPr/>
          </p:nvSpPr>
          <p:spPr>
            <a:xfrm>
              <a:off x="4616020" y="2748468"/>
              <a:ext cx="305829" cy="280099"/>
            </a:xfrm>
            <a:custGeom>
              <a:avLst/>
              <a:gdLst>
                <a:gd name="connsiteX0" fmla="*/ 30607 w 305829"/>
                <a:gd name="connsiteY0" fmla="*/ 24388 h 280099"/>
                <a:gd name="connsiteX1" fmla="*/ 28778 w 305829"/>
                <a:gd name="connsiteY1" fmla="*/ 24632 h 280099"/>
                <a:gd name="connsiteX2" fmla="*/ 18535 w 305829"/>
                <a:gd name="connsiteY2" fmla="*/ 25974 h 280099"/>
                <a:gd name="connsiteX3" fmla="*/ 17925 w 305829"/>
                <a:gd name="connsiteY3" fmla="*/ 39753 h 280099"/>
                <a:gd name="connsiteX4" fmla="*/ 17804 w 305829"/>
                <a:gd name="connsiteY4" fmla="*/ 44387 h 280099"/>
                <a:gd name="connsiteX5" fmla="*/ 17682 w 305829"/>
                <a:gd name="connsiteY5" fmla="*/ 47069 h 280099"/>
                <a:gd name="connsiteX6" fmla="*/ 15487 w 305829"/>
                <a:gd name="connsiteY6" fmla="*/ 48777 h 280099"/>
                <a:gd name="connsiteX7" fmla="*/ 6463 w 305829"/>
                <a:gd name="connsiteY7" fmla="*/ 56215 h 280099"/>
                <a:gd name="connsiteX8" fmla="*/ 4756 w 305829"/>
                <a:gd name="connsiteY8" fmla="*/ 57556 h 280099"/>
                <a:gd name="connsiteX9" fmla="*/ 1707 w 305829"/>
                <a:gd name="connsiteY9" fmla="*/ 57556 h 280099"/>
                <a:gd name="connsiteX10" fmla="*/ 2683 w 305829"/>
                <a:gd name="connsiteY10" fmla="*/ 62190 h 280099"/>
                <a:gd name="connsiteX11" fmla="*/ 8048 w 305829"/>
                <a:gd name="connsiteY11" fmla="*/ 86457 h 280099"/>
                <a:gd name="connsiteX12" fmla="*/ 8292 w 305829"/>
                <a:gd name="connsiteY12" fmla="*/ 87432 h 280099"/>
                <a:gd name="connsiteX13" fmla="*/ 7439 w 305829"/>
                <a:gd name="connsiteY13" fmla="*/ 96578 h 280099"/>
                <a:gd name="connsiteX14" fmla="*/ 11707 w 305829"/>
                <a:gd name="connsiteY14" fmla="*/ 108650 h 280099"/>
                <a:gd name="connsiteX15" fmla="*/ 12072 w 305829"/>
                <a:gd name="connsiteY15" fmla="*/ 109626 h 280099"/>
                <a:gd name="connsiteX16" fmla="*/ 12072 w 305829"/>
                <a:gd name="connsiteY16" fmla="*/ 130721 h 280099"/>
                <a:gd name="connsiteX17" fmla="*/ 10609 w 305829"/>
                <a:gd name="connsiteY17" fmla="*/ 132429 h 280099"/>
                <a:gd name="connsiteX18" fmla="*/ 5365 w 305829"/>
                <a:gd name="connsiteY18" fmla="*/ 138526 h 280099"/>
                <a:gd name="connsiteX19" fmla="*/ 0 w 305829"/>
                <a:gd name="connsiteY19" fmla="*/ 144623 h 280099"/>
                <a:gd name="connsiteX20" fmla="*/ 1464 w 305829"/>
                <a:gd name="connsiteY20" fmla="*/ 156451 h 280099"/>
                <a:gd name="connsiteX21" fmla="*/ 2439 w 305829"/>
                <a:gd name="connsiteY21" fmla="*/ 163524 h 280099"/>
                <a:gd name="connsiteX22" fmla="*/ 18291 w 305829"/>
                <a:gd name="connsiteY22" fmla="*/ 184498 h 280099"/>
                <a:gd name="connsiteX23" fmla="*/ 34388 w 305829"/>
                <a:gd name="connsiteY23" fmla="*/ 182181 h 280099"/>
                <a:gd name="connsiteX24" fmla="*/ 38778 w 305829"/>
                <a:gd name="connsiteY24" fmla="*/ 181571 h 280099"/>
                <a:gd name="connsiteX25" fmla="*/ 40729 w 305829"/>
                <a:gd name="connsiteY25" fmla="*/ 185473 h 280099"/>
                <a:gd name="connsiteX26" fmla="*/ 44265 w 305829"/>
                <a:gd name="connsiteY26" fmla="*/ 192668 h 280099"/>
                <a:gd name="connsiteX27" fmla="*/ 51459 w 305829"/>
                <a:gd name="connsiteY27" fmla="*/ 207057 h 280099"/>
                <a:gd name="connsiteX28" fmla="*/ 51459 w 305829"/>
                <a:gd name="connsiteY28" fmla="*/ 207179 h 280099"/>
                <a:gd name="connsiteX29" fmla="*/ 103894 w 305829"/>
                <a:gd name="connsiteY29" fmla="*/ 221324 h 280099"/>
                <a:gd name="connsiteX30" fmla="*/ 113040 w 305829"/>
                <a:gd name="connsiteY30" fmla="*/ 215593 h 280099"/>
                <a:gd name="connsiteX31" fmla="*/ 131697 w 305829"/>
                <a:gd name="connsiteY31" fmla="*/ 204008 h 280099"/>
                <a:gd name="connsiteX32" fmla="*/ 134624 w 305829"/>
                <a:gd name="connsiteY32" fmla="*/ 202179 h 280099"/>
                <a:gd name="connsiteX33" fmla="*/ 137672 w 305829"/>
                <a:gd name="connsiteY33" fmla="*/ 203765 h 280099"/>
                <a:gd name="connsiteX34" fmla="*/ 287539 w 305829"/>
                <a:gd name="connsiteY34" fmla="*/ 280100 h 280099"/>
                <a:gd name="connsiteX35" fmla="*/ 287904 w 305829"/>
                <a:gd name="connsiteY35" fmla="*/ 279978 h 280099"/>
                <a:gd name="connsiteX36" fmla="*/ 289002 w 305829"/>
                <a:gd name="connsiteY36" fmla="*/ 279734 h 280099"/>
                <a:gd name="connsiteX37" fmla="*/ 301196 w 305829"/>
                <a:gd name="connsiteY37" fmla="*/ 277173 h 280099"/>
                <a:gd name="connsiteX38" fmla="*/ 303635 w 305829"/>
                <a:gd name="connsiteY38" fmla="*/ 238884 h 280099"/>
                <a:gd name="connsiteX39" fmla="*/ 303879 w 305829"/>
                <a:gd name="connsiteY39" fmla="*/ 236689 h 280099"/>
                <a:gd name="connsiteX40" fmla="*/ 303879 w 305829"/>
                <a:gd name="connsiteY40" fmla="*/ 234860 h 280099"/>
                <a:gd name="connsiteX41" fmla="*/ 304244 w 305829"/>
                <a:gd name="connsiteY41" fmla="*/ 212666 h 280099"/>
                <a:gd name="connsiteX42" fmla="*/ 304732 w 305829"/>
                <a:gd name="connsiteY42" fmla="*/ 187790 h 280099"/>
                <a:gd name="connsiteX43" fmla="*/ 305342 w 305829"/>
                <a:gd name="connsiteY43" fmla="*/ 132550 h 280099"/>
                <a:gd name="connsiteX44" fmla="*/ 305708 w 305829"/>
                <a:gd name="connsiteY44" fmla="*/ 100358 h 280099"/>
                <a:gd name="connsiteX45" fmla="*/ 300464 w 305829"/>
                <a:gd name="connsiteY45" fmla="*/ 80116 h 280099"/>
                <a:gd name="connsiteX46" fmla="*/ 295830 w 305829"/>
                <a:gd name="connsiteY46" fmla="*/ 61702 h 280099"/>
                <a:gd name="connsiteX47" fmla="*/ 294855 w 305829"/>
                <a:gd name="connsiteY47" fmla="*/ 57800 h 280099"/>
                <a:gd name="connsiteX48" fmla="*/ 297904 w 305829"/>
                <a:gd name="connsiteY48" fmla="*/ 55362 h 280099"/>
                <a:gd name="connsiteX49" fmla="*/ 304122 w 305829"/>
                <a:gd name="connsiteY49" fmla="*/ 50606 h 280099"/>
                <a:gd name="connsiteX50" fmla="*/ 305586 w 305829"/>
                <a:gd name="connsiteY50" fmla="*/ 39143 h 280099"/>
                <a:gd name="connsiteX51" fmla="*/ 305830 w 305829"/>
                <a:gd name="connsiteY51" fmla="*/ 36948 h 280099"/>
                <a:gd name="connsiteX52" fmla="*/ 299855 w 305829"/>
                <a:gd name="connsiteY52" fmla="*/ 29022 h 280099"/>
                <a:gd name="connsiteX53" fmla="*/ 285222 w 305829"/>
                <a:gd name="connsiteY53" fmla="*/ 24388 h 280099"/>
                <a:gd name="connsiteX54" fmla="*/ 269004 w 305829"/>
                <a:gd name="connsiteY54" fmla="*/ 17316 h 280099"/>
                <a:gd name="connsiteX55" fmla="*/ 267174 w 305829"/>
                <a:gd name="connsiteY55" fmla="*/ 7195 h 280099"/>
                <a:gd name="connsiteX56" fmla="*/ 249614 w 305829"/>
                <a:gd name="connsiteY56" fmla="*/ 3780 h 280099"/>
                <a:gd name="connsiteX57" fmla="*/ 233396 w 305829"/>
                <a:gd name="connsiteY57" fmla="*/ 6463 h 280099"/>
                <a:gd name="connsiteX58" fmla="*/ 209130 w 305829"/>
                <a:gd name="connsiteY58" fmla="*/ 19998 h 280099"/>
                <a:gd name="connsiteX59" fmla="*/ 207911 w 305829"/>
                <a:gd name="connsiteY59" fmla="*/ 33778 h 280099"/>
                <a:gd name="connsiteX60" fmla="*/ 215349 w 305829"/>
                <a:gd name="connsiteY60" fmla="*/ 45728 h 280099"/>
                <a:gd name="connsiteX61" fmla="*/ 207179 w 305829"/>
                <a:gd name="connsiteY61" fmla="*/ 57191 h 280099"/>
                <a:gd name="connsiteX62" fmla="*/ 190107 w 305829"/>
                <a:gd name="connsiteY62" fmla="*/ 66458 h 280099"/>
                <a:gd name="connsiteX63" fmla="*/ 166938 w 305829"/>
                <a:gd name="connsiteY63" fmla="*/ 53410 h 280099"/>
                <a:gd name="connsiteX64" fmla="*/ 153891 w 305829"/>
                <a:gd name="connsiteY64" fmla="*/ 46216 h 280099"/>
                <a:gd name="connsiteX65" fmla="*/ 149013 w 305829"/>
                <a:gd name="connsiteY65" fmla="*/ 45362 h 280099"/>
                <a:gd name="connsiteX66" fmla="*/ 120600 w 305829"/>
                <a:gd name="connsiteY66" fmla="*/ 40363 h 280099"/>
                <a:gd name="connsiteX67" fmla="*/ 107797 w 305829"/>
                <a:gd name="connsiteY67" fmla="*/ 13536 h 280099"/>
                <a:gd name="connsiteX68" fmla="*/ 98651 w 305829"/>
                <a:gd name="connsiteY68" fmla="*/ 12194 h 280099"/>
                <a:gd name="connsiteX69" fmla="*/ 86213 w 305829"/>
                <a:gd name="connsiteY69" fmla="*/ 8048 h 280099"/>
                <a:gd name="connsiteX70" fmla="*/ 57679 w 305829"/>
                <a:gd name="connsiteY70" fmla="*/ 8048 h 280099"/>
                <a:gd name="connsiteX71" fmla="*/ 40607 w 305829"/>
                <a:gd name="connsiteY71" fmla="*/ 0 h 280099"/>
                <a:gd name="connsiteX72" fmla="*/ 41338 w 305829"/>
                <a:gd name="connsiteY72" fmla="*/ 11828 h 280099"/>
                <a:gd name="connsiteX73" fmla="*/ 41460 w 305829"/>
                <a:gd name="connsiteY73" fmla="*/ 14755 h 280099"/>
                <a:gd name="connsiteX74" fmla="*/ 39265 w 305829"/>
                <a:gd name="connsiteY74" fmla="*/ 16706 h 280099"/>
                <a:gd name="connsiteX75" fmla="*/ 38656 w 305829"/>
                <a:gd name="connsiteY75" fmla="*/ 17194 h 280099"/>
                <a:gd name="connsiteX76" fmla="*/ 32071 w 305829"/>
                <a:gd name="connsiteY76" fmla="*/ 23169 h 280099"/>
                <a:gd name="connsiteX77" fmla="*/ 30607 w 305829"/>
                <a:gd name="connsiteY77" fmla="*/ 24388 h 28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05829" h="280099">
                  <a:moveTo>
                    <a:pt x="30607" y="24388"/>
                  </a:moveTo>
                  <a:lnTo>
                    <a:pt x="28778" y="24632"/>
                  </a:lnTo>
                  <a:lnTo>
                    <a:pt x="18535" y="25974"/>
                  </a:lnTo>
                  <a:lnTo>
                    <a:pt x="17925" y="39753"/>
                  </a:lnTo>
                  <a:lnTo>
                    <a:pt x="17804" y="44387"/>
                  </a:lnTo>
                  <a:lnTo>
                    <a:pt x="17682" y="47069"/>
                  </a:lnTo>
                  <a:lnTo>
                    <a:pt x="15487" y="48777"/>
                  </a:lnTo>
                  <a:lnTo>
                    <a:pt x="6463" y="56215"/>
                  </a:lnTo>
                  <a:lnTo>
                    <a:pt x="4756" y="57556"/>
                  </a:lnTo>
                  <a:lnTo>
                    <a:pt x="1707" y="57556"/>
                  </a:lnTo>
                  <a:lnTo>
                    <a:pt x="2683" y="62190"/>
                  </a:lnTo>
                  <a:lnTo>
                    <a:pt x="8048" y="86457"/>
                  </a:lnTo>
                  <a:lnTo>
                    <a:pt x="8292" y="87432"/>
                  </a:lnTo>
                  <a:lnTo>
                    <a:pt x="7439" y="96578"/>
                  </a:lnTo>
                  <a:lnTo>
                    <a:pt x="11707" y="108650"/>
                  </a:lnTo>
                  <a:lnTo>
                    <a:pt x="12072" y="109626"/>
                  </a:lnTo>
                  <a:lnTo>
                    <a:pt x="12072" y="130721"/>
                  </a:lnTo>
                  <a:lnTo>
                    <a:pt x="10609" y="132429"/>
                  </a:lnTo>
                  <a:lnTo>
                    <a:pt x="5365" y="138526"/>
                  </a:lnTo>
                  <a:lnTo>
                    <a:pt x="0" y="144623"/>
                  </a:lnTo>
                  <a:lnTo>
                    <a:pt x="1464" y="156451"/>
                  </a:lnTo>
                  <a:lnTo>
                    <a:pt x="2439" y="163524"/>
                  </a:lnTo>
                  <a:lnTo>
                    <a:pt x="18291" y="184498"/>
                  </a:lnTo>
                  <a:lnTo>
                    <a:pt x="34388" y="182181"/>
                  </a:lnTo>
                  <a:lnTo>
                    <a:pt x="38778" y="181571"/>
                  </a:lnTo>
                  <a:lnTo>
                    <a:pt x="40729" y="185473"/>
                  </a:lnTo>
                  <a:lnTo>
                    <a:pt x="44265" y="192668"/>
                  </a:lnTo>
                  <a:lnTo>
                    <a:pt x="51459" y="207057"/>
                  </a:lnTo>
                  <a:lnTo>
                    <a:pt x="51459" y="207179"/>
                  </a:lnTo>
                  <a:lnTo>
                    <a:pt x="103894" y="221324"/>
                  </a:lnTo>
                  <a:lnTo>
                    <a:pt x="113040" y="215593"/>
                  </a:lnTo>
                  <a:lnTo>
                    <a:pt x="131697" y="204008"/>
                  </a:lnTo>
                  <a:lnTo>
                    <a:pt x="134624" y="202179"/>
                  </a:lnTo>
                  <a:lnTo>
                    <a:pt x="137672" y="203765"/>
                  </a:lnTo>
                  <a:lnTo>
                    <a:pt x="287539" y="280100"/>
                  </a:lnTo>
                  <a:lnTo>
                    <a:pt x="287904" y="279978"/>
                  </a:lnTo>
                  <a:lnTo>
                    <a:pt x="289002" y="279734"/>
                  </a:lnTo>
                  <a:lnTo>
                    <a:pt x="301196" y="277173"/>
                  </a:lnTo>
                  <a:lnTo>
                    <a:pt x="303635" y="238884"/>
                  </a:lnTo>
                  <a:lnTo>
                    <a:pt x="303879" y="236689"/>
                  </a:lnTo>
                  <a:lnTo>
                    <a:pt x="303879" y="234860"/>
                  </a:lnTo>
                  <a:lnTo>
                    <a:pt x="304244" y="212666"/>
                  </a:lnTo>
                  <a:lnTo>
                    <a:pt x="304732" y="187790"/>
                  </a:lnTo>
                  <a:lnTo>
                    <a:pt x="305342" y="132550"/>
                  </a:lnTo>
                  <a:lnTo>
                    <a:pt x="305708" y="100358"/>
                  </a:lnTo>
                  <a:lnTo>
                    <a:pt x="300464" y="80116"/>
                  </a:lnTo>
                  <a:lnTo>
                    <a:pt x="295830" y="61702"/>
                  </a:lnTo>
                  <a:lnTo>
                    <a:pt x="294855" y="57800"/>
                  </a:lnTo>
                  <a:lnTo>
                    <a:pt x="297904" y="55362"/>
                  </a:lnTo>
                  <a:lnTo>
                    <a:pt x="304122" y="50606"/>
                  </a:lnTo>
                  <a:lnTo>
                    <a:pt x="305586" y="39143"/>
                  </a:lnTo>
                  <a:lnTo>
                    <a:pt x="305830" y="36948"/>
                  </a:lnTo>
                  <a:lnTo>
                    <a:pt x="299855" y="29022"/>
                  </a:lnTo>
                  <a:lnTo>
                    <a:pt x="285222" y="24388"/>
                  </a:lnTo>
                  <a:lnTo>
                    <a:pt x="269004" y="17316"/>
                  </a:lnTo>
                  <a:lnTo>
                    <a:pt x="267174" y="7195"/>
                  </a:lnTo>
                  <a:lnTo>
                    <a:pt x="249614" y="3780"/>
                  </a:lnTo>
                  <a:lnTo>
                    <a:pt x="233396" y="6463"/>
                  </a:lnTo>
                  <a:lnTo>
                    <a:pt x="209130" y="19998"/>
                  </a:lnTo>
                  <a:lnTo>
                    <a:pt x="207911" y="33778"/>
                  </a:lnTo>
                  <a:lnTo>
                    <a:pt x="215349" y="45728"/>
                  </a:lnTo>
                  <a:lnTo>
                    <a:pt x="207179" y="57191"/>
                  </a:lnTo>
                  <a:lnTo>
                    <a:pt x="190107" y="66458"/>
                  </a:lnTo>
                  <a:lnTo>
                    <a:pt x="166938" y="53410"/>
                  </a:lnTo>
                  <a:lnTo>
                    <a:pt x="153891" y="46216"/>
                  </a:lnTo>
                  <a:lnTo>
                    <a:pt x="149013" y="45362"/>
                  </a:lnTo>
                  <a:lnTo>
                    <a:pt x="120600" y="40363"/>
                  </a:lnTo>
                  <a:lnTo>
                    <a:pt x="107797" y="13536"/>
                  </a:lnTo>
                  <a:lnTo>
                    <a:pt x="98651" y="12194"/>
                  </a:lnTo>
                  <a:lnTo>
                    <a:pt x="86213" y="8048"/>
                  </a:lnTo>
                  <a:lnTo>
                    <a:pt x="57679" y="8048"/>
                  </a:lnTo>
                  <a:lnTo>
                    <a:pt x="40607" y="0"/>
                  </a:lnTo>
                  <a:lnTo>
                    <a:pt x="41338" y="11828"/>
                  </a:lnTo>
                  <a:lnTo>
                    <a:pt x="41460" y="14755"/>
                  </a:lnTo>
                  <a:lnTo>
                    <a:pt x="39265" y="16706"/>
                  </a:lnTo>
                  <a:lnTo>
                    <a:pt x="38656" y="17194"/>
                  </a:lnTo>
                  <a:lnTo>
                    <a:pt x="32071" y="23169"/>
                  </a:lnTo>
                  <a:lnTo>
                    <a:pt x="30607" y="243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6" name="Freihandform: Form 435">
              <a:extLst>
                <a:ext uri="{FF2B5EF4-FFF2-40B4-BE49-F238E27FC236}">
                  <a16:creationId xmlns:a16="http://schemas.microsoft.com/office/drawing/2014/main" id="{A78ED599-2A20-47B8-88F6-4C6F3DF6CDF6}"/>
                </a:ext>
              </a:extLst>
            </p:cNvPr>
            <p:cNvSpPr/>
            <p:nvPr/>
          </p:nvSpPr>
          <p:spPr>
            <a:xfrm>
              <a:off x="4576023" y="2649329"/>
              <a:ext cx="73287" cy="148768"/>
            </a:xfrm>
            <a:custGeom>
              <a:avLst/>
              <a:gdLst>
                <a:gd name="connsiteX0" fmla="*/ 14267 w 73287"/>
                <a:gd name="connsiteY0" fmla="*/ 28047 h 148768"/>
                <a:gd name="connsiteX1" fmla="*/ 16584 w 73287"/>
                <a:gd name="connsiteY1" fmla="*/ 33534 h 148768"/>
                <a:gd name="connsiteX2" fmla="*/ 17194 w 73287"/>
                <a:gd name="connsiteY2" fmla="*/ 34997 h 148768"/>
                <a:gd name="connsiteX3" fmla="*/ 16950 w 73287"/>
                <a:gd name="connsiteY3" fmla="*/ 36582 h 148768"/>
                <a:gd name="connsiteX4" fmla="*/ 15243 w 73287"/>
                <a:gd name="connsiteY4" fmla="*/ 52557 h 148768"/>
                <a:gd name="connsiteX5" fmla="*/ 14999 w 73287"/>
                <a:gd name="connsiteY5" fmla="*/ 54020 h 148768"/>
                <a:gd name="connsiteX6" fmla="*/ 14145 w 73287"/>
                <a:gd name="connsiteY6" fmla="*/ 55362 h 148768"/>
                <a:gd name="connsiteX7" fmla="*/ 0 w 73287"/>
                <a:gd name="connsiteY7" fmla="*/ 75604 h 148768"/>
                <a:gd name="connsiteX8" fmla="*/ 0 w 73287"/>
                <a:gd name="connsiteY8" fmla="*/ 86091 h 148768"/>
                <a:gd name="connsiteX9" fmla="*/ 14267 w 73287"/>
                <a:gd name="connsiteY9" fmla="*/ 101943 h 148768"/>
                <a:gd name="connsiteX10" fmla="*/ 15365 w 73287"/>
                <a:gd name="connsiteY10" fmla="*/ 103285 h 148768"/>
                <a:gd name="connsiteX11" fmla="*/ 24388 w 73287"/>
                <a:gd name="connsiteY11" fmla="*/ 114016 h 148768"/>
                <a:gd name="connsiteX12" fmla="*/ 24998 w 73287"/>
                <a:gd name="connsiteY12" fmla="*/ 114747 h 148768"/>
                <a:gd name="connsiteX13" fmla="*/ 25364 w 73287"/>
                <a:gd name="connsiteY13" fmla="*/ 115601 h 148768"/>
                <a:gd name="connsiteX14" fmla="*/ 34022 w 73287"/>
                <a:gd name="connsiteY14" fmla="*/ 136087 h 148768"/>
                <a:gd name="connsiteX15" fmla="*/ 39387 w 73287"/>
                <a:gd name="connsiteY15" fmla="*/ 148769 h 148768"/>
                <a:gd name="connsiteX16" fmla="*/ 41948 w 73287"/>
                <a:gd name="connsiteY16" fmla="*/ 148769 h 148768"/>
                <a:gd name="connsiteX17" fmla="*/ 49874 w 73287"/>
                <a:gd name="connsiteY17" fmla="*/ 142306 h 148768"/>
                <a:gd name="connsiteX18" fmla="*/ 49996 w 73287"/>
                <a:gd name="connsiteY18" fmla="*/ 138404 h 148768"/>
                <a:gd name="connsiteX19" fmla="*/ 50606 w 73287"/>
                <a:gd name="connsiteY19" fmla="*/ 123161 h 148768"/>
                <a:gd name="connsiteX20" fmla="*/ 50850 w 73287"/>
                <a:gd name="connsiteY20" fmla="*/ 118040 h 148768"/>
                <a:gd name="connsiteX21" fmla="*/ 55972 w 73287"/>
                <a:gd name="connsiteY21" fmla="*/ 117430 h 148768"/>
                <a:gd name="connsiteX22" fmla="*/ 67190 w 73287"/>
                <a:gd name="connsiteY22" fmla="*/ 115967 h 148768"/>
                <a:gd name="connsiteX23" fmla="*/ 73287 w 73287"/>
                <a:gd name="connsiteY23" fmla="*/ 110479 h 148768"/>
                <a:gd name="connsiteX24" fmla="*/ 72677 w 73287"/>
                <a:gd name="connsiteY24" fmla="*/ 98651 h 148768"/>
                <a:gd name="connsiteX25" fmla="*/ 72433 w 73287"/>
                <a:gd name="connsiteY25" fmla="*/ 95358 h 148768"/>
                <a:gd name="connsiteX26" fmla="*/ 59995 w 73287"/>
                <a:gd name="connsiteY26" fmla="*/ 89627 h 148768"/>
                <a:gd name="connsiteX27" fmla="*/ 50850 w 73287"/>
                <a:gd name="connsiteY27" fmla="*/ 82067 h 148768"/>
                <a:gd name="connsiteX28" fmla="*/ 50850 w 73287"/>
                <a:gd name="connsiteY28" fmla="*/ 82067 h 148768"/>
                <a:gd name="connsiteX29" fmla="*/ 47679 w 73287"/>
                <a:gd name="connsiteY29" fmla="*/ 67434 h 148768"/>
                <a:gd name="connsiteX30" fmla="*/ 64873 w 73287"/>
                <a:gd name="connsiteY30" fmla="*/ 53045 h 148768"/>
                <a:gd name="connsiteX31" fmla="*/ 64873 w 73287"/>
                <a:gd name="connsiteY31" fmla="*/ 40485 h 148768"/>
                <a:gd name="connsiteX32" fmla="*/ 56337 w 73287"/>
                <a:gd name="connsiteY32" fmla="*/ 27681 h 148768"/>
                <a:gd name="connsiteX33" fmla="*/ 56337 w 73287"/>
                <a:gd name="connsiteY33" fmla="*/ 16340 h 148768"/>
                <a:gd name="connsiteX34" fmla="*/ 63288 w 73287"/>
                <a:gd name="connsiteY34" fmla="*/ 8902 h 148768"/>
                <a:gd name="connsiteX35" fmla="*/ 61093 w 73287"/>
                <a:gd name="connsiteY35" fmla="*/ 5609 h 148768"/>
                <a:gd name="connsiteX36" fmla="*/ 52069 w 73287"/>
                <a:gd name="connsiteY36" fmla="*/ 5609 h 148768"/>
                <a:gd name="connsiteX37" fmla="*/ 45484 w 73287"/>
                <a:gd name="connsiteY37" fmla="*/ 0 h 148768"/>
                <a:gd name="connsiteX38" fmla="*/ 32924 w 73287"/>
                <a:gd name="connsiteY38" fmla="*/ 1707 h 148768"/>
                <a:gd name="connsiteX39" fmla="*/ 25364 w 73287"/>
                <a:gd name="connsiteY39" fmla="*/ 8292 h 148768"/>
                <a:gd name="connsiteX40" fmla="*/ 13414 w 73287"/>
                <a:gd name="connsiteY40" fmla="*/ 9755 h 148768"/>
                <a:gd name="connsiteX41" fmla="*/ 13414 w 73287"/>
                <a:gd name="connsiteY41" fmla="*/ 11463 h 148768"/>
                <a:gd name="connsiteX42" fmla="*/ 14267 w 73287"/>
                <a:gd name="connsiteY42" fmla="*/ 28047 h 14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3287" h="148768">
                  <a:moveTo>
                    <a:pt x="14267" y="28047"/>
                  </a:moveTo>
                  <a:lnTo>
                    <a:pt x="16584" y="33534"/>
                  </a:lnTo>
                  <a:lnTo>
                    <a:pt x="17194" y="34997"/>
                  </a:lnTo>
                  <a:lnTo>
                    <a:pt x="16950" y="36582"/>
                  </a:lnTo>
                  <a:lnTo>
                    <a:pt x="15243" y="52557"/>
                  </a:lnTo>
                  <a:lnTo>
                    <a:pt x="14999" y="54020"/>
                  </a:lnTo>
                  <a:lnTo>
                    <a:pt x="14145" y="55362"/>
                  </a:lnTo>
                  <a:lnTo>
                    <a:pt x="0" y="75604"/>
                  </a:lnTo>
                  <a:lnTo>
                    <a:pt x="0" y="86091"/>
                  </a:lnTo>
                  <a:lnTo>
                    <a:pt x="14267" y="101943"/>
                  </a:lnTo>
                  <a:lnTo>
                    <a:pt x="15365" y="103285"/>
                  </a:lnTo>
                  <a:lnTo>
                    <a:pt x="24388" y="114016"/>
                  </a:lnTo>
                  <a:lnTo>
                    <a:pt x="24998" y="114747"/>
                  </a:lnTo>
                  <a:lnTo>
                    <a:pt x="25364" y="115601"/>
                  </a:lnTo>
                  <a:lnTo>
                    <a:pt x="34022" y="136087"/>
                  </a:lnTo>
                  <a:lnTo>
                    <a:pt x="39387" y="148769"/>
                  </a:lnTo>
                  <a:lnTo>
                    <a:pt x="41948" y="148769"/>
                  </a:lnTo>
                  <a:lnTo>
                    <a:pt x="49874" y="142306"/>
                  </a:lnTo>
                  <a:lnTo>
                    <a:pt x="49996" y="138404"/>
                  </a:lnTo>
                  <a:lnTo>
                    <a:pt x="50606" y="123161"/>
                  </a:lnTo>
                  <a:lnTo>
                    <a:pt x="50850" y="118040"/>
                  </a:lnTo>
                  <a:lnTo>
                    <a:pt x="55972" y="117430"/>
                  </a:lnTo>
                  <a:lnTo>
                    <a:pt x="67190" y="115967"/>
                  </a:lnTo>
                  <a:lnTo>
                    <a:pt x="73287" y="110479"/>
                  </a:lnTo>
                  <a:lnTo>
                    <a:pt x="72677" y="98651"/>
                  </a:lnTo>
                  <a:lnTo>
                    <a:pt x="72433" y="95358"/>
                  </a:lnTo>
                  <a:lnTo>
                    <a:pt x="59995" y="89627"/>
                  </a:lnTo>
                  <a:lnTo>
                    <a:pt x="50850" y="82067"/>
                  </a:lnTo>
                  <a:lnTo>
                    <a:pt x="50850" y="82067"/>
                  </a:lnTo>
                  <a:lnTo>
                    <a:pt x="47679" y="67434"/>
                  </a:lnTo>
                  <a:lnTo>
                    <a:pt x="64873" y="53045"/>
                  </a:lnTo>
                  <a:lnTo>
                    <a:pt x="64873" y="40485"/>
                  </a:lnTo>
                  <a:lnTo>
                    <a:pt x="56337" y="27681"/>
                  </a:lnTo>
                  <a:lnTo>
                    <a:pt x="56337" y="16340"/>
                  </a:lnTo>
                  <a:lnTo>
                    <a:pt x="63288" y="8902"/>
                  </a:lnTo>
                  <a:lnTo>
                    <a:pt x="61093" y="5609"/>
                  </a:lnTo>
                  <a:lnTo>
                    <a:pt x="52069" y="5609"/>
                  </a:lnTo>
                  <a:lnTo>
                    <a:pt x="45484" y="0"/>
                  </a:lnTo>
                  <a:lnTo>
                    <a:pt x="32924" y="1707"/>
                  </a:lnTo>
                  <a:lnTo>
                    <a:pt x="25364" y="8292"/>
                  </a:lnTo>
                  <a:lnTo>
                    <a:pt x="13414" y="9755"/>
                  </a:lnTo>
                  <a:lnTo>
                    <a:pt x="13414" y="11463"/>
                  </a:lnTo>
                  <a:lnTo>
                    <a:pt x="14267" y="2804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7" name="Freihandform: Form 436">
              <a:extLst>
                <a:ext uri="{FF2B5EF4-FFF2-40B4-BE49-F238E27FC236}">
                  <a16:creationId xmlns:a16="http://schemas.microsoft.com/office/drawing/2014/main" id="{163218F0-9164-4D86-9637-DCEF261F4E4A}"/>
                </a:ext>
              </a:extLst>
            </p:cNvPr>
            <p:cNvSpPr/>
            <p:nvPr/>
          </p:nvSpPr>
          <p:spPr>
            <a:xfrm>
              <a:off x="4257634" y="2654939"/>
              <a:ext cx="402041" cy="393261"/>
            </a:xfrm>
            <a:custGeom>
              <a:avLst/>
              <a:gdLst>
                <a:gd name="connsiteX0" fmla="*/ 140233 w 402041"/>
                <a:gd name="connsiteY0" fmla="*/ 60727 h 393261"/>
                <a:gd name="connsiteX1" fmla="*/ 145233 w 402041"/>
                <a:gd name="connsiteY1" fmla="*/ 86335 h 393261"/>
                <a:gd name="connsiteX2" fmla="*/ 147915 w 402041"/>
                <a:gd name="connsiteY2" fmla="*/ 95236 h 393261"/>
                <a:gd name="connsiteX3" fmla="*/ 148403 w 402041"/>
                <a:gd name="connsiteY3" fmla="*/ 97187 h 393261"/>
                <a:gd name="connsiteX4" fmla="*/ 147793 w 402041"/>
                <a:gd name="connsiteY4" fmla="*/ 99017 h 393261"/>
                <a:gd name="connsiteX5" fmla="*/ 140842 w 402041"/>
                <a:gd name="connsiteY5" fmla="*/ 119869 h 393261"/>
                <a:gd name="connsiteX6" fmla="*/ 139745 w 402041"/>
                <a:gd name="connsiteY6" fmla="*/ 123283 h 393261"/>
                <a:gd name="connsiteX7" fmla="*/ 136209 w 402041"/>
                <a:gd name="connsiteY7" fmla="*/ 123893 h 393261"/>
                <a:gd name="connsiteX8" fmla="*/ 122551 w 402041"/>
                <a:gd name="connsiteY8" fmla="*/ 126453 h 393261"/>
                <a:gd name="connsiteX9" fmla="*/ 121820 w 402041"/>
                <a:gd name="connsiteY9" fmla="*/ 126575 h 393261"/>
                <a:gd name="connsiteX10" fmla="*/ 121088 w 402041"/>
                <a:gd name="connsiteY10" fmla="*/ 126575 h 393261"/>
                <a:gd name="connsiteX11" fmla="*/ 118161 w 402041"/>
                <a:gd name="connsiteY11" fmla="*/ 126332 h 393261"/>
                <a:gd name="connsiteX12" fmla="*/ 108650 w 402041"/>
                <a:gd name="connsiteY12" fmla="*/ 125844 h 393261"/>
                <a:gd name="connsiteX13" fmla="*/ 105601 w 402041"/>
                <a:gd name="connsiteY13" fmla="*/ 138282 h 393261"/>
                <a:gd name="connsiteX14" fmla="*/ 104992 w 402041"/>
                <a:gd name="connsiteY14" fmla="*/ 141087 h 393261"/>
                <a:gd name="connsiteX15" fmla="*/ 104016 w 402041"/>
                <a:gd name="connsiteY15" fmla="*/ 144867 h 393261"/>
                <a:gd name="connsiteX16" fmla="*/ 100236 w 402041"/>
                <a:gd name="connsiteY16" fmla="*/ 145720 h 393261"/>
                <a:gd name="connsiteX17" fmla="*/ 96456 w 402041"/>
                <a:gd name="connsiteY17" fmla="*/ 146452 h 393261"/>
                <a:gd name="connsiteX18" fmla="*/ 93042 w 402041"/>
                <a:gd name="connsiteY18" fmla="*/ 147062 h 393261"/>
                <a:gd name="connsiteX19" fmla="*/ 83286 w 402041"/>
                <a:gd name="connsiteY19" fmla="*/ 152305 h 393261"/>
                <a:gd name="connsiteX20" fmla="*/ 81945 w 402041"/>
                <a:gd name="connsiteY20" fmla="*/ 153037 h 393261"/>
                <a:gd name="connsiteX21" fmla="*/ 75116 w 402041"/>
                <a:gd name="connsiteY21" fmla="*/ 153037 h 393261"/>
                <a:gd name="connsiteX22" fmla="*/ 73287 w 402041"/>
                <a:gd name="connsiteY22" fmla="*/ 155110 h 393261"/>
                <a:gd name="connsiteX23" fmla="*/ 69385 w 402041"/>
                <a:gd name="connsiteY23" fmla="*/ 159500 h 393261"/>
                <a:gd name="connsiteX24" fmla="*/ 68043 w 402041"/>
                <a:gd name="connsiteY24" fmla="*/ 164134 h 393261"/>
                <a:gd name="connsiteX25" fmla="*/ 67068 w 402041"/>
                <a:gd name="connsiteY25" fmla="*/ 167426 h 393261"/>
                <a:gd name="connsiteX26" fmla="*/ 63776 w 402041"/>
                <a:gd name="connsiteY26" fmla="*/ 168279 h 393261"/>
                <a:gd name="connsiteX27" fmla="*/ 16462 w 402041"/>
                <a:gd name="connsiteY27" fmla="*/ 181083 h 393261"/>
                <a:gd name="connsiteX28" fmla="*/ 0 w 402041"/>
                <a:gd name="connsiteY28" fmla="*/ 193399 h 393261"/>
                <a:gd name="connsiteX29" fmla="*/ 975 w 402041"/>
                <a:gd name="connsiteY29" fmla="*/ 204130 h 393261"/>
                <a:gd name="connsiteX30" fmla="*/ 1097 w 402041"/>
                <a:gd name="connsiteY30" fmla="*/ 206325 h 393261"/>
                <a:gd name="connsiteX31" fmla="*/ 1463 w 402041"/>
                <a:gd name="connsiteY31" fmla="*/ 207911 h 393261"/>
                <a:gd name="connsiteX32" fmla="*/ 2195 w 402041"/>
                <a:gd name="connsiteY32" fmla="*/ 212666 h 393261"/>
                <a:gd name="connsiteX33" fmla="*/ 3292 w 402041"/>
                <a:gd name="connsiteY33" fmla="*/ 218641 h 393261"/>
                <a:gd name="connsiteX34" fmla="*/ 4756 w 402041"/>
                <a:gd name="connsiteY34" fmla="*/ 219739 h 393261"/>
                <a:gd name="connsiteX35" fmla="*/ 74750 w 402041"/>
                <a:gd name="connsiteY35" fmla="*/ 270710 h 393261"/>
                <a:gd name="connsiteX36" fmla="*/ 79750 w 402041"/>
                <a:gd name="connsiteY36" fmla="*/ 274247 h 393261"/>
                <a:gd name="connsiteX37" fmla="*/ 80482 w 402041"/>
                <a:gd name="connsiteY37" fmla="*/ 274856 h 393261"/>
                <a:gd name="connsiteX38" fmla="*/ 120234 w 402041"/>
                <a:gd name="connsiteY38" fmla="*/ 303513 h 393261"/>
                <a:gd name="connsiteX39" fmla="*/ 193521 w 402041"/>
                <a:gd name="connsiteY39" fmla="*/ 356313 h 393261"/>
                <a:gd name="connsiteX40" fmla="*/ 194619 w 402041"/>
                <a:gd name="connsiteY40" fmla="*/ 357045 h 393261"/>
                <a:gd name="connsiteX41" fmla="*/ 195229 w 402041"/>
                <a:gd name="connsiteY41" fmla="*/ 358265 h 393261"/>
                <a:gd name="connsiteX42" fmla="*/ 199862 w 402041"/>
                <a:gd name="connsiteY42" fmla="*/ 366435 h 393261"/>
                <a:gd name="connsiteX43" fmla="*/ 202301 w 402041"/>
                <a:gd name="connsiteY43" fmla="*/ 370825 h 393261"/>
                <a:gd name="connsiteX44" fmla="*/ 213642 w 402041"/>
                <a:gd name="connsiteY44" fmla="*/ 370093 h 393261"/>
                <a:gd name="connsiteX45" fmla="*/ 214617 w 402041"/>
                <a:gd name="connsiteY45" fmla="*/ 369971 h 393261"/>
                <a:gd name="connsiteX46" fmla="*/ 215593 w 402041"/>
                <a:gd name="connsiteY46" fmla="*/ 370215 h 393261"/>
                <a:gd name="connsiteX47" fmla="*/ 224250 w 402041"/>
                <a:gd name="connsiteY47" fmla="*/ 372532 h 393261"/>
                <a:gd name="connsiteX48" fmla="*/ 228397 w 402041"/>
                <a:gd name="connsiteY48" fmla="*/ 373751 h 393261"/>
                <a:gd name="connsiteX49" fmla="*/ 228763 w 402041"/>
                <a:gd name="connsiteY49" fmla="*/ 377897 h 393261"/>
                <a:gd name="connsiteX50" fmla="*/ 229494 w 402041"/>
                <a:gd name="connsiteY50" fmla="*/ 387774 h 393261"/>
                <a:gd name="connsiteX51" fmla="*/ 229860 w 402041"/>
                <a:gd name="connsiteY51" fmla="*/ 391433 h 393261"/>
                <a:gd name="connsiteX52" fmla="*/ 230104 w 402041"/>
                <a:gd name="connsiteY52" fmla="*/ 393262 h 393261"/>
                <a:gd name="connsiteX53" fmla="*/ 256321 w 402041"/>
                <a:gd name="connsiteY53" fmla="*/ 391067 h 393261"/>
                <a:gd name="connsiteX54" fmla="*/ 256931 w 402041"/>
                <a:gd name="connsiteY54" fmla="*/ 390945 h 393261"/>
                <a:gd name="connsiteX55" fmla="*/ 256931 w 402041"/>
                <a:gd name="connsiteY55" fmla="*/ 390823 h 393261"/>
                <a:gd name="connsiteX56" fmla="*/ 259614 w 402041"/>
                <a:gd name="connsiteY56" fmla="*/ 390823 h 393261"/>
                <a:gd name="connsiteX57" fmla="*/ 265589 w 402041"/>
                <a:gd name="connsiteY57" fmla="*/ 390213 h 393261"/>
                <a:gd name="connsiteX58" fmla="*/ 265467 w 402041"/>
                <a:gd name="connsiteY58" fmla="*/ 390457 h 393261"/>
                <a:gd name="connsiteX59" fmla="*/ 280954 w 402041"/>
                <a:gd name="connsiteY59" fmla="*/ 389847 h 393261"/>
                <a:gd name="connsiteX60" fmla="*/ 402042 w 402041"/>
                <a:gd name="connsiteY60" fmla="*/ 302781 h 393261"/>
                <a:gd name="connsiteX61" fmla="*/ 395457 w 402041"/>
                <a:gd name="connsiteY61" fmla="*/ 289733 h 393261"/>
                <a:gd name="connsiteX62" fmla="*/ 392530 w 402041"/>
                <a:gd name="connsiteY62" fmla="*/ 283758 h 393261"/>
                <a:gd name="connsiteX63" fmla="*/ 376800 w 402041"/>
                <a:gd name="connsiteY63" fmla="*/ 286075 h 393261"/>
                <a:gd name="connsiteX64" fmla="*/ 373263 w 402041"/>
                <a:gd name="connsiteY64" fmla="*/ 286563 h 393261"/>
                <a:gd name="connsiteX65" fmla="*/ 371068 w 402041"/>
                <a:gd name="connsiteY65" fmla="*/ 283758 h 393261"/>
                <a:gd name="connsiteX66" fmla="*/ 354119 w 402041"/>
                <a:gd name="connsiteY66" fmla="*/ 261565 h 393261"/>
                <a:gd name="connsiteX67" fmla="*/ 353143 w 402041"/>
                <a:gd name="connsiteY67" fmla="*/ 260223 h 393261"/>
                <a:gd name="connsiteX68" fmla="*/ 353021 w 402041"/>
                <a:gd name="connsiteY68" fmla="*/ 258638 h 393261"/>
                <a:gd name="connsiteX69" fmla="*/ 351802 w 402041"/>
                <a:gd name="connsiteY69" fmla="*/ 250102 h 393261"/>
                <a:gd name="connsiteX70" fmla="*/ 350338 w 402041"/>
                <a:gd name="connsiteY70" fmla="*/ 238396 h 393261"/>
                <a:gd name="connsiteX71" fmla="*/ 349973 w 402041"/>
                <a:gd name="connsiteY71" fmla="*/ 235713 h 393261"/>
                <a:gd name="connsiteX72" fmla="*/ 351802 w 402041"/>
                <a:gd name="connsiteY72" fmla="*/ 233640 h 393261"/>
                <a:gd name="connsiteX73" fmla="*/ 357533 w 402041"/>
                <a:gd name="connsiteY73" fmla="*/ 227055 h 393261"/>
                <a:gd name="connsiteX74" fmla="*/ 362410 w 402041"/>
                <a:gd name="connsiteY74" fmla="*/ 221324 h 393261"/>
                <a:gd name="connsiteX75" fmla="*/ 362410 w 402041"/>
                <a:gd name="connsiteY75" fmla="*/ 204496 h 393261"/>
                <a:gd name="connsiteX76" fmla="*/ 358142 w 402041"/>
                <a:gd name="connsiteY76" fmla="*/ 192424 h 393261"/>
                <a:gd name="connsiteX77" fmla="*/ 357655 w 402041"/>
                <a:gd name="connsiteY77" fmla="*/ 191083 h 393261"/>
                <a:gd name="connsiteX78" fmla="*/ 357777 w 402041"/>
                <a:gd name="connsiteY78" fmla="*/ 189741 h 393261"/>
                <a:gd name="connsiteX79" fmla="*/ 358630 w 402041"/>
                <a:gd name="connsiteY79" fmla="*/ 181449 h 393261"/>
                <a:gd name="connsiteX80" fmla="*/ 353265 w 402041"/>
                <a:gd name="connsiteY80" fmla="*/ 157183 h 393261"/>
                <a:gd name="connsiteX81" fmla="*/ 351802 w 402041"/>
                <a:gd name="connsiteY81" fmla="*/ 150598 h 393261"/>
                <a:gd name="connsiteX82" fmla="*/ 351314 w 402041"/>
                <a:gd name="connsiteY82" fmla="*/ 148403 h 393261"/>
                <a:gd name="connsiteX83" fmla="*/ 350948 w 402041"/>
                <a:gd name="connsiteY83" fmla="*/ 147427 h 393261"/>
                <a:gd name="connsiteX84" fmla="*/ 336681 w 402041"/>
                <a:gd name="connsiteY84" fmla="*/ 113650 h 393261"/>
                <a:gd name="connsiteX85" fmla="*/ 327779 w 402041"/>
                <a:gd name="connsiteY85" fmla="*/ 103041 h 393261"/>
                <a:gd name="connsiteX86" fmla="*/ 326560 w 402041"/>
                <a:gd name="connsiteY86" fmla="*/ 101577 h 393261"/>
                <a:gd name="connsiteX87" fmla="*/ 312049 w 402041"/>
                <a:gd name="connsiteY87" fmla="*/ 85237 h 393261"/>
                <a:gd name="connsiteX88" fmla="*/ 310463 w 402041"/>
                <a:gd name="connsiteY88" fmla="*/ 83530 h 393261"/>
                <a:gd name="connsiteX89" fmla="*/ 310463 w 402041"/>
                <a:gd name="connsiteY89" fmla="*/ 67434 h 393261"/>
                <a:gd name="connsiteX90" fmla="*/ 311561 w 402041"/>
                <a:gd name="connsiteY90" fmla="*/ 65848 h 393261"/>
                <a:gd name="connsiteX91" fmla="*/ 325706 w 402041"/>
                <a:gd name="connsiteY91" fmla="*/ 45606 h 393261"/>
                <a:gd name="connsiteX92" fmla="*/ 327413 w 402041"/>
                <a:gd name="connsiteY92" fmla="*/ 30607 h 393261"/>
                <a:gd name="connsiteX93" fmla="*/ 325096 w 402041"/>
                <a:gd name="connsiteY93" fmla="*/ 25242 h 393261"/>
                <a:gd name="connsiteX94" fmla="*/ 324731 w 402041"/>
                <a:gd name="connsiteY94" fmla="*/ 24266 h 393261"/>
                <a:gd name="connsiteX95" fmla="*/ 324609 w 402041"/>
                <a:gd name="connsiteY95" fmla="*/ 23169 h 393261"/>
                <a:gd name="connsiteX96" fmla="*/ 323877 w 402041"/>
                <a:gd name="connsiteY96" fmla="*/ 6463 h 393261"/>
                <a:gd name="connsiteX97" fmla="*/ 323755 w 402041"/>
                <a:gd name="connsiteY97" fmla="*/ 4756 h 393261"/>
                <a:gd name="connsiteX98" fmla="*/ 323755 w 402041"/>
                <a:gd name="connsiteY98" fmla="*/ 3536 h 393261"/>
                <a:gd name="connsiteX99" fmla="*/ 322657 w 402041"/>
                <a:gd name="connsiteY99" fmla="*/ 3170 h 393261"/>
                <a:gd name="connsiteX100" fmla="*/ 312414 w 402041"/>
                <a:gd name="connsiteY100" fmla="*/ 0 h 393261"/>
                <a:gd name="connsiteX101" fmla="*/ 290221 w 402041"/>
                <a:gd name="connsiteY101" fmla="*/ 3658 h 393261"/>
                <a:gd name="connsiteX102" fmla="*/ 275710 w 402041"/>
                <a:gd name="connsiteY102" fmla="*/ 5609 h 393261"/>
                <a:gd name="connsiteX103" fmla="*/ 262052 w 402041"/>
                <a:gd name="connsiteY103" fmla="*/ 5609 h 393261"/>
                <a:gd name="connsiteX104" fmla="*/ 254370 w 402041"/>
                <a:gd name="connsiteY104" fmla="*/ 4024 h 393261"/>
                <a:gd name="connsiteX105" fmla="*/ 252907 w 402041"/>
                <a:gd name="connsiteY105" fmla="*/ 3780 h 393261"/>
                <a:gd name="connsiteX106" fmla="*/ 230835 w 402041"/>
                <a:gd name="connsiteY106" fmla="*/ 5609 h 393261"/>
                <a:gd name="connsiteX107" fmla="*/ 221446 w 402041"/>
                <a:gd name="connsiteY107" fmla="*/ 10365 h 393261"/>
                <a:gd name="connsiteX108" fmla="*/ 201447 w 402041"/>
                <a:gd name="connsiteY108" fmla="*/ 11219 h 393261"/>
                <a:gd name="connsiteX109" fmla="*/ 187668 w 402041"/>
                <a:gd name="connsiteY109" fmla="*/ 15852 h 393261"/>
                <a:gd name="connsiteX110" fmla="*/ 177669 w 402041"/>
                <a:gd name="connsiteY110" fmla="*/ 21340 h 393261"/>
                <a:gd name="connsiteX111" fmla="*/ 163280 w 402041"/>
                <a:gd name="connsiteY111" fmla="*/ 33778 h 393261"/>
                <a:gd name="connsiteX112" fmla="*/ 155476 w 402041"/>
                <a:gd name="connsiteY112" fmla="*/ 36704 h 393261"/>
                <a:gd name="connsiteX113" fmla="*/ 142672 w 402041"/>
                <a:gd name="connsiteY113" fmla="*/ 43045 h 393261"/>
                <a:gd name="connsiteX114" fmla="*/ 137794 w 402041"/>
                <a:gd name="connsiteY114" fmla="*/ 47923 h 393261"/>
                <a:gd name="connsiteX115" fmla="*/ 138038 w 402041"/>
                <a:gd name="connsiteY115" fmla="*/ 49630 h 393261"/>
                <a:gd name="connsiteX116" fmla="*/ 140233 w 402041"/>
                <a:gd name="connsiteY116" fmla="*/ 60727 h 39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402041" h="393261">
                  <a:moveTo>
                    <a:pt x="140233" y="60727"/>
                  </a:moveTo>
                  <a:lnTo>
                    <a:pt x="145233" y="86335"/>
                  </a:lnTo>
                  <a:lnTo>
                    <a:pt x="147915" y="95236"/>
                  </a:lnTo>
                  <a:lnTo>
                    <a:pt x="148403" y="97187"/>
                  </a:lnTo>
                  <a:lnTo>
                    <a:pt x="147793" y="99017"/>
                  </a:lnTo>
                  <a:lnTo>
                    <a:pt x="140842" y="119869"/>
                  </a:lnTo>
                  <a:lnTo>
                    <a:pt x="139745" y="123283"/>
                  </a:lnTo>
                  <a:lnTo>
                    <a:pt x="136209" y="123893"/>
                  </a:lnTo>
                  <a:lnTo>
                    <a:pt x="122551" y="126453"/>
                  </a:lnTo>
                  <a:lnTo>
                    <a:pt x="121820" y="126575"/>
                  </a:lnTo>
                  <a:lnTo>
                    <a:pt x="121088" y="126575"/>
                  </a:lnTo>
                  <a:lnTo>
                    <a:pt x="118161" y="126332"/>
                  </a:lnTo>
                  <a:lnTo>
                    <a:pt x="108650" y="125844"/>
                  </a:lnTo>
                  <a:lnTo>
                    <a:pt x="105601" y="138282"/>
                  </a:lnTo>
                  <a:lnTo>
                    <a:pt x="104992" y="141087"/>
                  </a:lnTo>
                  <a:lnTo>
                    <a:pt x="104016" y="144867"/>
                  </a:lnTo>
                  <a:lnTo>
                    <a:pt x="100236" y="145720"/>
                  </a:lnTo>
                  <a:lnTo>
                    <a:pt x="96456" y="146452"/>
                  </a:lnTo>
                  <a:lnTo>
                    <a:pt x="93042" y="147062"/>
                  </a:lnTo>
                  <a:lnTo>
                    <a:pt x="83286" y="152305"/>
                  </a:lnTo>
                  <a:lnTo>
                    <a:pt x="81945" y="153037"/>
                  </a:lnTo>
                  <a:lnTo>
                    <a:pt x="75116" y="153037"/>
                  </a:lnTo>
                  <a:lnTo>
                    <a:pt x="73287" y="155110"/>
                  </a:lnTo>
                  <a:lnTo>
                    <a:pt x="69385" y="159500"/>
                  </a:lnTo>
                  <a:lnTo>
                    <a:pt x="68043" y="164134"/>
                  </a:lnTo>
                  <a:lnTo>
                    <a:pt x="67068" y="167426"/>
                  </a:lnTo>
                  <a:lnTo>
                    <a:pt x="63776" y="168279"/>
                  </a:lnTo>
                  <a:lnTo>
                    <a:pt x="16462" y="181083"/>
                  </a:lnTo>
                  <a:lnTo>
                    <a:pt x="0" y="193399"/>
                  </a:lnTo>
                  <a:lnTo>
                    <a:pt x="975" y="204130"/>
                  </a:lnTo>
                  <a:lnTo>
                    <a:pt x="1097" y="206325"/>
                  </a:lnTo>
                  <a:lnTo>
                    <a:pt x="1463" y="207911"/>
                  </a:lnTo>
                  <a:lnTo>
                    <a:pt x="2195" y="212666"/>
                  </a:lnTo>
                  <a:lnTo>
                    <a:pt x="3292" y="218641"/>
                  </a:lnTo>
                  <a:lnTo>
                    <a:pt x="4756" y="219739"/>
                  </a:lnTo>
                  <a:lnTo>
                    <a:pt x="74750" y="270710"/>
                  </a:lnTo>
                  <a:lnTo>
                    <a:pt x="79750" y="274247"/>
                  </a:lnTo>
                  <a:lnTo>
                    <a:pt x="80482" y="274856"/>
                  </a:lnTo>
                  <a:lnTo>
                    <a:pt x="120234" y="303513"/>
                  </a:lnTo>
                  <a:lnTo>
                    <a:pt x="193521" y="356313"/>
                  </a:lnTo>
                  <a:lnTo>
                    <a:pt x="194619" y="357045"/>
                  </a:lnTo>
                  <a:lnTo>
                    <a:pt x="195229" y="358265"/>
                  </a:lnTo>
                  <a:lnTo>
                    <a:pt x="199862" y="366435"/>
                  </a:lnTo>
                  <a:lnTo>
                    <a:pt x="202301" y="370825"/>
                  </a:lnTo>
                  <a:lnTo>
                    <a:pt x="213642" y="370093"/>
                  </a:lnTo>
                  <a:lnTo>
                    <a:pt x="214617" y="369971"/>
                  </a:lnTo>
                  <a:lnTo>
                    <a:pt x="215593" y="370215"/>
                  </a:lnTo>
                  <a:lnTo>
                    <a:pt x="224250" y="372532"/>
                  </a:lnTo>
                  <a:lnTo>
                    <a:pt x="228397" y="373751"/>
                  </a:lnTo>
                  <a:lnTo>
                    <a:pt x="228763" y="377897"/>
                  </a:lnTo>
                  <a:lnTo>
                    <a:pt x="229494" y="387774"/>
                  </a:lnTo>
                  <a:lnTo>
                    <a:pt x="229860" y="391433"/>
                  </a:lnTo>
                  <a:lnTo>
                    <a:pt x="230104" y="393262"/>
                  </a:lnTo>
                  <a:lnTo>
                    <a:pt x="256321" y="391067"/>
                  </a:lnTo>
                  <a:lnTo>
                    <a:pt x="256931" y="390945"/>
                  </a:lnTo>
                  <a:lnTo>
                    <a:pt x="256931" y="390823"/>
                  </a:lnTo>
                  <a:lnTo>
                    <a:pt x="259614" y="390823"/>
                  </a:lnTo>
                  <a:lnTo>
                    <a:pt x="265589" y="390213"/>
                  </a:lnTo>
                  <a:lnTo>
                    <a:pt x="265467" y="390457"/>
                  </a:lnTo>
                  <a:lnTo>
                    <a:pt x="280954" y="389847"/>
                  </a:lnTo>
                  <a:lnTo>
                    <a:pt x="402042" y="302781"/>
                  </a:lnTo>
                  <a:lnTo>
                    <a:pt x="395457" y="289733"/>
                  </a:lnTo>
                  <a:lnTo>
                    <a:pt x="392530" y="283758"/>
                  </a:lnTo>
                  <a:lnTo>
                    <a:pt x="376800" y="286075"/>
                  </a:lnTo>
                  <a:lnTo>
                    <a:pt x="373263" y="286563"/>
                  </a:lnTo>
                  <a:lnTo>
                    <a:pt x="371068" y="283758"/>
                  </a:lnTo>
                  <a:lnTo>
                    <a:pt x="354119" y="261565"/>
                  </a:lnTo>
                  <a:lnTo>
                    <a:pt x="353143" y="260223"/>
                  </a:lnTo>
                  <a:lnTo>
                    <a:pt x="353021" y="258638"/>
                  </a:lnTo>
                  <a:lnTo>
                    <a:pt x="351802" y="250102"/>
                  </a:lnTo>
                  <a:lnTo>
                    <a:pt x="350338" y="238396"/>
                  </a:lnTo>
                  <a:lnTo>
                    <a:pt x="349973" y="235713"/>
                  </a:lnTo>
                  <a:lnTo>
                    <a:pt x="351802" y="233640"/>
                  </a:lnTo>
                  <a:lnTo>
                    <a:pt x="357533" y="227055"/>
                  </a:lnTo>
                  <a:lnTo>
                    <a:pt x="362410" y="221324"/>
                  </a:lnTo>
                  <a:lnTo>
                    <a:pt x="362410" y="204496"/>
                  </a:lnTo>
                  <a:lnTo>
                    <a:pt x="358142" y="192424"/>
                  </a:lnTo>
                  <a:lnTo>
                    <a:pt x="357655" y="191083"/>
                  </a:lnTo>
                  <a:lnTo>
                    <a:pt x="357777" y="189741"/>
                  </a:lnTo>
                  <a:lnTo>
                    <a:pt x="358630" y="181449"/>
                  </a:lnTo>
                  <a:lnTo>
                    <a:pt x="353265" y="157183"/>
                  </a:lnTo>
                  <a:lnTo>
                    <a:pt x="351802" y="150598"/>
                  </a:lnTo>
                  <a:lnTo>
                    <a:pt x="351314" y="148403"/>
                  </a:lnTo>
                  <a:lnTo>
                    <a:pt x="350948" y="147427"/>
                  </a:lnTo>
                  <a:lnTo>
                    <a:pt x="336681" y="113650"/>
                  </a:lnTo>
                  <a:lnTo>
                    <a:pt x="327779" y="103041"/>
                  </a:lnTo>
                  <a:lnTo>
                    <a:pt x="326560" y="101577"/>
                  </a:lnTo>
                  <a:lnTo>
                    <a:pt x="312049" y="85237"/>
                  </a:lnTo>
                  <a:lnTo>
                    <a:pt x="310463" y="83530"/>
                  </a:lnTo>
                  <a:lnTo>
                    <a:pt x="310463" y="67434"/>
                  </a:lnTo>
                  <a:lnTo>
                    <a:pt x="311561" y="65848"/>
                  </a:lnTo>
                  <a:lnTo>
                    <a:pt x="325706" y="45606"/>
                  </a:lnTo>
                  <a:lnTo>
                    <a:pt x="327413" y="30607"/>
                  </a:lnTo>
                  <a:lnTo>
                    <a:pt x="325096" y="25242"/>
                  </a:lnTo>
                  <a:lnTo>
                    <a:pt x="324731" y="24266"/>
                  </a:lnTo>
                  <a:lnTo>
                    <a:pt x="324609" y="23169"/>
                  </a:lnTo>
                  <a:lnTo>
                    <a:pt x="323877" y="6463"/>
                  </a:lnTo>
                  <a:lnTo>
                    <a:pt x="323755" y="4756"/>
                  </a:lnTo>
                  <a:lnTo>
                    <a:pt x="323755" y="3536"/>
                  </a:lnTo>
                  <a:lnTo>
                    <a:pt x="322657" y="3170"/>
                  </a:lnTo>
                  <a:lnTo>
                    <a:pt x="312414" y="0"/>
                  </a:lnTo>
                  <a:lnTo>
                    <a:pt x="290221" y="3658"/>
                  </a:lnTo>
                  <a:lnTo>
                    <a:pt x="275710" y="5609"/>
                  </a:lnTo>
                  <a:lnTo>
                    <a:pt x="262052" y="5609"/>
                  </a:lnTo>
                  <a:lnTo>
                    <a:pt x="254370" y="4024"/>
                  </a:lnTo>
                  <a:lnTo>
                    <a:pt x="252907" y="3780"/>
                  </a:lnTo>
                  <a:lnTo>
                    <a:pt x="230835" y="5609"/>
                  </a:lnTo>
                  <a:lnTo>
                    <a:pt x="221446" y="10365"/>
                  </a:lnTo>
                  <a:lnTo>
                    <a:pt x="201447" y="11219"/>
                  </a:lnTo>
                  <a:lnTo>
                    <a:pt x="187668" y="15852"/>
                  </a:lnTo>
                  <a:lnTo>
                    <a:pt x="177669" y="21340"/>
                  </a:lnTo>
                  <a:lnTo>
                    <a:pt x="163280" y="33778"/>
                  </a:lnTo>
                  <a:lnTo>
                    <a:pt x="155476" y="36704"/>
                  </a:lnTo>
                  <a:lnTo>
                    <a:pt x="142672" y="43045"/>
                  </a:lnTo>
                  <a:lnTo>
                    <a:pt x="137794" y="47923"/>
                  </a:lnTo>
                  <a:lnTo>
                    <a:pt x="138038" y="49630"/>
                  </a:lnTo>
                  <a:lnTo>
                    <a:pt x="140233" y="607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8" name="Freihandform: Form 437">
              <a:extLst>
                <a:ext uri="{FF2B5EF4-FFF2-40B4-BE49-F238E27FC236}">
                  <a16:creationId xmlns:a16="http://schemas.microsoft.com/office/drawing/2014/main" id="{C5A639A3-0D7B-4832-BE8E-F42D0AF6F356}"/>
                </a:ext>
              </a:extLst>
            </p:cNvPr>
            <p:cNvSpPr/>
            <p:nvPr/>
          </p:nvSpPr>
          <p:spPr>
            <a:xfrm>
              <a:off x="4716500" y="3204286"/>
              <a:ext cx="245102" cy="170230"/>
            </a:xfrm>
            <a:custGeom>
              <a:avLst/>
              <a:gdLst>
                <a:gd name="connsiteX0" fmla="*/ 0 w 245102"/>
                <a:gd name="connsiteY0" fmla="*/ 119747 h 170230"/>
                <a:gd name="connsiteX1" fmla="*/ 0 w 245102"/>
                <a:gd name="connsiteY1" fmla="*/ 130356 h 170230"/>
                <a:gd name="connsiteX2" fmla="*/ 7317 w 245102"/>
                <a:gd name="connsiteY2" fmla="*/ 145598 h 170230"/>
                <a:gd name="connsiteX3" fmla="*/ 19267 w 245102"/>
                <a:gd name="connsiteY3" fmla="*/ 170230 h 170230"/>
                <a:gd name="connsiteX4" fmla="*/ 24998 w 245102"/>
                <a:gd name="connsiteY4" fmla="*/ 162060 h 170230"/>
                <a:gd name="connsiteX5" fmla="*/ 25974 w 245102"/>
                <a:gd name="connsiteY5" fmla="*/ 160719 h 170230"/>
                <a:gd name="connsiteX6" fmla="*/ 27559 w 245102"/>
                <a:gd name="connsiteY6" fmla="*/ 159987 h 170230"/>
                <a:gd name="connsiteX7" fmla="*/ 39265 w 245102"/>
                <a:gd name="connsiteY7" fmla="*/ 154744 h 170230"/>
                <a:gd name="connsiteX8" fmla="*/ 40728 w 245102"/>
                <a:gd name="connsiteY8" fmla="*/ 154134 h 170230"/>
                <a:gd name="connsiteX9" fmla="*/ 42192 w 245102"/>
                <a:gd name="connsiteY9" fmla="*/ 154256 h 170230"/>
                <a:gd name="connsiteX10" fmla="*/ 61215 w 245102"/>
                <a:gd name="connsiteY10" fmla="*/ 155597 h 170230"/>
                <a:gd name="connsiteX11" fmla="*/ 70238 w 245102"/>
                <a:gd name="connsiteY11" fmla="*/ 154622 h 170230"/>
                <a:gd name="connsiteX12" fmla="*/ 70482 w 245102"/>
                <a:gd name="connsiteY12" fmla="*/ 150842 h 170230"/>
                <a:gd name="connsiteX13" fmla="*/ 71336 w 245102"/>
                <a:gd name="connsiteY13" fmla="*/ 139745 h 170230"/>
                <a:gd name="connsiteX14" fmla="*/ 71702 w 245102"/>
                <a:gd name="connsiteY14" fmla="*/ 134989 h 170230"/>
                <a:gd name="connsiteX15" fmla="*/ 76335 w 245102"/>
                <a:gd name="connsiteY15" fmla="*/ 134136 h 170230"/>
                <a:gd name="connsiteX16" fmla="*/ 104992 w 245102"/>
                <a:gd name="connsiteY16" fmla="*/ 128892 h 170230"/>
                <a:gd name="connsiteX17" fmla="*/ 107674 w 245102"/>
                <a:gd name="connsiteY17" fmla="*/ 128526 h 170230"/>
                <a:gd name="connsiteX18" fmla="*/ 109747 w 245102"/>
                <a:gd name="connsiteY18" fmla="*/ 130112 h 170230"/>
                <a:gd name="connsiteX19" fmla="*/ 125356 w 245102"/>
                <a:gd name="connsiteY19" fmla="*/ 141696 h 170230"/>
                <a:gd name="connsiteX20" fmla="*/ 143159 w 245102"/>
                <a:gd name="connsiteY20" fmla="*/ 145476 h 170230"/>
                <a:gd name="connsiteX21" fmla="*/ 150354 w 245102"/>
                <a:gd name="connsiteY21" fmla="*/ 147062 h 170230"/>
                <a:gd name="connsiteX22" fmla="*/ 156329 w 245102"/>
                <a:gd name="connsiteY22" fmla="*/ 145233 h 170230"/>
                <a:gd name="connsiteX23" fmla="*/ 167670 w 245102"/>
                <a:gd name="connsiteY23" fmla="*/ 141696 h 170230"/>
                <a:gd name="connsiteX24" fmla="*/ 197545 w 245102"/>
                <a:gd name="connsiteY24" fmla="*/ 130356 h 170230"/>
                <a:gd name="connsiteX25" fmla="*/ 215349 w 245102"/>
                <a:gd name="connsiteY25" fmla="*/ 123527 h 170230"/>
                <a:gd name="connsiteX26" fmla="*/ 216568 w 245102"/>
                <a:gd name="connsiteY26" fmla="*/ 123039 h 170230"/>
                <a:gd name="connsiteX27" fmla="*/ 217910 w 245102"/>
                <a:gd name="connsiteY27" fmla="*/ 123039 h 170230"/>
                <a:gd name="connsiteX28" fmla="*/ 245103 w 245102"/>
                <a:gd name="connsiteY28" fmla="*/ 124380 h 170230"/>
                <a:gd name="connsiteX29" fmla="*/ 244127 w 245102"/>
                <a:gd name="connsiteY29" fmla="*/ 122795 h 170230"/>
                <a:gd name="connsiteX30" fmla="*/ 224372 w 245102"/>
                <a:gd name="connsiteY30" fmla="*/ 109625 h 170230"/>
                <a:gd name="connsiteX31" fmla="*/ 221934 w 245102"/>
                <a:gd name="connsiteY31" fmla="*/ 108040 h 170230"/>
                <a:gd name="connsiteX32" fmla="*/ 221690 w 245102"/>
                <a:gd name="connsiteY32" fmla="*/ 105114 h 170230"/>
                <a:gd name="connsiteX33" fmla="*/ 220470 w 245102"/>
                <a:gd name="connsiteY33" fmla="*/ 93407 h 170230"/>
                <a:gd name="connsiteX34" fmla="*/ 212056 w 245102"/>
                <a:gd name="connsiteY34" fmla="*/ 84993 h 170230"/>
                <a:gd name="connsiteX35" fmla="*/ 206691 w 245102"/>
                <a:gd name="connsiteY35" fmla="*/ 79628 h 170230"/>
                <a:gd name="connsiteX36" fmla="*/ 198521 w 245102"/>
                <a:gd name="connsiteY36" fmla="*/ 77189 h 170230"/>
                <a:gd name="connsiteX37" fmla="*/ 196204 w 245102"/>
                <a:gd name="connsiteY37" fmla="*/ 76579 h 170230"/>
                <a:gd name="connsiteX38" fmla="*/ 194985 w 245102"/>
                <a:gd name="connsiteY38" fmla="*/ 74628 h 170230"/>
                <a:gd name="connsiteX39" fmla="*/ 194497 w 245102"/>
                <a:gd name="connsiteY39" fmla="*/ 73775 h 170230"/>
                <a:gd name="connsiteX40" fmla="*/ 189010 w 245102"/>
                <a:gd name="connsiteY40" fmla="*/ 65117 h 170230"/>
                <a:gd name="connsiteX41" fmla="*/ 181815 w 245102"/>
                <a:gd name="connsiteY41" fmla="*/ 62434 h 170230"/>
                <a:gd name="connsiteX42" fmla="*/ 180473 w 245102"/>
                <a:gd name="connsiteY42" fmla="*/ 61824 h 170230"/>
                <a:gd name="connsiteX43" fmla="*/ 176205 w 245102"/>
                <a:gd name="connsiteY43" fmla="*/ 60239 h 170230"/>
                <a:gd name="connsiteX44" fmla="*/ 176450 w 245102"/>
                <a:gd name="connsiteY44" fmla="*/ 55849 h 170230"/>
                <a:gd name="connsiteX45" fmla="*/ 177181 w 245102"/>
                <a:gd name="connsiteY45" fmla="*/ 43533 h 170230"/>
                <a:gd name="connsiteX46" fmla="*/ 177303 w 245102"/>
                <a:gd name="connsiteY46" fmla="*/ 41216 h 170230"/>
                <a:gd name="connsiteX47" fmla="*/ 177669 w 245102"/>
                <a:gd name="connsiteY47" fmla="*/ 35363 h 170230"/>
                <a:gd name="connsiteX48" fmla="*/ 177669 w 245102"/>
                <a:gd name="connsiteY48" fmla="*/ 35363 h 170230"/>
                <a:gd name="connsiteX49" fmla="*/ 177791 w 245102"/>
                <a:gd name="connsiteY49" fmla="*/ 34631 h 170230"/>
                <a:gd name="connsiteX50" fmla="*/ 169499 w 245102"/>
                <a:gd name="connsiteY50" fmla="*/ 23413 h 170230"/>
                <a:gd name="connsiteX51" fmla="*/ 168036 w 245102"/>
                <a:gd name="connsiteY51" fmla="*/ 21218 h 170230"/>
                <a:gd name="connsiteX52" fmla="*/ 165841 w 245102"/>
                <a:gd name="connsiteY52" fmla="*/ 18291 h 170230"/>
                <a:gd name="connsiteX53" fmla="*/ 167426 w 245102"/>
                <a:gd name="connsiteY53" fmla="*/ 14999 h 170230"/>
                <a:gd name="connsiteX54" fmla="*/ 169133 w 245102"/>
                <a:gd name="connsiteY54" fmla="*/ 11706 h 170230"/>
                <a:gd name="connsiteX55" fmla="*/ 168279 w 245102"/>
                <a:gd name="connsiteY55" fmla="*/ 7438 h 170230"/>
                <a:gd name="connsiteX56" fmla="*/ 166938 w 245102"/>
                <a:gd name="connsiteY56" fmla="*/ 6585 h 170230"/>
                <a:gd name="connsiteX57" fmla="*/ 157548 w 245102"/>
                <a:gd name="connsiteY57" fmla="*/ 0 h 170230"/>
                <a:gd name="connsiteX58" fmla="*/ 149744 w 245102"/>
                <a:gd name="connsiteY58" fmla="*/ 4878 h 170230"/>
                <a:gd name="connsiteX59" fmla="*/ 144623 w 245102"/>
                <a:gd name="connsiteY59" fmla="*/ 24023 h 170230"/>
                <a:gd name="connsiteX60" fmla="*/ 144257 w 245102"/>
                <a:gd name="connsiteY60" fmla="*/ 25608 h 170230"/>
                <a:gd name="connsiteX61" fmla="*/ 143159 w 245102"/>
                <a:gd name="connsiteY61" fmla="*/ 26705 h 170230"/>
                <a:gd name="connsiteX62" fmla="*/ 117186 w 245102"/>
                <a:gd name="connsiteY62" fmla="*/ 54020 h 170230"/>
                <a:gd name="connsiteX63" fmla="*/ 115479 w 245102"/>
                <a:gd name="connsiteY63" fmla="*/ 55849 h 170230"/>
                <a:gd name="connsiteX64" fmla="*/ 91944 w 245102"/>
                <a:gd name="connsiteY64" fmla="*/ 55849 h 170230"/>
                <a:gd name="connsiteX65" fmla="*/ 82311 w 245102"/>
                <a:gd name="connsiteY65" fmla="*/ 74141 h 170230"/>
                <a:gd name="connsiteX66" fmla="*/ 80847 w 245102"/>
                <a:gd name="connsiteY66" fmla="*/ 76823 h 170230"/>
                <a:gd name="connsiteX67" fmla="*/ 77920 w 245102"/>
                <a:gd name="connsiteY67" fmla="*/ 77311 h 170230"/>
                <a:gd name="connsiteX68" fmla="*/ 21096 w 245102"/>
                <a:gd name="connsiteY68" fmla="*/ 86701 h 170230"/>
                <a:gd name="connsiteX69" fmla="*/ 4878 w 245102"/>
                <a:gd name="connsiteY69" fmla="*/ 112064 h 170230"/>
                <a:gd name="connsiteX70" fmla="*/ 0 w 245102"/>
                <a:gd name="connsiteY70" fmla="*/ 119747 h 170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245102" h="170230">
                  <a:moveTo>
                    <a:pt x="0" y="119747"/>
                  </a:moveTo>
                  <a:lnTo>
                    <a:pt x="0" y="130356"/>
                  </a:lnTo>
                  <a:lnTo>
                    <a:pt x="7317" y="145598"/>
                  </a:lnTo>
                  <a:lnTo>
                    <a:pt x="19267" y="170230"/>
                  </a:lnTo>
                  <a:lnTo>
                    <a:pt x="24998" y="162060"/>
                  </a:lnTo>
                  <a:lnTo>
                    <a:pt x="25974" y="160719"/>
                  </a:lnTo>
                  <a:lnTo>
                    <a:pt x="27559" y="159987"/>
                  </a:lnTo>
                  <a:lnTo>
                    <a:pt x="39265" y="154744"/>
                  </a:lnTo>
                  <a:lnTo>
                    <a:pt x="40728" y="154134"/>
                  </a:lnTo>
                  <a:lnTo>
                    <a:pt x="42192" y="154256"/>
                  </a:lnTo>
                  <a:lnTo>
                    <a:pt x="61215" y="155597"/>
                  </a:lnTo>
                  <a:lnTo>
                    <a:pt x="70238" y="154622"/>
                  </a:lnTo>
                  <a:lnTo>
                    <a:pt x="70482" y="150842"/>
                  </a:lnTo>
                  <a:lnTo>
                    <a:pt x="71336" y="139745"/>
                  </a:lnTo>
                  <a:lnTo>
                    <a:pt x="71702" y="134989"/>
                  </a:lnTo>
                  <a:lnTo>
                    <a:pt x="76335" y="134136"/>
                  </a:lnTo>
                  <a:lnTo>
                    <a:pt x="104992" y="128892"/>
                  </a:lnTo>
                  <a:lnTo>
                    <a:pt x="107674" y="128526"/>
                  </a:lnTo>
                  <a:lnTo>
                    <a:pt x="109747" y="130112"/>
                  </a:lnTo>
                  <a:lnTo>
                    <a:pt x="125356" y="141696"/>
                  </a:lnTo>
                  <a:lnTo>
                    <a:pt x="143159" y="145476"/>
                  </a:lnTo>
                  <a:lnTo>
                    <a:pt x="150354" y="147062"/>
                  </a:lnTo>
                  <a:lnTo>
                    <a:pt x="156329" y="145233"/>
                  </a:lnTo>
                  <a:lnTo>
                    <a:pt x="167670" y="141696"/>
                  </a:lnTo>
                  <a:lnTo>
                    <a:pt x="197545" y="130356"/>
                  </a:lnTo>
                  <a:lnTo>
                    <a:pt x="215349" y="123527"/>
                  </a:lnTo>
                  <a:lnTo>
                    <a:pt x="216568" y="123039"/>
                  </a:lnTo>
                  <a:lnTo>
                    <a:pt x="217910" y="123039"/>
                  </a:lnTo>
                  <a:lnTo>
                    <a:pt x="245103" y="124380"/>
                  </a:lnTo>
                  <a:lnTo>
                    <a:pt x="244127" y="122795"/>
                  </a:lnTo>
                  <a:lnTo>
                    <a:pt x="224372" y="109625"/>
                  </a:lnTo>
                  <a:lnTo>
                    <a:pt x="221934" y="108040"/>
                  </a:lnTo>
                  <a:lnTo>
                    <a:pt x="221690" y="105114"/>
                  </a:lnTo>
                  <a:lnTo>
                    <a:pt x="220470" y="93407"/>
                  </a:lnTo>
                  <a:lnTo>
                    <a:pt x="212056" y="84993"/>
                  </a:lnTo>
                  <a:lnTo>
                    <a:pt x="206691" y="79628"/>
                  </a:lnTo>
                  <a:lnTo>
                    <a:pt x="198521" y="77189"/>
                  </a:lnTo>
                  <a:lnTo>
                    <a:pt x="196204" y="76579"/>
                  </a:lnTo>
                  <a:lnTo>
                    <a:pt x="194985" y="74628"/>
                  </a:lnTo>
                  <a:lnTo>
                    <a:pt x="194497" y="73775"/>
                  </a:lnTo>
                  <a:lnTo>
                    <a:pt x="189010" y="65117"/>
                  </a:lnTo>
                  <a:lnTo>
                    <a:pt x="181815" y="62434"/>
                  </a:lnTo>
                  <a:lnTo>
                    <a:pt x="180473" y="61824"/>
                  </a:lnTo>
                  <a:lnTo>
                    <a:pt x="176205" y="60239"/>
                  </a:lnTo>
                  <a:lnTo>
                    <a:pt x="176450" y="55849"/>
                  </a:lnTo>
                  <a:lnTo>
                    <a:pt x="177181" y="43533"/>
                  </a:lnTo>
                  <a:lnTo>
                    <a:pt x="177303" y="41216"/>
                  </a:lnTo>
                  <a:lnTo>
                    <a:pt x="177669" y="35363"/>
                  </a:lnTo>
                  <a:lnTo>
                    <a:pt x="177669" y="35363"/>
                  </a:lnTo>
                  <a:lnTo>
                    <a:pt x="177791" y="34631"/>
                  </a:lnTo>
                  <a:lnTo>
                    <a:pt x="169499" y="23413"/>
                  </a:lnTo>
                  <a:lnTo>
                    <a:pt x="168036" y="21218"/>
                  </a:lnTo>
                  <a:lnTo>
                    <a:pt x="165841" y="18291"/>
                  </a:lnTo>
                  <a:lnTo>
                    <a:pt x="167426" y="14999"/>
                  </a:lnTo>
                  <a:lnTo>
                    <a:pt x="169133" y="11706"/>
                  </a:lnTo>
                  <a:lnTo>
                    <a:pt x="168279" y="7438"/>
                  </a:lnTo>
                  <a:lnTo>
                    <a:pt x="166938" y="6585"/>
                  </a:lnTo>
                  <a:lnTo>
                    <a:pt x="157548" y="0"/>
                  </a:lnTo>
                  <a:lnTo>
                    <a:pt x="149744" y="4878"/>
                  </a:lnTo>
                  <a:lnTo>
                    <a:pt x="144623" y="24023"/>
                  </a:lnTo>
                  <a:lnTo>
                    <a:pt x="144257" y="25608"/>
                  </a:lnTo>
                  <a:lnTo>
                    <a:pt x="143159" y="26705"/>
                  </a:lnTo>
                  <a:lnTo>
                    <a:pt x="117186" y="54020"/>
                  </a:lnTo>
                  <a:lnTo>
                    <a:pt x="115479" y="55849"/>
                  </a:lnTo>
                  <a:lnTo>
                    <a:pt x="91944" y="55849"/>
                  </a:lnTo>
                  <a:lnTo>
                    <a:pt x="82311" y="74141"/>
                  </a:lnTo>
                  <a:lnTo>
                    <a:pt x="80847" y="76823"/>
                  </a:lnTo>
                  <a:lnTo>
                    <a:pt x="77920" y="77311"/>
                  </a:lnTo>
                  <a:lnTo>
                    <a:pt x="21096" y="86701"/>
                  </a:lnTo>
                  <a:lnTo>
                    <a:pt x="4878" y="112064"/>
                  </a:lnTo>
                  <a:lnTo>
                    <a:pt x="0" y="11974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39" name="Freihandform: Form 438">
              <a:extLst>
                <a:ext uri="{FF2B5EF4-FFF2-40B4-BE49-F238E27FC236}">
                  <a16:creationId xmlns:a16="http://schemas.microsoft.com/office/drawing/2014/main" id="{67393420-311E-4102-BA05-E60B55ED12BE}"/>
                </a:ext>
              </a:extLst>
            </p:cNvPr>
            <p:cNvSpPr/>
            <p:nvPr/>
          </p:nvSpPr>
          <p:spPr>
            <a:xfrm>
              <a:off x="7416775" y="3474265"/>
              <a:ext cx="56703" cy="41216"/>
            </a:xfrm>
            <a:custGeom>
              <a:avLst/>
              <a:gdLst>
                <a:gd name="connsiteX0" fmla="*/ 14268 w 56703"/>
                <a:gd name="connsiteY0" fmla="*/ 6341 h 41216"/>
                <a:gd name="connsiteX1" fmla="*/ 30974 w 56703"/>
                <a:gd name="connsiteY1" fmla="*/ 11219 h 41216"/>
                <a:gd name="connsiteX2" fmla="*/ 38534 w 56703"/>
                <a:gd name="connsiteY2" fmla="*/ 21584 h 41216"/>
                <a:gd name="connsiteX3" fmla="*/ 45485 w 56703"/>
                <a:gd name="connsiteY3" fmla="*/ 23535 h 41216"/>
                <a:gd name="connsiteX4" fmla="*/ 53410 w 56703"/>
                <a:gd name="connsiteY4" fmla="*/ 41216 h 41216"/>
                <a:gd name="connsiteX5" fmla="*/ 56703 w 56703"/>
                <a:gd name="connsiteY5" fmla="*/ 39387 h 41216"/>
                <a:gd name="connsiteX6" fmla="*/ 55240 w 56703"/>
                <a:gd name="connsiteY6" fmla="*/ 29510 h 41216"/>
                <a:gd name="connsiteX7" fmla="*/ 46094 w 56703"/>
                <a:gd name="connsiteY7" fmla="*/ 23900 h 41216"/>
                <a:gd name="connsiteX8" fmla="*/ 35973 w 56703"/>
                <a:gd name="connsiteY8" fmla="*/ 12804 h 41216"/>
                <a:gd name="connsiteX9" fmla="*/ 24267 w 56703"/>
                <a:gd name="connsiteY9" fmla="*/ 5609 h 41216"/>
                <a:gd name="connsiteX10" fmla="*/ 12804 w 56703"/>
                <a:gd name="connsiteY10" fmla="*/ 3658 h 41216"/>
                <a:gd name="connsiteX11" fmla="*/ 4634 w 56703"/>
                <a:gd name="connsiteY11" fmla="*/ 0 h 41216"/>
                <a:gd name="connsiteX12" fmla="*/ 0 w 56703"/>
                <a:gd name="connsiteY12" fmla="*/ 0 h 41216"/>
                <a:gd name="connsiteX13" fmla="*/ 366 w 56703"/>
                <a:gd name="connsiteY13" fmla="*/ 1951 h 41216"/>
                <a:gd name="connsiteX14" fmla="*/ 14268 w 56703"/>
                <a:gd name="connsiteY14" fmla="*/ 6341 h 4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703" h="41216">
                  <a:moveTo>
                    <a:pt x="14268" y="6341"/>
                  </a:moveTo>
                  <a:lnTo>
                    <a:pt x="30974" y="11219"/>
                  </a:lnTo>
                  <a:lnTo>
                    <a:pt x="38534" y="21584"/>
                  </a:lnTo>
                  <a:lnTo>
                    <a:pt x="45485" y="23535"/>
                  </a:lnTo>
                  <a:lnTo>
                    <a:pt x="53410" y="41216"/>
                  </a:lnTo>
                  <a:lnTo>
                    <a:pt x="56703" y="39387"/>
                  </a:lnTo>
                  <a:lnTo>
                    <a:pt x="55240" y="29510"/>
                  </a:lnTo>
                  <a:lnTo>
                    <a:pt x="46094" y="23900"/>
                  </a:lnTo>
                  <a:lnTo>
                    <a:pt x="35973" y="12804"/>
                  </a:lnTo>
                  <a:lnTo>
                    <a:pt x="24267" y="5609"/>
                  </a:lnTo>
                  <a:lnTo>
                    <a:pt x="12804" y="3658"/>
                  </a:lnTo>
                  <a:lnTo>
                    <a:pt x="4634" y="0"/>
                  </a:lnTo>
                  <a:lnTo>
                    <a:pt x="0" y="0"/>
                  </a:lnTo>
                  <a:lnTo>
                    <a:pt x="366" y="1951"/>
                  </a:lnTo>
                  <a:lnTo>
                    <a:pt x="14268" y="6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40" name="Freihandform: Form 439">
              <a:extLst>
                <a:ext uri="{FF2B5EF4-FFF2-40B4-BE49-F238E27FC236}">
                  <a16:creationId xmlns:a16="http://schemas.microsoft.com/office/drawing/2014/main" id="{03BE055D-7D3F-4ECD-8424-9095F3AAE045}"/>
                </a:ext>
              </a:extLst>
            </p:cNvPr>
            <p:cNvSpPr/>
            <p:nvPr/>
          </p:nvSpPr>
          <p:spPr>
            <a:xfrm>
              <a:off x="7382754" y="3507677"/>
              <a:ext cx="75359" cy="38899"/>
            </a:xfrm>
            <a:custGeom>
              <a:avLst/>
              <a:gdLst>
                <a:gd name="connsiteX0" fmla="*/ 15121 w 75359"/>
                <a:gd name="connsiteY0" fmla="*/ 38899 h 38899"/>
                <a:gd name="connsiteX1" fmla="*/ 35851 w 75359"/>
                <a:gd name="connsiteY1" fmla="*/ 38046 h 38899"/>
                <a:gd name="connsiteX2" fmla="*/ 71092 w 75359"/>
                <a:gd name="connsiteY2" fmla="*/ 24632 h 38899"/>
                <a:gd name="connsiteX3" fmla="*/ 73775 w 75359"/>
                <a:gd name="connsiteY3" fmla="*/ 24632 h 38899"/>
                <a:gd name="connsiteX4" fmla="*/ 72921 w 75359"/>
                <a:gd name="connsiteY4" fmla="*/ 9755 h 38899"/>
                <a:gd name="connsiteX5" fmla="*/ 72921 w 75359"/>
                <a:gd name="connsiteY5" fmla="*/ 9755 h 38899"/>
                <a:gd name="connsiteX6" fmla="*/ 75360 w 75359"/>
                <a:gd name="connsiteY6" fmla="*/ 4999 h 38899"/>
                <a:gd name="connsiteX7" fmla="*/ 70361 w 75359"/>
                <a:gd name="connsiteY7" fmla="*/ 0 h 38899"/>
                <a:gd name="connsiteX8" fmla="*/ 67555 w 75359"/>
                <a:gd name="connsiteY8" fmla="*/ 2683 h 38899"/>
                <a:gd name="connsiteX9" fmla="*/ 65727 w 75359"/>
                <a:gd name="connsiteY9" fmla="*/ 12316 h 38899"/>
                <a:gd name="connsiteX10" fmla="*/ 45606 w 75359"/>
                <a:gd name="connsiteY10" fmla="*/ 29388 h 38899"/>
                <a:gd name="connsiteX11" fmla="*/ 25730 w 75359"/>
                <a:gd name="connsiteY11" fmla="*/ 29388 h 38899"/>
                <a:gd name="connsiteX12" fmla="*/ 22193 w 75359"/>
                <a:gd name="connsiteY12" fmla="*/ 29388 h 38899"/>
                <a:gd name="connsiteX13" fmla="*/ 9999 w 75359"/>
                <a:gd name="connsiteY13" fmla="*/ 26827 h 38899"/>
                <a:gd name="connsiteX14" fmla="*/ 5000 w 75359"/>
                <a:gd name="connsiteY14" fmla="*/ 25973 h 38899"/>
                <a:gd name="connsiteX15" fmla="*/ 0 w 75359"/>
                <a:gd name="connsiteY15" fmla="*/ 25973 h 38899"/>
                <a:gd name="connsiteX16" fmla="*/ 2317 w 75359"/>
                <a:gd name="connsiteY16" fmla="*/ 31095 h 38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359" h="38899">
                  <a:moveTo>
                    <a:pt x="15121" y="38899"/>
                  </a:moveTo>
                  <a:lnTo>
                    <a:pt x="35851" y="38046"/>
                  </a:lnTo>
                  <a:lnTo>
                    <a:pt x="71092" y="24632"/>
                  </a:lnTo>
                  <a:lnTo>
                    <a:pt x="73775" y="24632"/>
                  </a:lnTo>
                  <a:lnTo>
                    <a:pt x="72921" y="9755"/>
                  </a:lnTo>
                  <a:lnTo>
                    <a:pt x="72921" y="9755"/>
                  </a:lnTo>
                  <a:lnTo>
                    <a:pt x="75360" y="4999"/>
                  </a:lnTo>
                  <a:lnTo>
                    <a:pt x="70361" y="0"/>
                  </a:lnTo>
                  <a:lnTo>
                    <a:pt x="67555" y="2683"/>
                  </a:lnTo>
                  <a:lnTo>
                    <a:pt x="65727" y="12316"/>
                  </a:lnTo>
                  <a:lnTo>
                    <a:pt x="45606" y="29388"/>
                  </a:lnTo>
                  <a:lnTo>
                    <a:pt x="25730" y="29388"/>
                  </a:lnTo>
                  <a:lnTo>
                    <a:pt x="22193" y="29388"/>
                  </a:lnTo>
                  <a:cubicBezTo>
                    <a:pt x="18066" y="28867"/>
                    <a:pt x="13988" y="28011"/>
                    <a:pt x="9999" y="26827"/>
                  </a:cubicBezTo>
                  <a:cubicBezTo>
                    <a:pt x="8372" y="26346"/>
                    <a:pt x="6694" y="26059"/>
                    <a:pt x="5000" y="25973"/>
                  </a:cubicBezTo>
                  <a:lnTo>
                    <a:pt x="0" y="25973"/>
                  </a:lnTo>
                  <a:lnTo>
                    <a:pt x="2317" y="310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41" name="Freihandform: Form 440">
              <a:extLst>
                <a:ext uri="{FF2B5EF4-FFF2-40B4-BE49-F238E27FC236}">
                  <a16:creationId xmlns:a16="http://schemas.microsoft.com/office/drawing/2014/main" id="{76591AD3-B072-471F-A9E8-613D6471AC73}"/>
                </a:ext>
              </a:extLst>
            </p:cNvPr>
            <p:cNvSpPr/>
            <p:nvPr/>
          </p:nvSpPr>
          <p:spPr>
            <a:xfrm>
              <a:off x="7466527" y="3637910"/>
              <a:ext cx="6097" cy="2926"/>
            </a:xfrm>
            <a:custGeom>
              <a:avLst/>
              <a:gdLst>
                <a:gd name="connsiteX0" fmla="*/ 0 w 6097"/>
                <a:gd name="connsiteY0" fmla="*/ 1097 h 2926"/>
                <a:gd name="connsiteX1" fmla="*/ 4390 w 6097"/>
                <a:gd name="connsiteY1" fmla="*/ 2927 h 2926"/>
                <a:gd name="connsiteX2" fmla="*/ 6097 w 6097"/>
                <a:gd name="connsiteY2" fmla="*/ 1951 h 2926"/>
                <a:gd name="connsiteX3" fmla="*/ 4634 w 6097"/>
                <a:gd name="connsiteY3" fmla="*/ 0 h 2926"/>
                <a:gd name="connsiteX4" fmla="*/ 0 w 6097"/>
                <a:gd name="connsiteY4" fmla="*/ 610 h 2926"/>
                <a:gd name="connsiteX5" fmla="*/ 0 w 6097"/>
                <a:gd name="connsiteY5" fmla="*/ 1097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97" h="2926">
                  <a:moveTo>
                    <a:pt x="0" y="1097"/>
                  </a:moveTo>
                  <a:lnTo>
                    <a:pt x="4390" y="2927"/>
                  </a:lnTo>
                  <a:lnTo>
                    <a:pt x="6097" y="1951"/>
                  </a:lnTo>
                  <a:lnTo>
                    <a:pt x="4634" y="0"/>
                  </a:lnTo>
                  <a:lnTo>
                    <a:pt x="0" y="610"/>
                  </a:lnTo>
                  <a:lnTo>
                    <a:pt x="0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42" name="Freihandform: Form 441">
              <a:extLst>
                <a:ext uri="{FF2B5EF4-FFF2-40B4-BE49-F238E27FC236}">
                  <a16:creationId xmlns:a16="http://schemas.microsoft.com/office/drawing/2014/main" id="{1A36054C-E57D-4D48-A0FC-F23F1F432FA1}"/>
                </a:ext>
              </a:extLst>
            </p:cNvPr>
            <p:cNvSpPr/>
            <p:nvPr/>
          </p:nvSpPr>
          <p:spPr>
            <a:xfrm>
              <a:off x="7236057" y="3481703"/>
              <a:ext cx="190716" cy="154621"/>
            </a:xfrm>
            <a:custGeom>
              <a:avLst/>
              <a:gdLst>
                <a:gd name="connsiteX0" fmla="*/ 3293 w 190716"/>
                <a:gd name="connsiteY0" fmla="*/ 68653 h 154621"/>
                <a:gd name="connsiteX1" fmla="*/ 0 w 190716"/>
                <a:gd name="connsiteY1" fmla="*/ 72921 h 154621"/>
                <a:gd name="connsiteX2" fmla="*/ 610 w 190716"/>
                <a:gd name="connsiteY2" fmla="*/ 77921 h 154621"/>
                <a:gd name="connsiteX3" fmla="*/ 5365 w 190716"/>
                <a:gd name="connsiteY3" fmla="*/ 85115 h 154621"/>
                <a:gd name="connsiteX4" fmla="*/ 6341 w 190716"/>
                <a:gd name="connsiteY4" fmla="*/ 86457 h 154621"/>
                <a:gd name="connsiteX5" fmla="*/ 6463 w 190716"/>
                <a:gd name="connsiteY5" fmla="*/ 88042 h 154621"/>
                <a:gd name="connsiteX6" fmla="*/ 8902 w 190716"/>
                <a:gd name="connsiteY6" fmla="*/ 123893 h 154621"/>
                <a:gd name="connsiteX7" fmla="*/ 9146 w 190716"/>
                <a:gd name="connsiteY7" fmla="*/ 126332 h 154621"/>
                <a:gd name="connsiteX8" fmla="*/ 41460 w 190716"/>
                <a:gd name="connsiteY8" fmla="*/ 126332 h 154621"/>
                <a:gd name="connsiteX9" fmla="*/ 47070 w 190716"/>
                <a:gd name="connsiteY9" fmla="*/ 122551 h 154621"/>
                <a:gd name="connsiteX10" fmla="*/ 37558 w 190716"/>
                <a:gd name="connsiteY10" fmla="*/ 114869 h 154621"/>
                <a:gd name="connsiteX11" fmla="*/ 41827 w 190716"/>
                <a:gd name="connsiteY11" fmla="*/ 106455 h 154621"/>
                <a:gd name="connsiteX12" fmla="*/ 58288 w 190716"/>
                <a:gd name="connsiteY12" fmla="*/ 106455 h 154621"/>
                <a:gd name="connsiteX13" fmla="*/ 55484 w 190716"/>
                <a:gd name="connsiteY13" fmla="*/ 96456 h 154621"/>
                <a:gd name="connsiteX14" fmla="*/ 71824 w 190716"/>
                <a:gd name="connsiteY14" fmla="*/ 94139 h 154621"/>
                <a:gd name="connsiteX15" fmla="*/ 92920 w 190716"/>
                <a:gd name="connsiteY15" fmla="*/ 103772 h 154621"/>
                <a:gd name="connsiteX16" fmla="*/ 104017 w 190716"/>
                <a:gd name="connsiteY16" fmla="*/ 105723 h 154621"/>
                <a:gd name="connsiteX17" fmla="*/ 111699 w 190716"/>
                <a:gd name="connsiteY17" fmla="*/ 120234 h 154621"/>
                <a:gd name="connsiteX18" fmla="*/ 121332 w 190716"/>
                <a:gd name="connsiteY18" fmla="*/ 124990 h 154621"/>
                <a:gd name="connsiteX19" fmla="*/ 126088 w 190716"/>
                <a:gd name="connsiteY19" fmla="*/ 138282 h 154621"/>
                <a:gd name="connsiteX20" fmla="*/ 137184 w 190716"/>
                <a:gd name="connsiteY20" fmla="*/ 144257 h 154621"/>
                <a:gd name="connsiteX21" fmla="*/ 154988 w 190716"/>
                <a:gd name="connsiteY21" fmla="*/ 144257 h 154621"/>
                <a:gd name="connsiteX22" fmla="*/ 172304 w 190716"/>
                <a:gd name="connsiteY22" fmla="*/ 150110 h 154621"/>
                <a:gd name="connsiteX23" fmla="*/ 187912 w 190716"/>
                <a:gd name="connsiteY23" fmla="*/ 154622 h 154621"/>
                <a:gd name="connsiteX24" fmla="*/ 190717 w 190716"/>
                <a:gd name="connsiteY24" fmla="*/ 154134 h 154621"/>
                <a:gd name="connsiteX25" fmla="*/ 188766 w 190716"/>
                <a:gd name="connsiteY25" fmla="*/ 147793 h 154621"/>
                <a:gd name="connsiteX26" fmla="*/ 165109 w 190716"/>
                <a:gd name="connsiteY26" fmla="*/ 134136 h 154621"/>
                <a:gd name="connsiteX27" fmla="*/ 149501 w 190716"/>
                <a:gd name="connsiteY27" fmla="*/ 128283 h 154621"/>
                <a:gd name="connsiteX28" fmla="*/ 139258 w 190716"/>
                <a:gd name="connsiteY28" fmla="*/ 112918 h 154621"/>
                <a:gd name="connsiteX29" fmla="*/ 140112 w 190716"/>
                <a:gd name="connsiteY29" fmla="*/ 103894 h 154621"/>
                <a:gd name="connsiteX30" fmla="*/ 128892 w 190716"/>
                <a:gd name="connsiteY30" fmla="*/ 103041 h 154621"/>
                <a:gd name="connsiteX31" fmla="*/ 117552 w 190716"/>
                <a:gd name="connsiteY31" fmla="*/ 87554 h 154621"/>
                <a:gd name="connsiteX32" fmla="*/ 117552 w 190716"/>
                <a:gd name="connsiteY32" fmla="*/ 80481 h 154621"/>
                <a:gd name="connsiteX33" fmla="*/ 130234 w 190716"/>
                <a:gd name="connsiteY33" fmla="*/ 77555 h 154621"/>
                <a:gd name="connsiteX34" fmla="*/ 131453 w 190716"/>
                <a:gd name="connsiteY34" fmla="*/ 72677 h 154621"/>
                <a:gd name="connsiteX35" fmla="*/ 126210 w 190716"/>
                <a:gd name="connsiteY35" fmla="*/ 68897 h 154621"/>
                <a:gd name="connsiteX36" fmla="*/ 93164 w 190716"/>
                <a:gd name="connsiteY36" fmla="*/ 56337 h 154621"/>
                <a:gd name="connsiteX37" fmla="*/ 90359 w 190716"/>
                <a:gd name="connsiteY37" fmla="*/ 39265 h 154621"/>
                <a:gd name="connsiteX38" fmla="*/ 77677 w 190716"/>
                <a:gd name="connsiteY38" fmla="*/ 33778 h 154621"/>
                <a:gd name="connsiteX39" fmla="*/ 60971 w 190716"/>
                <a:gd name="connsiteY39" fmla="*/ 20608 h 154621"/>
                <a:gd name="connsiteX40" fmla="*/ 48899 w 190716"/>
                <a:gd name="connsiteY40" fmla="*/ 16096 h 154621"/>
                <a:gd name="connsiteX41" fmla="*/ 17560 w 190716"/>
                <a:gd name="connsiteY41" fmla="*/ 6585 h 154621"/>
                <a:gd name="connsiteX42" fmla="*/ 7317 w 190716"/>
                <a:gd name="connsiteY42" fmla="*/ 1829 h 154621"/>
                <a:gd name="connsiteX43" fmla="*/ 3171 w 190716"/>
                <a:gd name="connsiteY43" fmla="*/ 0 h 154621"/>
                <a:gd name="connsiteX44" fmla="*/ 3537 w 190716"/>
                <a:gd name="connsiteY44" fmla="*/ 7560 h 154621"/>
                <a:gd name="connsiteX45" fmla="*/ 6341 w 190716"/>
                <a:gd name="connsiteY45" fmla="*/ 62190 h 154621"/>
                <a:gd name="connsiteX46" fmla="*/ 6463 w 190716"/>
                <a:gd name="connsiteY46" fmla="*/ 64507 h 154621"/>
                <a:gd name="connsiteX47" fmla="*/ 5122 w 190716"/>
                <a:gd name="connsiteY47" fmla="*/ 66336 h 154621"/>
                <a:gd name="connsiteX48" fmla="*/ 3293 w 190716"/>
                <a:gd name="connsiteY48" fmla="*/ 68653 h 15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90716" h="154621">
                  <a:moveTo>
                    <a:pt x="3293" y="68653"/>
                  </a:moveTo>
                  <a:lnTo>
                    <a:pt x="0" y="72921"/>
                  </a:lnTo>
                  <a:lnTo>
                    <a:pt x="610" y="77921"/>
                  </a:lnTo>
                  <a:lnTo>
                    <a:pt x="5365" y="85115"/>
                  </a:lnTo>
                  <a:lnTo>
                    <a:pt x="6341" y="86457"/>
                  </a:lnTo>
                  <a:lnTo>
                    <a:pt x="6463" y="88042"/>
                  </a:lnTo>
                  <a:lnTo>
                    <a:pt x="8902" y="123893"/>
                  </a:lnTo>
                  <a:lnTo>
                    <a:pt x="9146" y="126332"/>
                  </a:lnTo>
                  <a:lnTo>
                    <a:pt x="41460" y="126332"/>
                  </a:lnTo>
                  <a:lnTo>
                    <a:pt x="47070" y="122551"/>
                  </a:lnTo>
                  <a:lnTo>
                    <a:pt x="37558" y="114869"/>
                  </a:lnTo>
                  <a:lnTo>
                    <a:pt x="41827" y="106455"/>
                  </a:lnTo>
                  <a:lnTo>
                    <a:pt x="58288" y="106455"/>
                  </a:lnTo>
                  <a:lnTo>
                    <a:pt x="55484" y="96456"/>
                  </a:lnTo>
                  <a:lnTo>
                    <a:pt x="71824" y="94139"/>
                  </a:lnTo>
                  <a:lnTo>
                    <a:pt x="92920" y="103772"/>
                  </a:lnTo>
                  <a:lnTo>
                    <a:pt x="104017" y="105723"/>
                  </a:lnTo>
                  <a:lnTo>
                    <a:pt x="111699" y="120234"/>
                  </a:lnTo>
                  <a:lnTo>
                    <a:pt x="121332" y="124990"/>
                  </a:lnTo>
                  <a:lnTo>
                    <a:pt x="126088" y="138282"/>
                  </a:lnTo>
                  <a:lnTo>
                    <a:pt x="137184" y="144257"/>
                  </a:lnTo>
                  <a:lnTo>
                    <a:pt x="154988" y="144257"/>
                  </a:lnTo>
                  <a:lnTo>
                    <a:pt x="172304" y="150110"/>
                  </a:lnTo>
                  <a:lnTo>
                    <a:pt x="187912" y="154622"/>
                  </a:lnTo>
                  <a:lnTo>
                    <a:pt x="190717" y="154134"/>
                  </a:lnTo>
                  <a:lnTo>
                    <a:pt x="188766" y="147793"/>
                  </a:lnTo>
                  <a:lnTo>
                    <a:pt x="165109" y="134136"/>
                  </a:lnTo>
                  <a:lnTo>
                    <a:pt x="149501" y="128283"/>
                  </a:lnTo>
                  <a:lnTo>
                    <a:pt x="139258" y="112918"/>
                  </a:lnTo>
                  <a:lnTo>
                    <a:pt x="140112" y="103894"/>
                  </a:lnTo>
                  <a:lnTo>
                    <a:pt x="128892" y="103041"/>
                  </a:lnTo>
                  <a:lnTo>
                    <a:pt x="117552" y="87554"/>
                  </a:lnTo>
                  <a:lnTo>
                    <a:pt x="117552" y="80481"/>
                  </a:lnTo>
                  <a:lnTo>
                    <a:pt x="130234" y="77555"/>
                  </a:lnTo>
                  <a:lnTo>
                    <a:pt x="131453" y="72677"/>
                  </a:lnTo>
                  <a:lnTo>
                    <a:pt x="126210" y="68897"/>
                  </a:lnTo>
                  <a:lnTo>
                    <a:pt x="93164" y="56337"/>
                  </a:lnTo>
                  <a:lnTo>
                    <a:pt x="90359" y="39265"/>
                  </a:lnTo>
                  <a:lnTo>
                    <a:pt x="77677" y="33778"/>
                  </a:lnTo>
                  <a:lnTo>
                    <a:pt x="60971" y="20608"/>
                  </a:lnTo>
                  <a:lnTo>
                    <a:pt x="48899" y="16096"/>
                  </a:lnTo>
                  <a:lnTo>
                    <a:pt x="17560" y="6585"/>
                  </a:lnTo>
                  <a:lnTo>
                    <a:pt x="7317" y="1829"/>
                  </a:lnTo>
                  <a:lnTo>
                    <a:pt x="3171" y="0"/>
                  </a:lnTo>
                  <a:lnTo>
                    <a:pt x="3537" y="7560"/>
                  </a:lnTo>
                  <a:lnTo>
                    <a:pt x="6341" y="62190"/>
                  </a:lnTo>
                  <a:lnTo>
                    <a:pt x="6463" y="64507"/>
                  </a:lnTo>
                  <a:lnTo>
                    <a:pt x="5122" y="66336"/>
                  </a:lnTo>
                  <a:lnTo>
                    <a:pt x="3293" y="686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48" name="Freihandform: Form 447">
              <a:extLst>
                <a:ext uri="{FF2B5EF4-FFF2-40B4-BE49-F238E27FC236}">
                  <a16:creationId xmlns:a16="http://schemas.microsoft.com/office/drawing/2014/main" id="{27AE9CAD-960C-4AEA-B6C2-9DD1B2B54760}"/>
                </a:ext>
              </a:extLst>
            </p:cNvPr>
            <p:cNvSpPr/>
            <p:nvPr/>
          </p:nvSpPr>
          <p:spPr>
            <a:xfrm>
              <a:off x="7961245" y="3777290"/>
              <a:ext cx="18291" cy="12560"/>
            </a:xfrm>
            <a:custGeom>
              <a:avLst/>
              <a:gdLst>
                <a:gd name="connsiteX0" fmla="*/ 18291 w 18291"/>
                <a:gd name="connsiteY0" fmla="*/ 11463 h 12560"/>
                <a:gd name="connsiteX1" fmla="*/ 18291 w 18291"/>
                <a:gd name="connsiteY1" fmla="*/ 5488 h 12560"/>
                <a:gd name="connsiteX2" fmla="*/ 14999 w 18291"/>
                <a:gd name="connsiteY2" fmla="*/ 0 h 12560"/>
                <a:gd name="connsiteX3" fmla="*/ 976 w 18291"/>
                <a:gd name="connsiteY3" fmla="*/ 1219 h 12560"/>
                <a:gd name="connsiteX4" fmla="*/ 0 w 18291"/>
                <a:gd name="connsiteY4" fmla="*/ 8048 h 12560"/>
                <a:gd name="connsiteX5" fmla="*/ 6829 w 18291"/>
                <a:gd name="connsiteY5" fmla="*/ 12560 h 12560"/>
                <a:gd name="connsiteX6" fmla="*/ 18291 w 18291"/>
                <a:gd name="connsiteY6" fmla="*/ 11463 h 1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91" h="12560">
                  <a:moveTo>
                    <a:pt x="18291" y="11463"/>
                  </a:moveTo>
                  <a:lnTo>
                    <a:pt x="18291" y="5488"/>
                  </a:lnTo>
                  <a:lnTo>
                    <a:pt x="14999" y="0"/>
                  </a:lnTo>
                  <a:lnTo>
                    <a:pt x="976" y="1219"/>
                  </a:lnTo>
                  <a:lnTo>
                    <a:pt x="0" y="8048"/>
                  </a:lnTo>
                  <a:lnTo>
                    <a:pt x="6829" y="12560"/>
                  </a:lnTo>
                  <a:lnTo>
                    <a:pt x="18291" y="11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52" name="Freihandform: Form 451">
              <a:extLst>
                <a:ext uri="{FF2B5EF4-FFF2-40B4-BE49-F238E27FC236}">
                  <a16:creationId xmlns:a16="http://schemas.microsoft.com/office/drawing/2014/main" id="{6BDE8E8D-AE51-4315-9E46-6401F5B252FE}"/>
                </a:ext>
              </a:extLst>
            </p:cNvPr>
            <p:cNvSpPr/>
            <p:nvPr/>
          </p:nvSpPr>
          <p:spPr>
            <a:xfrm>
              <a:off x="5251458" y="3180385"/>
              <a:ext cx="28412" cy="33412"/>
            </a:xfrm>
            <a:custGeom>
              <a:avLst/>
              <a:gdLst>
                <a:gd name="connsiteX0" fmla="*/ 7682 w 28412"/>
                <a:gd name="connsiteY0" fmla="*/ 13170 h 33412"/>
                <a:gd name="connsiteX1" fmla="*/ 2073 w 28412"/>
                <a:gd name="connsiteY1" fmla="*/ 15121 h 33412"/>
                <a:gd name="connsiteX2" fmla="*/ 0 w 28412"/>
                <a:gd name="connsiteY2" fmla="*/ 26461 h 33412"/>
                <a:gd name="connsiteX3" fmla="*/ 4878 w 28412"/>
                <a:gd name="connsiteY3" fmla="*/ 32315 h 33412"/>
                <a:gd name="connsiteX4" fmla="*/ 14267 w 28412"/>
                <a:gd name="connsiteY4" fmla="*/ 33412 h 33412"/>
                <a:gd name="connsiteX5" fmla="*/ 14755 w 28412"/>
                <a:gd name="connsiteY5" fmla="*/ 33412 h 33412"/>
                <a:gd name="connsiteX6" fmla="*/ 14877 w 28412"/>
                <a:gd name="connsiteY6" fmla="*/ 33412 h 33412"/>
                <a:gd name="connsiteX7" fmla="*/ 16950 w 28412"/>
                <a:gd name="connsiteY7" fmla="*/ 32193 h 33412"/>
                <a:gd name="connsiteX8" fmla="*/ 22925 w 28412"/>
                <a:gd name="connsiteY8" fmla="*/ 28900 h 33412"/>
                <a:gd name="connsiteX9" fmla="*/ 11706 w 28412"/>
                <a:gd name="connsiteY9" fmla="*/ 20242 h 33412"/>
                <a:gd name="connsiteX10" fmla="*/ 28412 w 28412"/>
                <a:gd name="connsiteY10" fmla="*/ 11219 h 33412"/>
                <a:gd name="connsiteX11" fmla="*/ 26217 w 28412"/>
                <a:gd name="connsiteY11" fmla="*/ 6951 h 33412"/>
                <a:gd name="connsiteX12" fmla="*/ 25242 w 28412"/>
                <a:gd name="connsiteY12" fmla="*/ 4756 h 33412"/>
                <a:gd name="connsiteX13" fmla="*/ 20364 w 28412"/>
                <a:gd name="connsiteY13" fmla="*/ 0 h 33412"/>
                <a:gd name="connsiteX14" fmla="*/ 17560 w 28412"/>
                <a:gd name="connsiteY14" fmla="*/ 0 h 33412"/>
                <a:gd name="connsiteX15" fmla="*/ 16706 w 28412"/>
                <a:gd name="connsiteY15" fmla="*/ 1341 h 33412"/>
                <a:gd name="connsiteX16" fmla="*/ 10853 w 28412"/>
                <a:gd name="connsiteY16" fmla="*/ 10609 h 33412"/>
                <a:gd name="connsiteX17" fmla="*/ 9755 w 28412"/>
                <a:gd name="connsiteY17" fmla="*/ 12560 h 33412"/>
                <a:gd name="connsiteX18" fmla="*/ 7682 w 28412"/>
                <a:gd name="connsiteY18" fmla="*/ 13170 h 3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412" h="33412">
                  <a:moveTo>
                    <a:pt x="7682" y="13170"/>
                  </a:moveTo>
                  <a:lnTo>
                    <a:pt x="2073" y="15121"/>
                  </a:lnTo>
                  <a:lnTo>
                    <a:pt x="0" y="26461"/>
                  </a:lnTo>
                  <a:lnTo>
                    <a:pt x="4878" y="32315"/>
                  </a:lnTo>
                  <a:lnTo>
                    <a:pt x="14267" y="33412"/>
                  </a:lnTo>
                  <a:lnTo>
                    <a:pt x="14755" y="33412"/>
                  </a:lnTo>
                  <a:lnTo>
                    <a:pt x="14877" y="33412"/>
                  </a:lnTo>
                  <a:lnTo>
                    <a:pt x="16950" y="32193"/>
                  </a:lnTo>
                  <a:lnTo>
                    <a:pt x="22925" y="28900"/>
                  </a:lnTo>
                  <a:lnTo>
                    <a:pt x="11706" y="20242"/>
                  </a:lnTo>
                  <a:lnTo>
                    <a:pt x="28412" y="11219"/>
                  </a:lnTo>
                  <a:lnTo>
                    <a:pt x="26217" y="6951"/>
                  </a:lnTo>
                  <a:lnTo>
                    <a:pt x="25242" y="4756"/>
                  </a:lnTo>
                  <a:lnTo>
                    <a:pt x="20364" y="0"/>
                  </a:lnTo>
                  <a:lnTo>
                    <a:pt x="17560" y="0"/>
                  </a:lnTo>
                  <a:lnTo>
                    <a:pt x="16706" y="1341"/>
                  </a:lnTo>
                  <a:lnTo>
                    <a:pt x="10853" y="10609"/>
                  </a:lnTo>
                  <a:lnTo>
                    <a:pt x="9755" y="12560"/>
                  </a:lnTo>
                  <a:lnTo>
                    <a:pt x="7682" y="1317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53" name="Freihandform: Form 452">
              <a:extLst>
                <a:ext uri="{FF2B5EF4-FFF2-40B4-BE49-F238E27FC236}">
                  <a16:creationId xmlns:a16="http://schemas.microsoft.com/office/drawing/2014/main" id="{031B6818-EE89-461C-A30C-3C47A015C3B2}"/>
                </a:ext>
              </a:extLst>
            </p:cNvPr>
            <p:cNvSpPr/>
            <p:nvPr/>
          </p:nvSpPr>
          <p:spPr>
            <a:xfrm>
              <a:off x="7798453" y="3816433"/>
              <a:ext cx="487" cy="1341"/>
            </a:xfrm>
            <a:custGeom>
              <a:avLst/>
              <a:gdLst>
                <a:gd name="connsiteX0" fmla="*/ 487 w 487"/>
                <a:gd name="connsiteY0" fmla="*/ 0 h 1341"/>
                <a:gd name="connsiteX1" fmla="*/ 0 w 487"/>
                <a:gd name="connsiteY1" fmla="*/ 0 h 1341"/>
                <a:gd name="connsiteX2" fmla="*/ 0 w 487"/>
                <a:gd name="connsiteY2" fmla="*/ 1341 h 1341"/>
                <a:gd name="connsiteX3" fmla="*/ 487 w 487"/>
                <a:gd name="connsiteY3" fmla="*/ 1097 h 1341"/>
                <a:gd name="connsiteX4" fmla="*/ 487 w 487"/>
                <a:gd name="connsiteY4" fmla="*/ 0 h 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" h="1341">
                  <a:moveTo>
                    <a:pt x="487" y="0"/>
                  </a:moveTo>
                  <a:lnTo>
                    <a:pt x="0" y="0"/>
                  </a:lnTo>
                  <a:lnTo>
                    <a:pt x="0" y="1341"/>
                  </a:lnTo>
                  <a:lnTo>
                    <a:pt x="487" y="1097"/>
                  </a:lnTo>
                  <a:lnTo>
                    <a:pt x="48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54" name="Freihandform: Form 453">
              <a:extLst>
                <a:ext uri="{FF2B5EF4-FFF2-40B4-BE49-F238E27FC236}">
                  <a16:creationId xmlns:a16="http://schemas.microsoft.com/office/drawing/2014/main" id="{F0A80A78-FBD8-4513-8789-935F5D4D2C8B}"/>
                </a:ext>
              </a:extLst>
            </p:cNvPr>
            <p:cNvSpPr/>
            <p:nvPr/>
          </p:nvSpPr>
          <p:spPr>
            <a:xfrm>
              <a:off x="7793087" y="3799849"/>
              <a:ext cx="4999" cy="5365"/>
            </a:xfrm>
            <a:custGeom>
              <a:avLst/>
              <a:gdLst>
                <a:gd name="connsiteX0" fmla="*/ 3658 w 4999"/>
                <a:gd name="connsiteY0" fmla="*/ 5365 h 5365"/>
                <a:gd name="connsiteX1" fmla="*/ 4999 w 4999"/>
                <a:gd name="connsiteY1" fmla="*/ 4878 h 5365"/>
                <a:gd name="connsiteX2" fmla="*/ 2195 w 4999"/>
                <a:gd name="connsiteY2" fmla="*/ 0 h 5365"/>
                <a:gd name="connsiteX3" fmla="*/ 0 w 4999"/>
                <a:gd name="connsiteY3" fmla="*/ 732 h 5365"/>
                <a:gd name="connsiteX4" fmla="*/ 487 w 4999"/>
                <a:gd name="connsiteY4" fmla="*/ 2927 h 5365"/>
                <a:gd name="connsiteX5" fmla="*/ 3658 w 4999"/>
                <a:gd name="connsiteY5" fmla="*/ 5365 h 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99" h="5365">
                  <a:moveTo>
                    <a:pt x="3658" y="5365"/>
                  </a:moveTo>
                  <a:lnTo>
                    <a:pt x="4999" y="4878"/>
                  </a:lnTo>
                  <a:lnTo>
                    <a:pt x="2195" y="0"/>
                  </a:lnTo>
                  <a:lnTo>
                    <a:pt x="0" y="732"/>
                  </a:lnTo>
                  <a:lnTo>
                    <a:pt x="487" y="2927"/>
                  </a:lnTo>
                  <a:lnTo>
                    <a:pt x="3658" y="53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55" name="Freihandform: Form 454">
              <a:extLst>
                <a:ext uri="{FF2B5EF4-FFF2-40B4-BE49-F238E27FC236}">
                  <a16:creationId xmlns:a16="http://schemas.microsoft.com/office/drawing/2014/main" id="{645EC403-C3AB-4F03-8E06-6C2FC49E95E9}"/>
                </a:ext>
              </a:extLst>
            </p:cNvPr>
            <p:cNvSpPr/>
            <p:nvPr/>
          </p:nvSpPr>
          <p:spPr>
            <a:xfrm>
              <a:off x="7758212" y="3846309"/>
              <a:ext cx="2194" cy="2438"/>
            </a:xfrm>
            <a:custGeom>
              <a:avLst/>
              <a:gdLst>
                <a:gd name="connsiteX0" fmla="*/ 2195 w 2194"/>
                <a:gd name="connsiteY0" fmla="*/ 1219 h 2438"/>
                <a:gd name="connsiteX1" fmla="*/ 976 w 2194"/>
                <a:gd name="connsiteY1" fmla="*/ 0 h 2438"/>
                <a:gd name="connsiteX2" fmla="*/ 366 w 2194"/>
                <a:gd name="connsiteY2" fmla="*/ 488 h 2438"/>
                <a:gd name="connsiteX3" fmla="*/ 0 w 2194"/>
                <a:gd name="connsiteY3" fmla="*/ 2195 h 2438"/>
                <a:gd name="connsiteX4" fmla="*/ 1342 w 2194"/>
                <a:gd name="connsiteY4" fmla="*/ 2439 h 2438"/>
                <a:gd name="connsiteX5" fmla="*/ 2195 w 2194"/>
                <a:gd name="connsiteY5" fmla="*/ 1219 h 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" h="2438">
                  <a:moveTo>
                    <a:pt x="2195" y="1219"/>
                  </a:moveTo>
                  <a:lnTo>
                    <a:pt x="976" y="0"/>
                  </a:lnTo>
                  <a:lnTo>
                    <a:pt x="366" y="488"/>
                  </a:lnTo>
                  <a:lnTo>
                    <a:pt x="0" y="2195"/>
                  </a:lnTo>
                  <a:lnTo>
                    <a:pt x="1342" y="2439"/>
                  </a:lnTo>
                  <a:lnTo>
                    <a:pt x="2195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59" name="Freihandform: Form 458">
              <a:extLst>
                <a:ext uri="{FF2B5EF4-FFF2-40B4-BE49-F238E27FC236}">
                  <a16:creationId xmlns:a16="http://schemas.microsoft.com/office/drawing/2014/main" id="{E136406A-9F21-4885-9557-1F267692E1C9}"/>
                </a:ext>
              </a:extLst>
            </p:cNvPr>
            <p:cNvSpPr/>
            <p:nvPr/>
          </p:nvSpPr>
          <p:spPr>
            <a:xfrm>
              <a:off x="4940263" y="3753145"/>
              <a:ext cx="133160" cy="129502"/>
            </a:xfrm>
            <a:custGeom>
              <a:avLst/>
              <a:gdLst>
                <a:gd name="connsiteX0" fmla="*/ 126088 w 133160"/>
                <a:gd name="connsiteY0" fmla="*/ 53898 h 129502"/>
                <a:gd name="connsiteX1" fmla="*/ 129746 w 133160"/>
                <a:gd name="connsiteY1" fmla="*/ 50118 h 129502"/>
                <a:gd name="connsiteX2" fmla="*/ 129868 w 133160"/>
                <a:gd name="connsiteY2" fmla="*/ 50118 h 129502"/>
                <a:gd name="connsiteX3" fmla="*/ 128160 w 133160"/>
                <a:gd name="connsiteY3" fmla="*/ 23901 h 129502"/>
                <a:gd name="connsiteX4" fmla="*/ 125356 w 133160"/>
                <a:gd name="connsiteY4" fmla="*/ 20608 h 129502"/>
                <a:gd name="connsiteX5" fmla="*/ 121088 w 133160"/>
                <a:gd name="connsiteY5" fmla="*/ 15365 h 129502"/>
                <a:gd name="connsiteX6" fmla="*/ 78530 w 133160"/>
                <a:gd name="connsiteY6" fmla="*/ 244 h 129502"/>
                <a:gd name="connsiteX7" fmla="*/ 77798 w 133160"/>
                <a:gd name="connsiteY7" fmla="*/ 0 h 129502"/>
                <a:gd name="connsiteX8" fmla="*/ 77555 w 133160"/>
                <a:gd name="connsiteY8" fmla="*/ 122 h 129502"/>
                <a:gd name="connsiteX9" fmla="*/ 61215 w 133160"/>
                <a:gd name="connsiteY9" fmla="*/ 3292 h 129502"/>
                <a:gd name="connsiteX10" fmla="*/ 56215 w 133160"/>
                <a:gd name="connsiteY10" fmla="*/ 8292 h 129502"/>
                <a:gd name="connsiteX11" fmla="*/ 54752 w 133160"/>
                <a:gd name="connsiteY11" fmla="*/ 16462 h 129502"/>
                <a:gd name="connsiteX12" fmla="*/ 54264 w 133160"/>
                <a:gd name="connsiteY12" fmla="*/ 19023 h 129502"/>
                <a:gd name="connsiteX13" fmla="*/ 52191 w 133160"/>
                <a:gd name="connsiteY13" fmla="*/ 20486 h 129502"/>
                <a:gd name="connsiteX14" fmla="*/ 41826 w 133160"/>
                <a:gd name="connsiteY14" fmla="*/ 27315 h 129502"/>
                <a:gd name="connsiteX15" fmla="*/ 38899 w 133160"/>
                <a:gd name="connsiteY15" fmla="*/ 29266 h 129502"/>
                <a:gd name="connsiteX16" fmla="*/ 38289 w 133160"/>
                <a:gd name="connsiteY16" fmla="*/ 29754 h 129502"/>
                <a:gd name="connsiteX17" fmla="*/ 37436 w 133160"/>
                <a:gd name="connsiteY17" fmla="*/ 29998 h 129502"/>
                <a:gd name="connsiteX18" fmla="*/ 27559 w 133160"/>
                <a:gd name="connsiteY18" fmla="*/ 33290 h 129502"/>
                <a:gd name="connsiteX19" fmla="*/ 18657 w 133160"/>
                <a:gd name="connsiteY19" fmla="*/ 45606 h 129502"/>
                <a:gd name="connsiteX20" fmla="*/ 16706 w 133160"/>
                <a:gd name="connsiteY20" fmla="*/ 48045 h 129502"/>
                <a:gd name="connsiteX21" fmla="*/ 5487 w 133160"/>
                <a:gd name="connsiteY21" fmla="*/ 48045 h 129502"/>
                <a:gd name="connsiteX22" fmla="*/ 6097 w 133160"/>
                <a:gd name="connsiteY22" fmla="*/ 48655 h 129502"/>
                <a:gd name="connsiteX23" fmla="*/ 0 w 133160"/>
                <a:gd name="connsiteY23" fmla="*/ 48289 h 129502"/>
                <a:gd name="connsiteX24" fmla="*/ 0 w 133160"/>
                <a:gd name="connsiteY24" fmla="*/ 50484 h 129502"/>
                <a:gd name="connsiteX25" fmla="*/ 244 w 133160"/>
                <a:gd name="connsiteY25" fmla="*/ 55240 h 129502"/>
                <a:gd name="connsiteX26" fmla="*/ 16950 w 133160"/>
                <a:gd name="connsiteY26" fmla="*/ 68043 h 129502"/>
                <a:gd name="connsiteX27" fmla="*/ 27924 w 133160"/>
                <a:gd name="connsiteY27" fmla="*/ 76336 h 129502"/>
                <a:gd name="connsiteX28" fmla="*/ 29632 w 133160"/>
                <a:gd name="connsiteY28" fmla="*/ 77677 h 129502"/>
                <a:gd name="connsiteX29" fmla="*/ 30120 w 133160"/>
                <a:gd name="connsiteY29" fmla="*/ 79872 h 129502"/>
                <a:gd name="connsiteX30" fmla="*/ 31339 w 133160"/>
                <a:gd name="connsiteY30" fmla="*/ 85359 h 129502"/>
                <a:gd name="connsiteX31" fmla="*/ 32680 w 133160"/>
                <a:gd name="connsiteY31" fmla="*/ 91334 h 129502"/>
                <a:gd name="connsiteX32" fmla="*/ 37924 w 133160"/>
                <a:gd name="connsiteY32" fmla="*/ 103894 h 129502"/>
                <a:gd name="connsiteX33" fmla="*/ 43777 w 133160"/>
                <a:gd name="connsiteY33" fmla="*/ 117674 h 129502"/>
                <a:gd name="connsiteX34" fmla="*/ 48411 w 133160"/>
                <a:gd name="connsiteY34" fmla="*/ 124502 h 129502"/>
                <a:gd name="connsiteX35" fmla="*/ 50972 w 133160"/>
                <a:gd name="connsiteY35" fmla="*/ 128405 h 129502"/>
                <a:gd name="connsiteX36" fmla="*/ 62068 w 133160"/>
                <a:gd name="connsiteY36" fmla="*/ 128405 h 129502"/>
                <a:gd name="connsiteX37" fmla="*/ 67434 w 133160"/>
                <a:gd name="connsiteY37" fmla="*/ 125722 h 129502"/>
                <a:gd name="connsiteX38" fmla="*/ 71823 w 133160"/>
                <a:gd name="connsiteY38" fmla="*/ 123527 h 129502"/>
                <a:gd name="connsiteX39" fmla="*/ 73897 w 133160"/>
                <a:gd name="connsiteY39" fmla="*/ 122551 h 129502"/>
                <a:gd name="connsiteX40" fmla="*/ 75969 w 133160"/>
                <a:gd name="connsiteY40" fmla="*/ 123039 h 129502"/>
                <a:gd name="connsiteX41" fmla="*/ 102553 w 133160"/>
                <a:gd name="connsiteY41" fmla="*/ 129502 h 129502"/>
                <a:gd name="connsiteX42" fmla="*/ 110235 w 133160"/>
                <a:gd name="connsiteY42" fmla="*/ 122430 h 129502"/>
                <a:gd name="connsiteX43" fmla="*/ 111820 w 133160"/>
                <a:gd name="connsiteY43" fmla="*/ 110479 h 129502"/>
                <a:gd name="connsiteX44" fmla="*/ 112796 w 133160"/>
                <a:gd name="connsiteY44" fmla="*/ 102187 h 129502"/>
                <a:gd name="connsiteX45" fmla="*/ 113162 w 133160"/>
                <a:gd name="connsiteY45" fmla="*/ 99504 h 129502"/>
                <a:gd name="connsiteX46" fmla="*/ 115357 w 133160"/>
                <a:gd name="connsiteY46" fmla="*/ 97919 h 129502"/>
                <a:gd name="connsiteX47" fmla="*/ 124259 w 133160"/>
                <a:gd name="connsiteY47" fmla="*/ 91822 h 129502"/>
                <a:gd name="connsiteX48" fmla="*/ 131575 w 133160"/>
                <a:gd name="connsiteY48" fmla="*/ 86823 h 129502"/>
                <a:gd name="connsiteX49" fmla="*/ 133160 w 133160"/>
                <a:gd name="connsiteY49" fmla="*/ 83286 h 129502"/>
                <a:gd name="connsiteX50" fmla="*/ 125356 w 133160"/>
                <a:gd name="connsiteY50" fmla="*/ 72433 h 129502"/>
                <a:gd name="connsiteX51" fmla="*/ 124259 w 133160"/>
                <a:gd name="connsiteY51" fmla="*/ 70848 h 129502"/>
                <a:gd name="connsiteX52" fmla="*/ 124259 w 133160"/>
                <a:gd name="connsiteY52" fmla="*/ 55605 h 129502"/>
                <a:gd name="connsiteX53" fmla="*/ 126088 w 133160"/>
                <a:gd name="connsiteY53" fmla="*/ 53898 h 129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33160" h="129502">
                  <a:moveTo>
                    <a:pt x="126088" y="53898"/>
                  </a:moveTo>
                  <a:lnTo>
                    <a:pt x="129746" y="50118"/>
                  </a:lnTo>
                  <a:lnTo>
                    <a:pt x="129868" y="50118"/>
                  </a:lnTo>
                  <a:lnTo>
                    <a:pt x="128160" y="23901"/>
                  </a:lnTo>
                  <a:lnTo>
                    <a:pt x="125356" y="20608"/>
                  </a:lnTo>
                  <a:lnTo>
                    <a:pt x="121088" y="15365"/>
                  </a:lnTo>
                  <a:lnTo>
                    <a:pt x="78530" y="244"/>
                  </a:lnTo>
                  <a:lnTo>
                    <a:pt x="77798" y="0"/>
                  </a:lnTo>
                  <a:lnTo>
                    <a:pt x="77555" y="122"/>
                  </a:lnTo>
                  <a:lnTo>
                    <a:pt x="61215" y="3292"/>
                  </a:lnTo>
                  <a:lnTo>
                    <a:pt x="56215" y="8292"/>
                  </a:lnTo>
                  <a:lnTo>
                    <a:pt x="54752" y="16462"/>
                  </a:lnTo>
                  <a:lnTo>
                    <a:pt x="54264" y="19023"/>
                  </a:lnTo>
                  <a:lnTo>
                    <a:pt x="52191" y="20486"/>
                  </a:lnTo>
                  <a:lnTo>
                    <a:pt x="41826" y="27315"/>
                  </a:lnTo>
                  <a:lnTo>
                    <a:pt x="38899" y="29266"/>
                  </a:lnTo>
                  <a:lnTo>
                    <a:pt x="38289" y="29754"/>
                  </a:lnTo>
                  <a:lnTo>
                    <a:pt x="37436" y="29998"/>
                  </a:lnTo>
                  <a:lnTo>
                    <a:pt x="27559" y="33290"/>
                  </a:lnTo>
                  <a:lnTo>
                    <a:pt x="18657" y="45606"/>
                  </a:lnTo>
                  <a:lnTo>
                    <a:pt x="16706" y="48045"/>
                  </a:lnTo>
                  <a:lnTo>
                    <a:pt x="5487" y="48045"/>
                  </a:lnTo>
                  <a:lnTo>
                    <a:pt x="6097" y="48655"/>
                  </a:lnTo>
                  <a:lnTo>
                    <a:pt x="0" y="48289"/>
                  </a:lnTo>
                  <a:lnTo>
                    <a:pt x="0" y="50484"/>
                  </a:lnTo>
                  <a:lnTo>
                    <a:pt x="244" y="55240"/>
                  </a:lnTo>
                  <a:lnTo>
                    <a:pt x="16950" y="68043"/>
                  </a:lnTo>
                  <a:lnTo>
                    <a:pt x="27924" y="76336"/>
                  </a:lnTo>
                  <a:lnTo>
                    <a:pt x="29632" y="77677"/>
                  </a:lnTo>
                  <a:lnTo>
                    <a:pt x="30120" y="79872"/>
                  </a:lnTo>
                  <a:lnTo>
                    <a:pt x="31339" y="85359"/>
                  </a:lnTo>
                  <a:lnTo>
                    <a:pt x="32680" y="91334"/>
                  </a:lnTo>
                  <a:lnTo>
                    <a:pt x="37924" y="103894"/>
                  </a:lnTo>
                  <a:lnTo>
                    <a:pt x="43777" y="117674"/>
                  </a:lnTo>
                  <a:lnTo>
                    <a:pt x="48411" y="124502"/>
                  </a:lnTo>
                  <a:lnTo>
                    <a:pt x="50972" y="128405"/>
                  </a:lnTo>
                  <a:lnTo>
                    <a:pt x="62068" y="128405"/>
                  </a:lnTo>
                  <a:lnTo>
                    <a:pt x="67434" y="125722"/>
                  </a:lnTo>
                  <a:lnTo>
                    <a:pt x="71823" y="123527"/>
                  </a:lnTo>
                  <a:lnTo>
                    <a:pt x="73897" y="122551"/>
                  </a:lnTo>
                  <a:lnTo>
                    <a:pt x="75969" y="123039"/>
                  </a:lnTo>
                  <a:lnTo>
                    <a:pt x="102553" y="129502"/>
                  </a:lnTo>
                  <a:lnTo>
                    <a:pt x="110235" y="122430"/>
                  </a:lnTo>
                  <a:lnTo>
                    <a:pt x="111820" y="110479"/>
                  </a:lnTo>
                  <a:lnTo>
                    <a:pt x="112796" y="102187"/>
                  </a:lnTo>
                  <a:lnTo>
                    <a:pt x="113162" y="99504"/>
                  </a:lnTo>
                  <a:lnTo>
                    <a:pt x="115357" y="97919"/>
                  </a:lnTo>
                  <a:lnTo>
                    <a:pt x="124259" y="91822"/>
                  </a:lnTo>
                  <a:lnTo>
                    <a:pt x="131575" y="86823"/>
                  </a:lnTo>
                  <a:lnTo>
                    <a:pt x="133160" y="83286"/>
                  </a:lnTo>
                  <a:lnTo>
                    <a:pt x="125356" y="72433"/>
                  </a:lnTo>
                  <a:lnTo>
                    <a:pt x="124259" y="70848"/>
                  </a:lnTo>
                  <a:lnTo>
                    <a:pt x="124259" y="55605"/>
                  </a:lnTo>
                  <a:lnTo>
                    <a:pt x="126088" y="538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0" name="Freihandform: Form 459">
              <a:extLst>
                <a:ext uri="{FF2B5EF4-FFF2-40B4-BE49-F238E27FC236}">
                  <a16:creationId xmlns:a16="http://schemas.microsoft.com/office/drawing/2014/main" id="{7C93895C-8989-4A95-8DD4-D11E8C2455CD}"/>
                </a:ext>
              </a:extLst>
            </p:cNvPr>
            <p:cNvSpPr/>
            <p:nvPr/>
          </p:nvSpPr>
          <p:spPr>
            <a:xfrm>
              <a:off x="4663699" y="3534992"/>
              <a:ext cx="18657" cy="11462"/>
            </a:xfrm>
            <a:custGeom>
              <a:avLst/>
              <a:gdLst>
                <a:gd name="connsiteX0" fmla="*/ 18291 w 18657"/>
                <a:gd name="connsiteY0" fmla="*/ 0 h 11462"/>
                <a:gd name="connsiteX1" fmla="*/ 0 w 18657"/>
                <a:gd name="connsiteY1" fmla="*/ 8170 h 11462"/>
                <a:gd name="connsiteX2" fmla="*/ 3171 w 18657"/>
                <a:gd name="connsiteY2" fmla="*/ 11463 h 11462"/>
                <a:gd name="connsiteX3" fmla="*/ 5975 w 18657"/>
                <a:gd name="connsiteY3" fmla="*/ 10487 h 11462"/>
                <a:gd name="connsiteX4" fmla="*/ 16950 w 18657"/>
                <a:gd name="connsiteY4" fmla="*/ 6707 h 11462"/>
                <a:gd name="connsiteX5" fmla="*/ 18657 w 18657"/>
                <a:gd name="connsiteY5" fmla="*/ 2683 h 11462"/>
                <a:gd name="connsiteX6" fmla="*/ 18291 w 18657"/>
                <a:gd name="connsiteY6" fmla="*/ 0 h 1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57" h="11462">
                  <a:moveTo>
                    <a:pt x="18291" y="0"/>
                  </a:moveTo>
                  <a:lnTo>
                    <a:pt x="0" y="8170"/>
                  </a:lnTo>
                  <a:lnTo>
                    <a:pt x="3171" y="11463"/>
                  </a:lnTo>
                  <a:lnTo>
                    <a:pt x="5975" y="10487"/>
                  </a:lnTo>
                  <a:lnTo>
                    <a:pt x="16950" y="6707"/>
                  </a:lnTo>
                  <a:lnTo>
                    <a:pt x="18657" y="2683"/>
                  </a:lnTo>
                  <a:lnTo>
                    <a:pt x="1829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1" name="Freihandform: Form 460">
              <a:extLst>
                <a:ext uri="{FF2B5EF4-FFF2-40B4-BE49-F238E27FC236}">
                  <a16:creationId xmlns:a16="http://schemas.microsoft.com/office/drawing/2014/main" id="{F8BE1CAB-C708-45E0-865C-BBDED13DBAC3}"/>
                </a:ext>
              </a:extLst>
            </p:cNvPr>
            <p:cNvSpPr/>
            <p:nvPr/>
          </p:nvSpPr>
          <p:spPr>
            <a:xfrm>
              <a:off x="4673211" y="3335373"/>
              <a:ext cx="357045" cy="367166"/>
            </a:xfrm>
            <a:custGeom>
              <a:avLst/>
              <a:gdLst>
                <a:gd name="connsiteX0" fmla="*/ 5488 w 357045"/>
                <a:gd name="connsiteY0" fmla="*/ 220105 h 367166"/>
                <a:gd name="connsiteX1" fmla="*/ 19023 w 357045"/>
                <a:gd name="connsiteY1" fmla="*/ 219739 h 367166"/>
                <a:gd name="connsiteX2" fmla="*/ 82921 w 357045"/>
                <a:gd name="connsiteY2" fmla="*/ 217910 h 367166"/>
                <a:gd name="connsiteX3" fmla="*/ 86213 w 357045"/>
                <a:gd name="connsiteY3" fmla="*/ 217788 h 367166"/>
                <a:gd name="connsiteX4" fmla="*/ 88042 w 357045"/>
                <a:gd name="connsiteY4" fmla="*/ 220348 h 367166"/>
                <a:gd name="connsiteX5" fmla="*/ 99626 w 357045"/>
                <a:gd name="connsiteY5" fmla="*/ 236323 h 367166"/>
                <a:gd name="connsiteX6" fmla="*/ 99992 w 357045"/>
                <a:gd name="connsiteY6" fmla="*/ 236811 h 367166"/>
                <a:gd name="connsiteX7" fmla="*/ 100236 w 357045"/>
                <a:gd name="connsiteY7" fmla="*/ 237420 h 367166"/>
                <a:gd name="connsiteX8" fmla="*/ 108406 w 357045"/>
                <a:gd name="connsiteY8" fmla="*/ 256321 h 367166"/>
                <a:gd name="connsiteX9" fmla="*/ 134258 w 357045"/>
                <a:gd name="connsiteY9" fmla="*/ 254126 h 367166"/>
                <a:gd name="connsiteX10" fmla="*/ 134867 w 357045"/>
                <a:gd name="connsiteY10" fmla="*/ 243517 h 367166"/>
                <a:gd name="connsiteX11" fmla="*/ 134989 w 357045"/>
                <a:gd name="connsiteY11" fmla="*/ 242298 h 367166"/>
                <a:gd name="connsiteX12" fmla="*/ 135234 w 357045"/>
                <a:gd name="connsiteY12" fmla="*/ 237298 h 367166"/>
                <a:gd name="connsiteX13" fmla="*/ 140233 w 357045"/>
                <a:gd name="connsiteY13" fmla="*/ 236567 h 367166"/>
                <a:gd name="connsiteX14" fmla="*/ 157671 w 357045"/>
                <a:gd name="connsiteY14" fmla="*/ 234006 h 367166"/>
                <a:gd name="connsiteX15" fmla="*/ 159622 w 357045"/>
                <a:gd name="connsiteY15" fmla="*/ 233762 h 367166"/>
                <a:gd name="connsiteX16" fmla="*/ 161451 w 357045"/>
                <a:gd name="connsiteY16" fmla="*/ 234738 h 367166"/>
                <a:gd name="connsiteX17" fmla="*/ 173279 w 357045"/>
                <a:gd name="connsiteY17" fmla="*/ 241566 h 367166"/>
                <a:gd name="connsiteX18" fmla="*/ 175596 w 357045"/>
                <a:gd name="connsiteY18" fmla="*/ 242054 h 367166"/>
                <a:gd name="connsiteX19" fmla="*/ 188522 w 357045"/>
                <a:gd name="connsiteY19" fmla="*/ 244981 h 367166"/>
                <a:gd name="connsiteX20" fmla="*/ 192912 w 357045"/>
                <a:gd name="connsiteY20" fmla="*/ 246078 h 367166"/>
                <a:gd name="connsiteX21" fmla="*/ 193156 w 357045"/>
                <a:gd name="connsiteY21" fmla="*/ 250590 h 367166"/>
                <a:gd name="connsiteX22" fmla="*/ 195960 w 357045"/>
                <a:gd name="connsiteY22" fmla="*/ 302171 h 367166"/>
                <a:gd name="connsiteX23" fmla="*/ 201569 w 357045"/>
                <a:gd name="connsiteY23" fmla="*/ 315219 h 367166"/>
                <a:gd name="connsiteX24" fmla="*/ 203155 w 357045"/>
                <a:gd name="connsiteY24" fmla="*/ 318999 h 367166"/>
                <a:gd name="connsiteX25" fmla="*/ 232299 w 357045"/>
                <a:gd name="connsiteY25" fmla="*/ 318999 h 367166"/>
                <a:gd name="connsiteX26" fmla="*/ 234006 w 357045"/>
                <a:gd name="connsiteY26" fmla="*/ 322292 h 367166"/>
                <a:gd name="connsiteX27" fmla="*/ 234494 w 357045"/>
                <a:gd name="connsiteY27" fmla="*/ 323511 h 367166"/>
                <a:gd name="connsiteX28" fmla="*/ 237177 w 357045"/>
                <a:gd name="connsiteY28" fmla="*/ 322292 h 367166"/>
                <a:gd name="connsiteX29" fmla="*/ 238640 w 357045"/>
                <a:gd name="connsiteY29" fmla="*/ 321682 h 367166"/>
                <a:gd name="connsiteX30" fmla="*/ 240347 w 357045"/>
                <a:gd name="connsiteY30" fmla="*/ 321926 h 367166"/>
                <a:gd name="connsiteX31" fmla="*/ 245713 w 357045"/>
                <a:gd name="connsiteY31" fmla="*/ 322536 h 367166"/>
                <a:gd name="connsiteX32" fmla="*/ 247908 w 357045"/>
                <a:gd name="connsiteY32" fmla="*/ 320828 h 367166"/>
                <a:gd name="connsiteX33" fmla="*/ 251322 w 357045"/>
                <a:gd name="connsiteY33" fmla="*/ 318024 h 367166"/>
                <a:gd name="connsiteX34" fmla="*/ 255102 w 357045"/>
                <a:gd name="connsiteY34" fmla="*/ 320463 h 367166"/>
                <a:gd name="connsiteX35" fmla="*/ 256199 w 357045"/>
                <a:gd name="connsiteY35" fmla="*/ 321194 h 367166"/>
                <a:gd name="connsiteX36" fmla="*/ 261931 w 357045"/>
                <a:gd name="connsiteY36" fmla="*/ 325096 h 367166"/>
                <a:gd name="connsiteX37" fmla="*/ 263028 w 357045"/>
                <a:gd name="connsiteY37" fmla="*/ 325828 h 367166"/>
                <a:gd name="connsiteX38" fmla="*/ 263638 w 357045"/>
                <a:gd name="connsiteY38" fmla="*/ 326925 h 367166"/>
                <a:gd name="connsiteX39" fmla="*/ 267052 w 357045"/>
                <a:gd name="connsiteY39" fmla="*/ 332169 h 367166"/>
                <a:gd name="connsiteX40" fmla="*/ 270345 w 357045"/>
                <a:gd name="connsiteY40" fmla="*/ 332169 h 367166"/>
                <a:gd name="connsiteX41" fmla="*/ 271686 w 357045"/>
                <a:gd name="connsiteY41" fmla="*/ 327657 h 367166"/>
                <a:gd name="connsiteX42" fmla="*/ 273515 w 357045"/>
                <a:gd name="connsiteY42" fmla="*/ 321682 h 367166"/>
                <a:gd name="connsiteX43" fmla="*/ 279490 w 357045"/>
                <a:gd name="connsiteY43" fmla="*/ 323633 h 367166"/>
                <a:gd name="connsiteX44" fmla="*/ 285465 w 357045"/>
                <a:gd name="connsiteY44" fmla="*/ 325584 h 367166"/>
                <a:gd name="connsiteX45" fmla="*/ 286685 w 357045"/>
                <a:gd name="connsiteY45" fmla="*/ 326072 h 367166"/>
                <a:gd name="connsiteX46" fmla="*/ 287661 w 357045"/>
                <a:gd name="connsiteY46" fmla="*/ 326925 h 367166"/>
                <a:gd name="connsiteX47" fmla="*/ 320341 w 357045"/>
                <a:gd name="connsiteY47" fmla="*/ 356923 h 367166"/>
                <a:gd name="connsiteX48" fmla="*/ 331438 w 357045"/>
                <a:gd name="connsiteY48" fmla="*/ 367166 h 367166"/>
                <a:gd name="connsiteX49" fmla="*/ 336559 w 357045"/>
                <a:gd name="connsiteY49" fmla="*/ 364118 h 367166"/>
                <a:gd name="connsiteX50" fmla="*/ 337047 w 357045"/>
                <a:gd name="connsiteY50" fmla="*/ 347412 h 367166"/>
                <a:gd name="connsiteX51" fmla="*/ 337291 w 357045"/>
                <a:gd name="connsiteY51" fmla="*/ 341315 h 367166"/>
                <a:gd name="connsiteX52" fmla="*/ 335827 w 357045"/>
                <a:gd name="connsiteY52" fmla="*/ 340339 h 367166"/>
                <a:gd name="connsiteX53" fmla="*/ 332047 w 357045"/>
                <a:gd name="connsiteY53" fmla="*/ 345217 h 367166"/>
                <a:gd name="connsiteX54" fmla="*/ 329974 w 357045"/>
                <a:gd name="connsiteY54" fmla="*/ 347899 h 367166"/>
                <a:gd name="connsiteX55" fmla="*/ 326560 w 357045"/>
                <a:gd name="connsiteY55" fmla="*/ 347534 h 367166"/>
                <a:gd name="connsiteX56" fmla="*/ 319975 w 357045"/>
                <a:gd name="connsiteY56" fmla="*/ 346802 h 367166"/>
                <a:gd name="connsiteX57" fmla="*/ 317658 w 357045"/>
                <a:gd name="connsiteY57" fmla="*/ 346558 h 367166"/>
                <a:gd name="connsiteX58" fmla="*/ 316073 w 357045"/>
                <a:gd name="connsiteY58" fmla="*/ 344729 h 367166"/>
                <a:gd name="connsiteX59" fmla="*/ 306805 w 357045"/>
                <a:gd name="connsiteY59" fmla="*/ 333876 h 367166"/>
                <a:gd name="connsiteX60" fmla="*/ 304976 w 357045"/>
                <a:gd name="connsiteY60" fmla="*/ 331559 h 367166"/>
                <a:gd name="connsiteX61" fmla="*/ 305586 w 357045"/>
                <a:gd name="connsiteY61" fmla="*/ 328755 h 367166"/>
                <a:gd name="connsiteX62" fmla="*/ 314610 w 357045"/>
                <a:gd name="connsiteY62" fmla="*/ 283026 h 367166"/>
                <a:gd name="connsiteX63" fmla="*/ 314975 w 357045"/>
                <a:gd name="connsiteY63" fmla="*/ 281319 h 367166"/>
                <a:gd name="connsiteX64" fmla="*/ 316073 w 357045"/>
                <a:gd name="connsiteY64" fmla="*/ 280100 h 367166"/>
                <a:gd name="connsiteX65" fmla="*/ 317048 w 357045"/>
                <a:gd name="connsiteY65" fmla="*/ 279124 h 367166"/>
                <a:gd name="connsiteX66" fmla="*/ 323877 w 357045"/>
                <a:gd name="connsiteY66" fmla="*/ 271442 h 367166"/>
                <a:gd name="connsiteX67" fmla="*/ 324853 w 357045"/>
                <a:gd name="connsiteY67" fmla="*/ 270466 h 367166"/>
                <a:gd name="connsiteX68" fmla="*/ 326072 w 357045"/>
                <a:gd name="connsiteY68" fmla="*/ 269979 h 367166"/>
                <a:gd name="connsiteX69" fmla="*/ 328999 w 357045"/>
                <a:gd name="connsiteY69" fmla="*/ 268759 h 367166"/>
                <a:gd name="connsiteX70" fmla="*/ 337169 w 357045"/>
                <a:gd name="connsiteY70" fmla="*/ 265345 h 367166"/>
                <a:gd name="connsiteX71" fmla="*/ 354484 w 357045"/>
                <a:gd name="connsiteY71" fmla="*/ 259004 h 367166"/>
                <a:gd name="connsiteX72" fmla="*/ 350948 w 357045"/>
                <a:gd name="connsiteY72" fmla="*/ 247176 h 367166"/>
                <a:gd name="connsiteX73" fmla="*/ 348875 w 357045"/>
                <a:gd name="connsiteY73" fmla="*/ 244249 h 367166"/>
                <a:gd name="connsiteX74" fmla="*/ 334730 w 357045"/>
                <a:gd name="connsiteY74" fmla="*/ 224616 h 367166"/>
                <a:gd name="connsiteX75" fmla="*/ 333755 w 357045"/>
                <a:gd name="connsiteY75" fmla="*/ 223275 h 367166"/>
                <a:gd name="connsiteX76" fmla="*/ 333510 w 357045"/>
                <a:gd name="connsiteY76" fmla="*/ 221568 h 367166"/>
                <a:gd name="connsiteX77" fmla="*/ 331681 w 357045"/>
                <a:gd name="connsiteY77" fmla="*/ 198155 h 367166"/>
                <a:gd name="connsiteX78" fmla="*/ 331681 w 357045"/>
                <a:gd name="connsiteY78" fmla="*/ 195594 h 367166"/>
                <a:gd name="connsiteX79" fmla="*/ 331803 w 357045"/>
                <a:gd name="connsiteY79" fmla="*/ 194619 h 367166"/>
                <a:gd name="connsiteX80" fmla="*/ 331925 w 357045"/>
                <a:gd name="connsiteY80" fmla="*/ 193887 h 367166"/>
                <a:gd name="connsiteX81" fmla="*/ 334486 w 357045"/>
                <a:gd name="connsiteY81" fmla="*/ 183766 h 367166"/>
                <a:gd name="connsiteX82" fmla="*/ 334486 w 357045"/>
                <a:gd name="connsiteY82" fmla="*/ 183644 h 367166"/>
                <a:gd name="connsiteX83" fmla="*/ 334364 w 357045"/>
                <a:gd name="connsiteY83" fmla="*/ 180230 h 367166"/>
                <a:gd name="connsiteX84" fmla="*/ 334120 w 357045"/>
                <a:gd name="connsiteY84" fmla="*/ 174864 h 367166"/>
                <a:gd name="connsiteX85" fmla="*/ 333876 w 357045"/>
                <a:gd name="connsiteY85" fmla="*/ 170109 h 367166"/>
                <a:gd name="connsiteX86" fmla="*/ 328511 w 357045"/>
                <a:gd name="connsiteY86" fmla="*/ 164499 h 367166"/>
                <a:gd name="connsiteX87" fmla="*/ 327292 w 357045"/>
                <a:gd name="connsiteY87" fmla="*/ 163158 h 367166"/>
                <a:gd name="connsiteX88" fmla="*/ 326925 w 357045"/>
                <a:gd name="connsiteY88" fmla="*/ 161329 h 367166"/>
                <a:gd name="connsiteX89" fmla="*/ 324731 w 357045"/>
                <a:gd name="connsiteY89" fmla="*/ 148281 h 367166"/>
                <a:gd name="connsiteX90" fmla="*/ 323999 w 357045"/>
                <a:gd name="connsiteY90" fmla="*/ 148281 h 367166"/>
                <a:gd name="connsiteX91" fmla="*/ 324121 w 357045"/>
                <a:gd name="connsiteY91" fmla="*/ 144501 h 367166"/>
                <a:gd name="connsiteX92" fmla="*/ 323389 w 357045"/>
                <a:gd name="connsiteY92" fmla="*/ 140355 h 367166"/>
                <a:gd name="connsiteX93" fmla="*/ 324365 w 357045"/>
                <a:gd name="connsiteY93" fmla="*/ 140355 h 367166"/>
                <a:gd name="connsiteX94" fmla="*/ 324853 w 357045"/>
                <a:gd name="connsiteY94" fmla="*/ 131087 h 367166"/>
                <a:gd name="connsiteX95" fmla="*/ 323633 w 357045"/>
                <a:gd name="connsiteY95" fmla="*/ 131453 h 367166"/>
                <a:gd name="connsiteX96" fmla="*/ 325096 w 357045"/>
                <a:gd name="connsiteY96" fmla="*/ 124868 h 367166"/>
                <a:gd name="connsiteX97" fmla="*/ 325218 w 357045"/>
                <a:gd name="connsiteY97" fmla="*/ 122551 h 367166"/>
                <a:gd name="connsiteX98" fmla="*/ 325706 w 357045"/>
                <a:gd name="connsiteY98" fmla="*/ 122307 h 367166"/>
                <a:gd name="connsiteX99" fmla="*/ 326072 w 357045"/>
                <a:gd name="connsiteY99" fmla="*/ 120966 h 367166"/>
                <a:gd name="connsiteX100" fmla="*/ 330828 w 357045"/>
                <a:gd name="connsiteY100" fmla="*/ 99382 h 367166"/>
                <a:gd name="connsiteX101" fmla="*/ 331072 w 357045"/>
                <a:gd name="connsiteY101" fmla="*/ 98407 h 367166"/>
                <a:gd name="connsiteX102" fmla="*/ 331559 w 357045"/>
                <a:gd name="connsiteY102" fmla="*/ 97431 h 367166"/>
                <a:gd name="connsiteX103" fmla="*/ 352655 w 357045"/>
                <a:gd name="connsiteY103" fmla="*/ 64507 h 367166"/>
                <a:gd name="connsiteX104" fmla="*/ 354606 w 357045"/>
                <a:gd name="connsiteY104" fmla="*/ 57313 h 367166"/>
                <a:gd name="connsiteX105" fmla="*/ 357045 w 357045"/>
                <a:gd name="connsiteY105" fmla="*/ 47923 h 367166"/>
                <a:gd name="connsiteX106" fmla="*/ 352167 w 357045"/>
                <a:gd name="connsiteY106" fmla="*/ 29876 h 367166"/>
                <a:gd name="connsiteX107" fmla="*/ 351924 w 357045"/>
                <a:gd name="connsiteY107" fmla="*/ 29022 h 367166"/>
                <a:gd name="connsiteX108" fmla="*/ 351436 w 357045"/>
                <a:gd name="connsiteY108" fmla="*/ 28412 h 367166"/>
                <a:gd name="connsiteX109" fmla="*/ 346070 w 357045"/>
                <a:gd name="connsiteY109" fmla="*/ 22071 h 367166"/>
                <a:gd name="connsiteX110" fmla="*/ 338388 w 357045"/>
                <a:gd name="connsiteY110" fmla="*/ 12926 h 367166"/>
                <a:gd name="connsiteX111" fmla="*/ 331072 w 357045"/>
                <a:gd name="connsiteY111" fmla="*/ 14023 h 367166"/>
                <a:gd name="connsiteX112" fmla="*/ 329608 w 357045"/>
                <a:gd name="connsiteY112" fmla="*/ 14145 h 367166"/>
                <a:gd name="connsiteX113" fmla="*/ 328267 w 357045"/>
                <a:gd name="connsiteY113" fmla="*/ 13779 h 367166"/>
                <a:gd name="connsiteX114" fmla="*/ 318390 w 357045"/>
                <a:gd name="connsiteY114" fmla="*/ 10487 h 367166"/>
                <a:gd name="connsiteX115" fmla="*/ 314731 w 357045"/>
                <a:gd name="connsiteY115" fmla="*/ 14145 h 367166"/>
                <a:gd name="connsiteX116" fmla="*/ 300830 w 357045"/>
                <a:gd name="connsiteY116" fmla="*/ 14145 h 367166"/>
                <a:gd name="connsiteX117" fmla="*/ 299001 w 357045"/>
                <a:gd name="connsiteY117" fmla="*/ 11097 h 367166"/>
                <a:gd name="connsiteX118" fmla="*/ 294245 w 357045"/>
                <a:gd name="connsiteY118" fmla="*/ 3049 h 367166"/>
                <a:gd name="connsiteX119" fmla="*/ 293270 w 357045"/>
                <a:gd name="connsiteY119" fmla="*/ 1463 h 367166"/>
                <a:gd name="connsiteX120" fmla="*/ 291441 w 357045"/>
                <a:gd name="connsiteY120" fmla="*/ 1463 h 367166"/>
                <a:gd name="connsiteX121" fmla="*/ 261199 w 357045"/>
                <a:gd name="connsiteY121" fmla="*/ 0 h 367166"/>
                <a:gd name="connsiteX122" fmla="*/ 243762 w 357045"/>
                <a:gd name="connsiteY122" fmla="*/ 6707 h 367166"/>
                <a:gd name="connsiteX123" fmla="*/ 213520 w 357045"/>
                <a:gd name="connsiteY123" fmla="*/ 18169 h 367166"/>
                <a:gd name="connsiteX124" fmla="*/ 202667 w 357045"/>
                <a:gd name="connsiteY124" fmla="*/ 21462 h 367166"/>
                <a:gd name="connsiteX125" fmla="*/ 195594 w 357045"/>
                <a:gd name="connsiteY125" fmla="*/ 23657 h 367166"/>
                <a:gd name="connsiteX126" fmla="*/ 194009 w 357045"/>
                <a:gd name="connsiteY126" fmla="*/ 24144 h 367166"/>
                <a:gd name="connsiteX127" fmla="*/ 192546 w 357045"/>
                <a:gd name="connsiteY127" fmla="*/ 23900 h 367166"/>
                <a:gd name="connsiteX128" fmla="*/ 183888 w 357045"/>
                <a:gd name="connsiteY128" fmla="*/ 22071 h 367166"/>
                <a:gd name="connsiteX129" fmla="*/ 166572 w 357045"/>
                <a:gd name="connsiteY129" fmla="*/ 18413 h 367166"/>
                <a:gd name="connsiteX130" fmla="*/ 165231 w 357045"/>
                <a:gd name="connsiteY130" fmla="*/ 18047 h 367166"/>
                <a:gd name="connsiteX131" fmla="*/ 164134 w 357045"/>
                <a:gd name="connsiteY131" fmla="*/ 17316 h 367166"/>
                <a:gd name="connsiteX132" fmla="*/ 148891 w 357045"/>
                <a:gd name="connsiteY132" fmla="*/ 5853 h 367166"/>
                <a:gd name="connsiteX133" fmla="*/ 122429 w 357045"/>
                <a:gd name="connsiteY133" fmla="*/ 10609 h 367166"/>
                <a:gd name="connsiteX134" fmla="*/ 121332 w 357045"/>
                <a:gd name="connsiteY134" fmla="*/ 25608 h 367166"/>
                <a:gd name="connsiteX135" fmla="*/ 121332 w 357045"/>
                <a:gd name="connsiteY135" fmla="*/ 27315 h 367166"/>
                <a:gd name="connsiteX136" fmla="*/ 121332 w 357045"/>
                <a:gd name="connsiteY136" fmla="*/ 52191 h 367166"/>
                <a:gd name="connsiteX137" fmla="*/ 119747 w 357045"/>
                <a:gd name="connsiteY137" fmla="*/ 54020 h 367166"/>
                <a:gd name="connsiteX138" fmla="*/ 108894 w 357045"/>
                <a:gd name="connsiteY138" fmla="*/ 66580 h 367166"/>
                <a:gd name="connsiteX139" fmla="*/ 107065 w 357045"/>
                <a:gd name="connsiteY139" fmla="*/ 98895 h 367166"/>
                <a:gd name="connsiteX140" fmla="*/ 107065 w 357045"/>
                <a:gd name="connsiteY140" fmla="*/ 99748 h 367166"/>
                <a:gd name="connsiteX141" fmla="*/ 106699 w 357045"/>
                <a:gd name="connsiteY141" fmla="*/ 100724 h 367166"/>
                <a:gd name="connsiteX142" fmla="*/ 96700 w 357045"/>
                <a:gd name="connsiteY142" fmla="*/ 127063 h 367166"/>
                <a:gd name="connsiteX143" fmla="*/ 95968 w 357045"/>
                <a:gd name="connsiteY143" fmla="*/ 129136 h 367166"/>
                <a:gd name="connsiteX144" fmla="*/ 94017 w 357045"/>
                <a:gd name="connsiteY144" fmla="*/ 130234 h 367166"/>
                <a:gd name="connsiteX145" fmla="*/ 85359 w 357045"/>
                <a:gd name="connsiteY145" fmla="*/ 135111 h 367166"/>
                <a:gd name="connsiteX146" fmla="*/ 80969 w 357045"/>
                <a:gd name="connsiteY146" fmla="*/ 137550 h 367166"/>
                <a:gd name="connsiteX147" fmla="*/ 68409 w 357045"/>
                <a:gd name="connsiteY147" fmla="*/ 184985 h 367166"/>
                <a:gd name="connsiteX148" fmla="*/ 67678 w 357045"/>
                <a:gd name="connsiteY148" fmla="*/ 187790 h 367166"/>
                <a:gd name="connsiteX149" fmla="*/ 65239 w 357045"/>
                <a:gd name="connsiteY149" fmla="*/ 189010 h 367166"/>
                <a:gd name="connsiteX150" fmla="*/ 45241 w 357045"/>
                <a:gd name="connsiteY150" fmla="*/ 198643 h 367166"/>
                <a:gd name="connsiteX151" fmla="*/ 33778 w 357045"/>
                <a:gd name="connsiteY151" fmla="*/ 204252 h 367166"/>
                <a:gd name="connsiteX152" fmla="*/ 25974 w 357045"/>
                <a:gd name="connsiteY152" fmla="*/ 208032 h 367166"/>
                <a:gd name="connsiteX153" fmla="*/ 25120 w 357045"/>
                <a:gd name="connsiteY153" fmla="*/ 199253 h 367166"/>
                <a:gd name="connsiteX154" fmla="*/ 24754 w 357045"/>
                <a:gd name="connsiteY154" fmla="*/ 196082 h 367166"/>
                <a:gd name="connsiteX155" fmla="*/ 23901 w 357045"/>
                <a:gd name="connsiteY155" fmla="*/ 196204 h 367166"/>
                <a:gd name="connsiteX156" fmla="*/ 23901 w 357045"/>
                <a:gd name="connsiteY156" fmla="*/ 196204 h 367166"/>
                <a:gd name="connsiteX157" fmla="*/ 20121 w 357045"/>
                <a:gd name="connsiteY157" fmla="*/ 200838 h 367166"/>
                <a:gd name="connsiteX158" fmla="*/ 19389 w 357045"/>
                <a:gd name="connsiteY158" fmla="*/ 201691 h 367166"/>
                <a:gd name="connsiteX159" fmla="*/ 16706 w 357045"/>
                <a:gd name="connsiteY159" fmla="*/ 204984 h 367166"/>
                <a:gd name="connsiteX160" fmla="*/ 16706 w 357045"/>
                <a:gd name="connsiteY160" fmla="*/ 204984 h 367166"/>
                <a:gd name="connsiteX161" fmla="*/ 14511 w 357045"/>
                <a:gd name="connsiteY161" fmla="*/ 210227 h 367166"/>
                <a:gd name="connsiteX162" fmla="*/ 13414 w 357045"/>
                <a:gd name="connsiteY162" fmla="*/ 212666 h 367166"/>
                <a:gd name="connsiteX163" fmla="*/ 10853 w 357045"/>
                <a:gd name="connsiteY163" fmla="*/ 213642 h 367166"/>
                <a:gd name="connsiteX164" fmla="*/ 0 w 357045"/>
                <a:gd name="connsiteY164" fmla="*/ 217300 h 367166"/>
                <a:gd name="connsiteX165" fmla="*/ 2805 w 357045"/>
                <a:gd name="connsiteY165" fmla="*/ 220227 h 367166"/>
                <a:gd name="connsiteX166" fmla="*/ 5488 w 357045"/>
                <a:gd name="connsiteY166" fmla="*/ 220105 h 367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</a:cxnLst>
              <a:rect l="l" t="t" r="r" b="b"/>
              <a:pathLst>
                <a:path w="357045" h="367166">
                  <a:moveTo>
                    <a:pt x="5488" y="220105"/>
                  </a:moveTo>
                  <a:lnTo>
                    <a:pt x="19023" y="219739"/>
                  </a:lnTo>
                  <a:lnTo>
                    <a:pt x="82921" y="217910"/>
                  </a:lnTo>
                  <a:lnTo>
                    <a:pt x="86213" y="217788"/>
                  </a:lnTo>
                  <a:lnTo>
                    <a:pt x="88042" y="220348"/>
                  </a:lnTo>
                  <a:lnTo>
                    <a:pt x="99626" y="236323"/>
                  </a:lnTo>
                  <a:lnTo>
                    <a:pt x="99992" y="236811"/>
                  </a:lnTo>
                  <a:lnTo>
                    <a:pt x="100236" y="237420"/>
                  </a:lnTo>
                  <a:lnTo>
                    <a:pt x="108406" y="256321"/>
                  </a:lnTo>
                  <a:lnTo>
                    <a:pt x="134258" y="254126"/>
                  </a:lnTo>
                  <a:lnTo>
                    <a:pt x="134867" y="243517"/>
                  </a:lnTo>
                  <a:lnTo>
                    <a:pt x="134989" y="242298"/>
                  </a:lnTo>
                  <a:lnTo>
                    <a:pt x="135234" y="237298"/>
                  </a:lnTo>
                  <a:lnTo>
                    <a:pt x="140233" y="236567"/>
                  </a:lnTo>
                  <a:lnTo>
                    <a:pt x="157671" y="234006"/>
                  </a:lnTo>
                  <a:lnTo>
                    <a:pt x="159622" y="233762"/>
                  </a:lnTo>
                  <a:lnTo>
                    <a:pt x="161451" y="234738"/>
                  </a:lnTo>
                  <a:lnTo>
                    <a:pt x="173279" y="241566"/>
                  </a:lnTo>
                  <a:lnTo>
                    <a:pt x="175596" y="242054"/>
                  </a:lnTo>
                  <a:lnTo>
                    <a:pt x="188522" y="244981"/>
                  </a:lnTo>
                  <a:lnTo>
                    <a:pt x="192912" y="246078"/>
                  </a:lnTo>
                  <a:lnTo>
                    <a:pt x="193156" y="250590"/>
                  </a:lnTo>
                  <a:lnTo>
                    <a:pt x="195960" y="302171"/>
                  </a:lnTo>
                  <a:lnTo>
                    <a:pt x="201569" y="315219"/>
                  </a:lnTo>
                  <a:lnTo>
                    <a:pt x="203155" y="318999"/>
                  </a:lnTo>
                  <a:lnTo>
                    <a:pt x="232299" y="318999"/>
                  </a:lnTo>
                  <a:lnTo>
                    <a:pt x="234006" y="322292"/>
                  </a:lnTo>
                  <a:lnTo>
                    <a:pt x="234494" y="323511"/>
                  </a:lnTo>
                  <a:lnTo>
                    <a:pt x="237177" y="322292"/>
                  </a:lnTo>
                  <a:lnTo>
                    <a:pt x="238640" y="321682"/>
                  </a:lnTo>
                  <a:lnTo>
                    <a:pt x="240347" y="321926"/>
                  </a:lnTo>
                  <a:lnTo>
                    <a:pt x="245713" y="322536"/>
                  </a:lnTo>
                  <a:lnTo>
                    <a:pt x="247908" y="320828"/>
                  </a:lnTo>
                  <a:lnTo>
                    <a:pt x="251322" y="318024"/>
                  </a:lnTo>
                  <a:lnTo>
                    <a:pt x="255102" y="320463"/>
                  </a:lnTo>
                  <a:lnTo>
                    <a:pt x="256199" y="321194"/>
                  </a:lnTo>
                  <a:lnTo>
                    <a:pt x="261931" y="325096"/>
                  </a:lnTo>
                  <a:lnTo>
                    <a:pt x="263028" y="325828"/>
                  </a:lnTo>
                  <a:lnTo>
                    <a:pt x="263638" y="326925"/>
                  </a:lnTo>
                  <a:lnTo>
                    <a:pt x="267052" y="332169"/>
                  </a:lnTo>
                  <a:lnTo>
                    <a:pt x="270345" y="332169"/>
                  </a:lnTo>
                  <a:lnTo>
                    <a:pt x="271686" y="327657"/>
                  </a:lnTo>
                  <a:lnTo>
                    <a:pt x="273515" y="321682"/>
                  </a:lnTo>
                  <a:lnTo>
                    <a:pt x="279490" y="323633"/>
                  </a:lnTo>
                  <a:lnTo>
                    <a:pt x="285465" y="325584"/>
                  </a:lnTo>
                  <a:lnTo>
                    <a:pt x="286685" y="326072"/>
                  </a:lnTo>
                  <a:lnTo>
                    <a:pt x="287661" y="326925"/>
                  </a:lnTo>
                  <a:lnTo>
                    <a:pt x="320341" y="356923"/>
                  </a:lnTo>
                  <a:lnTo>
                    <a:pt x="331438" y="367166"/>
                  </a:lnTo>
                  <a:lnTo>
                    <a:pt x="336559" y="364118"/>
                  </a:lnTo>
                  <a:lnTo>
                    <a:pt x="337047" y="347412"/>
                  </a:lnTo>
                  <a:lnTo>
                    <a:pt x="337291" y="341315"/>
                  </a:lnTo>
                  <a:lnTo>
                    <a:pt x="335827" y="340339"/>
                  </a:lnTo>
                  <a:lnTo>
                    <a:pt x="332047" y="345217"/>
                  </a:lnTo>
                  <a:lnTo>
                    <a:pt x="329974" y="347899"/>
                  </a:lnTo>
                  <a:lnTo>
                    <a:pt x="326560" y="347534"/>
                  </a:lnTo>
                  <a:lnTo>
                    <a:pt x="319975" y="346802"/>
                  </a:lnTo>
                  <a:lnTo>
                    <a:pt x="317658" y="346558"/>
                  </a:lnTo>
                  <a:lnTo>
                    <a:pt x="316073" y="344729"/>
                  </a:lnTo>
                  <a:lnTo>
                    <a:pt x="306805" y="333876"/>
                  </a:lnTo>
                  <a:lnTo>
                    <a:pt x="304976" y="331559"/>
                  </a:lnTo>
                  <a:lnTo>
                    <a:pt x="305586" y="328755"/>
                  </a:lnTo>
                  <a:lnTo>
                    <a:pt x="314610" y="283026"/>
                  </a:lnTo>
                  <a:lnTo>
                    <a:pt x="314975" y="281319"/>
                  </a:lnTo>
                  <a:lnTo>
                    <a:pt x="316073" y="280100"/>
                  </a:lnTo>
                  <a:lnTo>
                    <a:pt x="317048" y="279124"/>
                  </a:lnTo>
                  <a:lnTo>
                    <a:pt x="323877" y="271442"/>
                  </a:lnTo>
                  <a:lnTo>
                    <a:pt x="324853" y="270466"/>
                  </a:lnTo>
                  <a:lnTo>
                    <a:pt x="326072" y="269979"/>
                  </a:lnTo>
                  <a:lnTo>
                    <a:pt x="328999" y="268759"/>
                  </a:lnTo>
                  <a:lnTo>
                    <a:pt x="337169" y="265345"/>
                  </a:lnTo>
                  <a:lnTo>
                    <a:pt x="354484" y="259004"/>
                  </a:lnTo>
                  <a:lnTo>
                    <a:pt x="350948" y="247176"/>
                  </a:lnTo>
                  <a:lnTo>
                    <a:pt x="348875" y="244249"/>
                  </a:lnTo>
                  <a:lnTo>
                    <a:pt x="334730" y="224616"/>
                  </a:lnTo>
                  <a:lnTo>
                    <a:pt x="333755" y="223275"/>
                  </a:lnTo>
                  <a:lnTo>
                    <a:pt x="333510" y="221568"/>
                  </a:lnTo>
                  <a:lnTo>
                    <a:pt x="331681" y="198155"/>
                  </a:lnTo>
                  <a:lnTo>
                    <a:pt x="331681" y="195594"/>
                  </a:lnTo>
                  <a:lnTo>
                    <a:pt x="331803" y="194619"/>
                  </a:lnTo>
                  <a:lnTo>
                    <a:pt x="331925" y="193887"/>
                  </a:lnTo>
                  <a:lnTo>
                    <a:pt x="334486" y="183766"/>
                  </a:lnTo>
                  <a:lnTo>
                    <a:pt x="334486" y="183644"/>
                  </a:lnTo>
                  <a:lnTo>
                    <a:pt x="334364" y="180230"/>
                  </a:lnTo>
                  <a:lnTo>
                    <a:pt x="334120" y="174864"/>
                  </a:lnTo>
                  <a:lnTo>
                    <a:pt x="333876" y="170109"/>
                  </a:lnTo>
                  <a:lnTo>
                    <a:pt x="328511" y="164499"/>
                  </a:lnTo>
                  <a:lnTo>
                    <a:pt x="327292" y="163158"/>
                  </a:lnTo>
                  <a:lnTo>
                    <a:pt x="326925" y="161329"/>
                  </a:lnTo>
                  <a:lnTo>
                    <a:pt x="324731" y="148281"/>
                  </a:lnTo>
                  <a:lnTo>
                    <a:pt x="323999" y="148281"/>
                  </a:lnTo>
                  <a:lnTo>
                    <a:pt x="324121" y="144501"/>
                  </a:lnTo>
                  <a:lnTo>
                    <a:pt x="323389" y="140355"/>
                  </a:lnTo>
                  <a:lnTo>
                    <a:pt x="324365" y="140355"/>
                  </a:lnTo>
                  <a:lnTo>
                    <a:pt x="324853" y="131087"/>
                  </a:lnTo>
                  <a:lnTo>
                    <a:pt x="323633" y="131453"/>
                  </a:lnTo>
                  <a:lnTo>
                    <a:pt x="325096" y="124868"/>
                  </a:lnTo>
                  <a:lnTo>
                    <a:pt x="325218" y="122551"/>
                  </a:lnTo>
                  <a:lnTo>
                    <a:pt x="325706" y="122307"/>
                  </a:lnTo>
                  <a:lnTo>
                    <a:pt x="326072" y="120966"/>
                  </a:lnTo>
                  <a:lnTo>
                    <a:pt x="330828" y="99382"/>
                  </a:lnTo>
                  <a:lnTo>
                    <a:pt x="331072" y="98407"/>
                  </a:lnTo>
                  <a:lnTo>
                    <a:pt x="331559" y="97431"/>
                  </a:lnTo>
                  <a:lnTo>
                    <a:pt x="352655" y="64507"/>
                  </a:lnTo>
                  <a:lnTo>
                    <a:pt x="354606" y="57313"/>
                  </a:lnTo>
                  <a:lnTo>
                    <a:pt x="357045" y="47923"/>
                  </a:lnTo>
                  <a:lnTo>
                    <a:pt x="352167" y="29876"/>
                  </a:lnTo>
                  <a:lnTo>
                    <a:pt x="351924" y="29022"/>
                  </a:lnTo>
                  <a:lnTo>
                    <a:pt x="351436" y="28412"/>
                  </a:lnTo>
                  <a:lnTo>
                    <a:pt x="346070" y="22071"/>
                  </a:lnTo>
                  <a:lnTo>
                    <a:pt x="338388" y="12926"/>
                  </a:lnTo>
                  <a:lnTo>
                    <a:pt x="331072" y="14023"/>
                  </a:lnTo>
                  <a:lnTo>
                    <a:pt x="329608" y="14145"/>
                  </a:lnTo>
                  <a:lnTo>
                    <a:pt x="328267" y="13779"/>
                  </a:lnTo>
                  <a:lnTo>
                    <a:pt x="318390" y="10487"/>
                  </a:lnTo>
                  <a:lnTo>
                    <a:pt x="314731" y="14145"/>
                  </a:lnTo>
                  <a:lnTo>
                    <a:pt x="300830" y="14145"/>
                  </a:lnTo>
                  <a:lnTo>
                    <a:pt x="299001" y="11097"/>
                  </a:lnTo>
                  <a:lnTo>
                    <a:pt x="294245" y="3049"/>
                  </a:lnTo>
                  <a:lnTo>
                    <a:pt x="293270" y="1463"/>
                  </a:lnTo>
                  <a:lnTo>
                    <a:pt x="291441" y="1463"/>
                  </a:lnTo>
                  <a:lnTo>
                    <a:pt x="261199" y="0"/>
                  </a:lnTo>
                  <a:lnTo>
                    <a:pt x="243762" y="6707"/>
                  </a:lnTo>
                  <a:lnTo>
                    <a:pt x="213520" y="18169"/>
                  </a:lnTo>
                  <a:lnTo>
                    <a:pt x="202667" y="21462"/>
                  </a:lnTo>
                  <a:lnTo>
                    <a:pt x="195594" y="23657"/>
                  </a:lnTo>
                  <a:lnTo>
                    <a:pt x="194009" y="24144"/>
                  </a:lnTo>
                  <a:lnTo>
                    <a:pt x="192546" y="23900"/>
                  </a:lnTo>
                  <a:lnTo>
                    <a:pt x="183888" y="22071"/>
                  </a:lnTo>
                  <a:lnTo>
                    <a:pt x="166572" y="18413"/>
                  </a:lnTo>
                  <a:lnTo>
                    <a:pt x="165231" y="18047"/>
                  </a:lnTo>
                  <a:lnTo>
                    <a:pt x="164134" y="17316"/>
                  </a:lnTo>
                  <a:lnTo>
                    <a:pt x="148891" y="5853"/>
                  </a:lnTo>
                  <a:lnTo>
                    <a:pt x="122429" y="10609"/>
                  </a:lnTo>
                  <a:lnTo>
                    <a:pt x="121332" y="25608"/>
                  </a:lnTo>
                  <a:lnTo>
                    <a:pt x="121332" y="27315"/>
                  </a:lnTo>
                  <a:lnTo>
                    <a:pt x="121332" y="52191"/>
                  </a:lnTo>
                  <a:lnTo>
                    <a:pt x="119747" y="54020"/>
                  </a:lnTo>
                  <a:lnTo>
                    <a:pt x="108894" y="66580"/>
                  </a:lnTo>
                  <a:lnTo>
                    <a:pt x="107065" y="98895"/>
                  </a:lnTo>
                  <a:lnTo>
                    <a:pt x="107065" y="99748"/>
                  </a:lnTo>
                  <a:lnTo>
                    <a:pt x="106699" y="100724"/>
                  </a:lnTo>
                  <a:lnTo>
                    <a:pt x="96700" y="127063"/>
                  </a:lnTo>
                  <a:lnTo>
                    <a:pt x="95968" y="129136"/>
                  </a:lnTo>
                  <a:lnTo>
                    <a:pt x="94017" y="130234"/>
                  </a:lnTo>
                  <a:lnTo>
                    <a:pt x="85359" y="135111"/>
                  </a:lnTo>
                  <a:lnTo>
                    <a:pt x="80969" y="137550"/>
                  </a:lnTo>
                  <a:lnTo>
                    <a:pt x="68409" y="184985"/>
                  </a:lnTo>
                  <a:lnTo>
                    <a:pt x="67678" y="187790"/>
                  </a:lnTo>
                  <a:lnTo>
                    <a:pt x="65239" y="189010"/>
                  </a:lnTo>
                  <a:lnTo>
                    <a:pt x="45241" y="198643"/>
                  </a:lnTo>
                  <a:lnTo>
                    <a:pt x="33778" y="204252"/>
                  </a:lnTo>
                  <a:lnTo>
                    <a:pt x="25974" y="208032"/>
                  </a:lnTo>
                  <a:lnTo>
                    <a:pt x="25120" y="199253"/>
                  </a:lnTo>
                  <a:lnTo>
                    <a:pt x="24754" y="196082"/>
                  </a:lnTo>
                  <a:lnTo>
                    <a:pt x="23901" y="196204"/>
                  </a:lnTo>
                  <a:lnTo>
                    <a:pt x="23901" y="196204"/>
                  </a:lnTo>
                  <a:lnTo>
                    <a:pt x="20121" y="200838"/>
                  </a:lnTo>
                  <a:lnTo>
                    <a:pt x="19389" y="201691"/>
                  </a:lnTo>
                  <a:lnTo>
                    <a:pt x="16706" y="204984"/>
                  </a:lnTo>
                  <a:lnTo>
                    <a:pt x="16706" y="204984"/>
                  </a:lnTo>
                  <a:lnTo>
                    <a:pt x="14511" y="210227"/>
                  </a:lnTo>
                  <a:lnTo>
                    <a:pt x="13414" y="212666"/>
                  </a:lnTo>
                  <a:lnTo>
                    <a:pt x="10853" y="213642"/>
                  </a:lnTo>
                  <a:lnTo>
                    <a:pt x="0" y="217300"/>
                  </a:lnTo>
                  <a:lnTo>
                    <a:pt x="2805" y="220227"/>
                  </a:lnTo>
                  <a:lnTo>
                    <a:pt x="5488" y="2201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2" name="Freihandform: Form 461">
              <a:extLst>
                <a:ext uri="{FF2B5EF4-FFF2-40B4-BE49-F238E27FC236}">
                  <a16:creationId xmlns:a16="http://schemas.microsoft.com/office/drawing/2014/main" id="{D8035956-F70C-4391-8BB0-BF2E0C4038CF}"/>
                </a:ext>
              </a:extLst>
            </p:cNvPr>
            <p:cNvSpPr/>
            <p:nvPr/>
          </p:nvSpPr>
          <p:spPr>
            <a:xfrm>
              <a:off x="4869293" y="3601450"/>
              <a:ext cx="210227" cy="191814"/>
            </a:xfrm>
            <a:custGeom>
              <a:avLst/>
              <a:gdLst>
                <a:gd name="connsiteX0" fmla="*/ 159378 w 210227"/>
                <a:gd name="connsiteY0" fmla="*/ 126088 h 191814"/>
                <a:gd name="connsiteX1" fmla="*/ 172913 w 210227"/>
                <a:gd name="connsiteY1" fmla="*/ 118040 h 191814"/>
                <a:gd name="connsiteX2" fmla="*/ 174620 w 210227"/>
                <a:gd name="connsiteY2" fmla="*/ 117064 h 191814"/>
                <a:gd name="connsiteX3" fmla="*/ 176450 w 210227"/>
                <a:gd name="connsiteY3" fmla="*/ 117186 h 191814"/>
                <a:gd name="connsiteX4" fmla="*/ 179620 w 210227"/>
                <a:gd name="connsiteY4" fmla="*/ 117430 h 191814"/>
                <a:gd name="connsiteX5" fmla="*/ 188034 w 210227"/>
                <a:gd name="connsiteY5" fmla="*/ 118040 h 191814"/>
                <a:gd name="connsiteX6" fmla="*/ 201204 w 210227"/>
                <a:gd name="connsiteY6" fmla="*/ 111820 h 191814"/>
                <a:gd name="connsiteX7" fmla="*/ 204618 w 210227"/>
                <a:gd name="connsiteY7" fmla="*/ 78896 h 191814"/>
                <a:gd name="connsiteX8" fmla="*/ 204862 w 210227"/>
                <a:gd name="connsiteY8" fmla="*/ 76823 h 191814"/>
                <a:gd name="connsiteX9" fmla="*/ 206325 w 210227"/>
                <a:gd name="connsiteY9" fmla="*/ 75238 h 191814"/>
                <a:gd name="connsiteX10" fmla="*/ 210227 w 210227"/>
                <a:gd name="connsiteY10" fmla="*/ 71336 h 191814"/>
                <a:gd name="connsiteX11" fmla="*/ 208520 w 210227"/>
                <a:gd name="connsiteY11" fmla="*/ 38290 h 191814"/>
                <a:gd name="connsiteX12" fmla="*/ 203764 w 210227"/>
                <a:gd name="connsiteY12" fmla="*/ 31461 h 191814"/>
                <a:gd name="connsiteX13" fmla="*/ 199130 w 210227"/>
                <a:gd name="connsiteY13" fmla="*/ 24632 h 191814"/>
                <a:gd name="connsiteX14" fmla="*/ 197545 w 210227"/>
                <a:gd name="connsiteY14" fmla="*/ 22315 h 191814"/>
                <a:gd name="connsiteX15" fmla="*/ 184985 w 210227"/>
                <a:gd name="connsiteY15" fmla="*/ 16950 h 191814"/>
                <a:gd name="connsiteX16" fmla="*/ 179010 w 210227"/>
                <a:gd name="connsiteY16" fmla="*/ 14389 h 191814"/>
                <a:gd name="connsiteX17" fmla="*/ 178157 w 210227"/>
                <a:gd name="connsiteY17" fmla="*/ 14023 h 191814"/>
                <a:gd name="connsiteX18" fmla="*/ 177425 w 210227"/>
                <a:gd name="connsiteY18" fmla="*/ 13292 h 191814"/>
                <a:gd name="connsiteX19" fmla="*/ 166328 w 210227"/>
                <a:gd name="connsiteY19" fmla="*/ 3536 h 191814"/>
                <a:gd name="connsiteX20" fmla="*/ 162426 w 210227"/>
                <a:gd name="connsiteY20" fmla="*/ 0 h 191814"/>
                <a:gd name="connsiteX21" fmla="*/ 144013 w 210227"/>
                <a:gd name="connsiteY21" fmla="*/ 6707 h 191814"/>
                <a:gd name="connsiteX22" fmla="*/ 135111 w 210227"/>
                <a:gd name="connsiteY22" fmla="*/ 10365 h 191814"/>
                <a:gd name="connsiteX23" fmla="*/ 133404 w 210227"/>
                <a:gd name="connsiteY23" fmla="*/ 11097 h 191814"/>
                <a:gd name="connsiteX24" fmla="*/ 127551 w 210227"/>
                <a:gd name="connsiteY24" fmla="*/ 17560 h 191814"/>
                <a:gd name="connsiteX25" fmla="*/ 126331 w 210227"/>
                <a:gd name="connsiteY25" fmla="*/ 19023 h 191814"/>
                <a:gd name="connsiteX26" fmla="*/ 117430 w 210227"/>
                <a:gd name="connsiteY26" fmla="*/ 63288 h 191814"/>
                <a:gd name="connsiteX27" fmla="*/ 125600 w 210227"/>
                <a:gd name="connsiteY27" fmla="*/ 72921 h 191814"/>
                <a:gd name="connsiteX28" fmla="*/ 130234 w 210227"/>
                <a:gd name="connsiteY28" fmla="*/ 73409 h 191814"/>
                <a:gd name="connsiteX29" fmla="*/ 134380 w 210227"/>
                <a:gd name="connsiteY29" fmla="*/ 68166 h 191814"/>
                <a:gd name="connsiteX30" fmla="*/ 137672 w 210227"/>
                <a:gd name="connsiteY30" fmla="*/ 64019 h 191814"/>
                <a:gd name="connsiteX31" fmla="*/ 142184 w 210227"/>
                <a:gd name="connsiteY31" fmla="*/ 66580 h 191814"/>
                <a:gd name="connsiteX32" fmla="*/ 146208 w 210227"/>
                <a:gd name="connsiteY32" fmla="*/ 68775 h 191814"/>
                <a:gd name="connsiteX33" fmla="*/ 149378 w 210227"/>
                <a:gd name="connsiteY33" fmla="*/ 70604 h 191814"/>
                <a:gd name="connsiteX34" fmla="*/ 149256 w 210227"/>
                <a:gd name="connsiteY34" fmla="*/ 74384 h 191814"/>
                <a:gd name="connsiteX35" fmla="*/ 149013 w 210227"/>
                <a:gd name="connsiteY35" fmla="*/ 80238 h 191814"/>
                <a:gd name="connsiteX36" fmla="*/ 148403 w 210227"/>
                <a:gd name="connsiteY36" fmla="*/ 99383 h 191814"/>
                <a:gd name="connsiteX37" fmla="*/ 148281 w 210227"/>
                <a:gd name="connsiteY37" fmla="*/ 102675 h 191814"/>
                <a:gd name="connsiteX38" fmla="*/ 145476 w 210227"/>
                <a:gd name="connsiteY38" fmla="*/ 104382 h 191814"/>
                <a:gd name="connsiteX39" fmla="*/ 138282 w 210227"/>
                <a:gd name="connsiteY39" fmla="*/ 108650 h 191814"/>
                <a:gd name="connsiteX40" fmla="*/ 134380 w 210227"/>
                <a:gd name="connsiteY40" fmla="*/ 110967 h 191814"/>
                <a:gd name="connsiteX41" fmla="*/ 131087 w 210227"/>
                <a:gd name="connsiteY41" fmla="*/ 107918 h 191814"/>
                <a:gd name="connsiteX42" fmla="*/ 117064 w 210227"/>
                <a:gd name="connsiteY42" fmla="*/ 94993 h 191814"/>
                <a:gd name="connsiteX43" fmla="*/ 86457 w 210227"/>
                <a:gd name="connsiteY43" fmla="*/ 66946 h 191814"/>
                <a:gd name="connsiteX44" fmla="*/ 82676 w 210227"/>
                <a:gd name="connsiteY44" fmla="*/ 65727 h 191814"/>
                <a:gd name="connsiteX45" fmla="*/ 81457 w 210227"/>
                <a:gd name="connsiteY45" fmla="*/ 69751 h 191814"/>
                <a:gd name="connsiteX46" fmla="*/ 80116 w 210227"/>
                <a:gd name="connsiteY46" fmla="*/ 74019 h 191814"/>
                <a:gd name="connsiteX47" fmla="*/ 66458 w 210227"/>
                <a:gd name="connsiteY47" fmla="*/ 74019 h 191814"/>
                <a:gd name="connsiteX48" fmla="*/ 64751 w 210227"/>
                <a:gd name="connsiteY48" fmla="*/ 71214 h 191814"/>
                <a:gd name="connsiteX49" fmla="*/ 61093 w 210227"/>
                <a:gd name="connsiteY49" fmla="*/ 65361 h 191814"/>
                <a:gd name="connsiteX50" fmla="*/ 55971 w 210227"/>
                <a:gd name="connsiteY50" fmla="*/ 61946 h 191814"/>
                <a:gd name="connsiteX51" fmla="*/ 55727 w 210227"/>
                <a:gd name="connsiteY51" fmla="*/ 61824 h 191814"/>
                <a:gd name="connsiteX52" fmla="*/ 53898 w 210227"/>
                <a:gd name="connsiteY52" fmla="*/ 63166 h 191814"/>
                <a:gd name="connsiteX53" fmla="*/ 51947 w 210227"/>
                <a:gd name="connsiteY53" fmla="*/ 64751 h 191814"/>
                <a:gd name="connsiteX54" fmla="*/ 49386 w 210227"/>
                <a:gd name="connsiteY54" fmla="*/ 64507 h 191814"/>
                <a:gd name="connsiteX55" fmla="*/ 43777 w 210227"/>
                <a:gd name="connsiteY55" fmla="*/ 63776 h 191814"/>
                <a:gd name="connsiteX56" fmla="*/ 40241 w 210227"/>
                <a:gd name="connsiteY56" fmla="*/ 65239 h 191814"/>
                <a:gd name="connsiteX57" fmla="*/ 36948 w 210227"/>
                <a:gd name="connsiteY57" fmla="*/ 90603 h 191814"/>
                <a:gd name="connsiteX58" fmla="*/ 36338 w 210227"/>
                <a:gd name="connsiteY58" fmla="*/ 95724 h 191814"/>
                <a:gd name="connsiteX59" fmla="*/ 31095 w 210227"/>
                <a:gd name="connsiteY59" fmla="*/ 95846 h 191814"/>
                <a:gd name="connsiteX60" fmla="*/ 0 w 210227"/>
                <a:gd name="connsiteY60" fmla="*/ 96700 h 191814"/>
                <a:gd name="connsiteX61" fmla="*/ 1707 w 210227"/>
                <a:gd name="connsiteY61" fmla="*/ 164743 h 191814"/>
                <a:gd name="connsiteX62" fmla="*/ 12804 w 210227"/>
                <a:gd name="connsiteY62" fmla="*/ 174986 h 191814"/>
                <a:gd name="connsiteX63" fmla="*/ 14145 w 210227"/>
                <a:gd name="connsiteY63" fmla="*/ 176328 h 191814"/>
                <a:gd name="connsiteX64" fmla="*/ 14511 w 210227"/>
                <a:gd name="connsiteY64" fmla="*/ 176450 h 191814"/>
                <a:gd name="connsiteX65" fmla="*/ 25608 w 210227"/>
                <a:gd name="connsiteY65" fmla="*/ 180962 h 191814"/>
                <a:gd name="connsiteX66" fmla="*/ 47557 w 210227"/>
                <a:gd name="connsiteY66" fmla="*/ 182303 h 191814"/>
                <a:gd name="connsiteX67" fmla="*/ 48045 w 210227"/>
                <a:gd name="connsiteY67" fmla="*/ 182425 h 191814"/>
                <a:gd name="connsiteX68" fmla="*/ 48411 w 210227"/>
                <a:gd name="connsiteY68" fmla="*/ 182425 h 191814"/>
                <a:gd name="connsiteX69" fmla="*/ 60483 w 210227"/>
                <a:gd name="connsiteY69" fmla="*/ 185107 h 191814"/>
                <a:gd name="connsiteX70" fmla="*/ 62190 w 210227"/>
                <a:gd name="connsiteY70" fmla="*/ 185473 h 191814"/>
                <a:gd name="connsiteX71" fmla="*/ 63409 w 210227"/>
                <a:gd name="connsiteY71" fmla="*/ 186815 h 191814"/>
                <a:gd name="connsiteX72" fmla="*/ 65726 w 210227"/>
                <a:gd name="connsiteY72" fmla="*/ 189010 h 191814"/>
                <a:gd name="connsiteX73" fmla="*/ 68409 w 210227"/>
                <a:gd name="connsiteY73" fmla="*/ 191814 h 191814"/>
                <a:gd name="connsiteX74" fmla="*/ 71945 w 210227"/>
                <a:gd name="connsiteY74" fmla="*/ 191814 h 191814"/>
                <a:gd name="connsiteX75" fmla="*/ 83652 w 210227"/>
                <a:gd name="connsiteY75" fmla="*/ 191814 h 191814"/>
                <a:gd name="connsiteX76" fmla="*/ 92554 w 210227"/>
                <a:gd name="connsiteY76" fmla="*/ 179742 h 191814"/>
                <a:gd name="connsiteX77" fmla="*/ 93651 w 210227"/>
                <a:gd name="connsiteY77" fmla="*/ 178279 h 191814"/>
                <a:gd name="connsiteX78" fmla="*/ 95480 w 210227"/>
                <a:gd name="connsiteY78" fmla="*/ 177547 h 191814"/>
                <a:gd name="connsiteX79" fmla="*/ 105479 w 210227"/>
                <a:gd name="connsiteY79" fmla="*/ 174255 h 191814"/>
                <a:gd name="connsiteX80" fmla="*/ 108284 w 210227"/>
                <a:gd name="connsiteY80" fmla="*/ 172425 h 191814"/>
                <a:gd name="connsiteX81" fmla="*/ 118039 w 210227"/>
                <a:gd name="connsiteY81" fmla="*/ 165963 h 191814"/>
                <a:gd name="connsiteX82" fmla="*/ 119503 w 210227"/>
                <a:gd name="connsiteY82" fmla="*/ 157915 h 191814"/>
                <a:gd name="connsiteX83" fmla="*/ 119868 w 210227"/>
                <a:gd name="connsiteY83" fmla="*/ 156085 h 191814"/>
                <a:gd name="connsiteX84" fmla="*/ 126941 w 210227"/>
                <a:gd name="connsiteY84" fmla="*/ 149013 h 191814"/>
                <a:gd name="connsiteX85" fmla="*/ 128161 w 210227"/>
                <a:gd name="connsiteY85" fmla="*/ 147671 h 191814"/>
                <a:gd name="connsiteX86" fmla="*/ 129990 w 210227"/>
                <a:gd name="connsiteY86" fmla="*/ 147306 h 191814"/>
                <a:gd name="connsiteX87" fmla="*/ 145720 w 210227"/>
                <a:gd name="connsiteY87" fmla="*/ 144257 h 191814"/>
                <a:gd name="connsiteX88" fmla="*/ 147793 w 210227"/>
                <a:gd name="connsiteY88" fmla="*/ 133770 h 191814"/>
                <a:gd name="connsiteX89" fmla="*/ 148403 w 210227"/>
                <a:gd name="connsiteY89" fmla="*/ 130478 h 191814"/>
                <a:gd name="connsiteX90" fmla="*/ 151451 w 210227"/>
                <a:gd name="connsiteY90" fmla="*/ 129258 h 191814"/>
                <a:gd name="connsiteX91" fmla="*/ 154134 w 210227"/>
                <a:gd name="connsiteY91" fmla="*/ 128283 h 191814"/>
                <a:gd name="connsiteX92" fmla="*/ 159378 w 210227"/>
                <a:gd name="connsiteY92" fmla="*/ 126088 h 191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10227" h="191814">
                  <a:moveTo>
                    <a:pt x="159378" y="126088"/>
                  </a:moveTo>
                  <a:lnTo>
                    <a:pt x="172913" y="118040"/>
                  </a:lnTo>
                  <a:lnTo>
                    <a:pt x="174620" y="117064"/>
                  </a:lnTo>
                  <a:lnTo>
                    <a:pt x="176450" y="117186"/>
                  </a:lnTo>
                  <a:lnTo>
                    <a:pt x="179620" y="117430"/>
                  </a:lnTo>
                  <a:lnTo>
                    <a:pt x="188034" y="118040"/>
                  </a:lnTo>
                  <a:lnTo>
                    <a:pt x="201204" y="111820"/>
                  </a:lnTo>
                  <a:lnTo>
                    <a:pt x="204618" y="78896"/>
                  </a:lnTo>
                  <a:lnTo>
                    <a:pt x="204862" y="76823"/>
                  </a:lnTo>
                  <a:lnTo>
                    <a:pt x="206325" y="75238"/>
                  </a:lnTo>
                  <a:lnTo>
                    <a:pt x="210227" y="71336"/>
                  </a:lnTo>
                  <a:lnTo>
                    <a:pt x="208520" y="38290"/>
                  </a:lnTo>
                  <a:lnTo>
                    <a:pt x="203764" y="31461"/>
                  </a:lnTo>
                  <a:lnTo>
                    <a:pt x="199130" y="24632"/>
                  </a:lnTo>
                  <a:lnTo>
                    <a:pt x="197545" y="22315"/>
                  </a:lnTo>
                  <a:lnTo>
                    <a:pt x="184985" y="16950"/>
                  </a:lnTo>
                  <a:lnTo>
                    <a:pt x="179010" y="14389"/>
                  </a:lnTo>
                  <a:lnTo>
                    <a:pt x="178157" y="14023"/>
                  </a:lnTo>
                  <a:lnTo>
                    <a:pt x="177425" y="13292"/>
                  </a:lnTo>
                  <a:lnTo>
                    <a:pt x="166328" y="3536"/>
                  </a:lnTo>
                  <a:lnTo>
                    <a:pt x="162426" y="0"/>
                  </a:lnTo>
                  <a:lnTo>
                    <a:pt x="144013" y="6707"/>
                  </a:lnTo>
                  <a:lnTo>
                    <a:pt x="135111" y="10365"/>
                  </a:lnTo>
                  <a:lnTo>
                    <a:pt x="133404" y="11097"/>
                  </a:lnTo>
                  <a:lnTo>
                    <a:pt x="127551" y="17560"/>
                  </a:lnTo>
                  <a:lnTo>
                    <a:pt x="126331" y="19023"/>
                  </a:lnTo>
                  <a:lnTo>
                    <a:pt x="117430" y="63288"/>
                  </a:lnTo>
                  <a:lnTo>
                    <a:pt x="125600" y="72921"/>
                  </a:lnTo>
                  <a:lnTo>
                    <a:pt x="130234" y="73409"/>
                  </a:lnTo>
                  <a:lnTo>
                    <a:pt x="134380" y="68166"/>
                  </a:lnTo>
                  <a:lnTo>
                    <a:pt x="137672" y="64019"/>
                  </a:lnTo>
                  <a:lnTo>
                    <a:pt x="142184" y="66580"/>
                  </a:lnTo>
                  <a:lnTo>
                    <a:pt x="146208" y="68775"/>
                  </a:lnTo>
                  <a:lnTo>
                    <a:pt x="149378" y="70604"/>
                  </a:lnTo>
                  <a:lnTo>
                    <a:pt x="149256" y="74384"/>
                  </a:lnTo>
                  <a:lnTo>
                    <a:pt x="149013" y="80238"/>
                  </a:lnTo>
                  <a:lnTo>
                    <a:pt x="148403" y="99383"/>
                  </a:lnTo>
                  <a:lnTo>
                    <a:pt x="148281" y="102675"/>
                  </a:lnTo>
                  <a:lnTo>
                    <a:pt x="145476" y="104382"/>
                  </a:lnTo>
                  <a:lnTo>
                    <a:pt x="138282" y="108650"/>
                  </a:lnTo>
                  <a:lnTo>
                    <a:pt x="134380" y="110967"/>
                  </a:lnTo>
                  <a:lnTo>
                    <a:pt x="131087" y="107918"/>
                  </a:lnTo>
                  <a:lnTo>
                    <a:pt x="117064" y="94993"/>
                  </a:lnTo>
                  <a:lnTo>
                    <a:pt x="86457" y="66946"/>
                  </a:lnTo>
                  <a:lnTo>
                    <a:pt x="82676" y="65727"/>
                  </a:lnTo>
                  <a:lnTo>
                    <a:pt x="81457" y="69751"/>
                  </a:lnTo>
                  <a:lnTo>
                    <a:pt x="80116" y="74019"/>
                  </a:lnTo>
                  <a:lnTo>
                    <a:pt x="66458" y="74019"/>
                  </a:lnTo>
                  <a:lnTo>
                    <a:pt x="64751" y="71214"/>
                  </a:lnTo>
                  <a:lnTo>
                    <a:pt x="61093" y="65361"/>
                  </a:lnTo>
                  <a:lnTo>
                    <a:pt x="55971" y="61946"/>
                  </a:lnTo>
                  <a:lnTo>
                    <a:pt x="55727" y="61824"/>
                  </a:lnTo>
                  <a:lnTo>
                    <a:pt x="53898" y="63166"/>
                  </a:lnTo>
                  <a:lnTo>
                    <a:pt x="51947" y="64751"/>
                  </a:lnTo>
                  <a:lnTo>
                    <a:pt x="49386" y="64507"/>
                  </a:lnTo>
                  <a:lnTo>
                    <a:pt x="43777" y="63776"/>
                  </a:lnTo>
                  <a:lnTo>
                    <a:pt x="40241" y="65239"/>
                  </a:lnTo>
                  <a:lnTo>
                    <a:pt x="36948" y="90603"/>
                  </a:lnTo>
                  <a:lnTo>
                    <a:pt x="36338" y="95724"/>
                  </a:lnTo>
                  <a:lnTo>
                    <a:pt x="31095" y="95846"/>
                  </a:lnTo>
                  <a:lnTo>
                    <a:pt x="0" y="96700"/>
                  </a:lnTo>
                  <a:lnTo>
                    <a:pt x="1707" y="164743"/>
                  </a:lnTo>
                  <a:lnTo>
                    <a:pt x="12804" y="174986"/>
                  </a:lnTo>
                  <a:lnTo>
                    <a:pt x="14145" y="176328"/>
                  </a:lnTo>
                  <a:lnTo>
                    <a:pt x="14511" y="176450"/>
                  </a:lnTo>
                  <a:lnTo>
                    <a:pt x="25608" y="180962"/>
                  </a:lnTo>
                  <a:lnTo>
                    <a:pt x="47557" y="182303"/>
                  </a:lnTo>
                  <a:lnTo>
                    <a:pt x="48045" y="182425"/>
                  </a:lnTo>
                  <a:lnTo>
                    <a:pt x="48411" y="182425"/>
                  </a:lnTo>
                  <a:lnTo>
                    <a:pt x="60483" y="185107"/>
                  </a:lnTo>
                  <a:lnTo>
                    <a:pt x="62190" y="185473"/>
                  </a:lnTo>
                  <a:lnTo>
                    <a:pt x="63409" y="186815"/>
                  </a:lnTo>
                  <a:lnTo>
                    <a:pt x="65726" y="189010"/>
                  </a:lnTo>
                  <a:lnTo>
                    <a:pt x="68409" y="191814"/>
                  </a:lnTo>
                  <a:lnTo>
                    <a:pt x="71945" y="191814"/>
                  </a:lnTo>
                  <a:lnTo>
                    <a:pt x="83652" y="191814"/>
                  </a:lnTo>
                  <a:lnTo>
                    <a:pt x="92554" y="179742"/>
                  </a:lnTo>
                  <a:lnTo>
                    <a:pt x="93651" y="178279"/>
                  </a:lnTo>
                  <a:lnTo>
                    <a:pt x="95480" y="177547"/>
                  </a:lnTo>
                  <a:lnTo>
                    <a:pt x="105479" y="174255"/>
                  </a:lnTo>
                  <a:lnTo>
                    <a:pt x="108284" y="172425"/>
                  </a:lnTo>
                  <a:lnTo>
                    <a:pt x="118039" y="165963"/>
                  </a:lnTo>
                  <a:lnTo>
                    <a:pt x="119503" y="157915"/>
                  </a:lnTo>
                  <a:lnTo>
                    <a:pt x="119868" y="156085"/>
                  </a:lnTo>
                  <a:lnTo>
                    <a:pt x="126941" y="149013"/>
                  </a:lnTo>
                  <a:lnTo>
                    <a:pt x="128161" y="147671"/>
                  </a:lnTo>
                  <a:lnTo>
                    <a:pt x="129990" y="147306"/>
                  </a:lnTo>
                  <a:lnTo>
                    <a:pt x="145720" y="144257"/>
                  </a:lnTo>
                  <a:lnTo>
                    <a:pt x="147793" y="133770"/>
                  </a:lnTo>
                  <a:lnTo>
                    <a:pt x="148403" y="130478"/>
                  </a:lnTo>
                  <a:lnTo>
                    <a:pt x="151451" y="129258"/>
                  </a:lnTo>
                  <a:lnTo>
                    <a:pt x="154134" y="128283"/>
                  </a:lnTo>
                  <a:lnTo>
                    <a:pt x="159378" y="1260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3" name="Freihandform: Form 462">
              <a:extLst>
                <a:ext uri="{FF2B5EF4-FFF2-40B4-BE49-F238E27FC236}">
                  <a16:creationId xmlns:a16="http://schemas.microsoft.com/office/drawing/2014/main" id="{BE25224E-3374-4C1E-8F3D-86103B345946}"/>
                </a:ext>
              </a:extLst>
            </p:cNvPr>
            <p:cNvSpPr/>
            <p:nvPr/>
          </p:nvSpPr>
          <p:spPr>
            <a:xfrm>
              <a:off x="4699794" y="2959793"/>
              <a:ext cx="199252" cy="323145"/>
            </a:xfrm>
            <a:custGeom>
              <a:avLst/>
              <a:gdLst>
                <a:gd name="connsiteX0" fmla="*/ 32314 w 199252"/>
                <a:gd name="connsiteY0" fmla="*/ 272296 h 323145"/>
                <a:gd name="connsiteX1" fmla="*/ 32192 w 199252"/>
                <a:gd name="connsiteY1" fmla="*/ 276807 h 323145"/>
                <a:gd name="connsiteX2" fmla="*/ 27803 w 199252"/>
                <a:gd name="connsiteY2" fmla="*/ 278027 h 323145"/>
                <a:gd name="connsiteX3" fmla="*/ 17194 w 199252"/>
                <a:gd name="connsiteY3" fmla="*/ 280832 h 323145"/>
                <a:gd name="connsiteX4" fmla="*/ 10365 w 199252"/>
                <a:gd name="connsiteY4" fmla="*/ 282661 h 323145"/>
                <a:gd name="connsiteX5" fmla="*/ 9877 w 199252"/>
                <a:gd name="connsiteY5" fmla="*/ 284978 h 323145"/>
                <a:gd name="connsiteX6" fmla="*/ 8658 w 199252"/>
                <a:gd name="connsiteY6" fmla="*/ 290465 h 323145"/>
                <a:gd name="connsiteX7" fmla="*/ 18901 w 199252"/>
                <a:gd name="connsiteY7" fmla="*/ 297538 h 323145"/>
                <a:gd name="connsiteX8" fmla="*/ 24510 w 199252"/>
                <a:gd name="connsiteY8" fmla="*/ 301318 h 323145"/>
                <a:gd name="connsiteX9" fmla="*/ 25607 w 199252"/>
                <a:gd name="connsiteY9" fmla="*/ 302171 h 323145"/>
                <a:gd name="connsiteX10" fmla="*/ 26339 w 199252"/>
                <a:gd name="connsiteY10" fmla="*/ 303391 h 323145"/>
                <a:gd name="connsiteX11" fmla="*/ 30851 w 199252"/>
                <a:gd name="connsiteY11" fmla="*/ 311317 h 323145"/>
                <a:gd name="connsiteX12" fmla="*/ 37558 w 199252"/>
                <a:gd name="connsiteY12" fmla="*/ 323145 h 323145"/>
                <a:gd name="connsiteX13" fmla="*/ 92432 w 199252"/>
                <a:gd name="connsiteY13" fmla="*/ 314122 h 323145"/>
                <a:gd name="connsiteX14" fmla="*/ 102187 w 199252"/>
                <a:gd name="connsiteY14" fmla="*/ 295587 h 323145"/>
                <a:gd name="connsiteX15" fmla="*/ 103894 w 199252"/>
                <a:gd name="connsiteY15" fmla="*/ 292416 h 323145"/>
                <a:gd name="connsiteX16" fmla="*/ 128770 w 199252"/>
                <a:gd name="connsiteY16" fmla="*/ 292416 h 323145"/>
                <a:gd name="connsiteX17" fmla="*/ 153768 w 199252"/>
                <a:gd name="connsiteY17" fmla="*/ 266077 h 323145"/>
                <a:gd name="connsiteX18" fmla="*/ 159012 w 199252"/>
                <a:gd name="connsiteY18" fmla="*/ 246566 h 323145"/>
                <a:gd name="connsiteX19" fmla="*/ 159622 w 199252"/>
                <a:gd name="connsiteY19" fmla="*/ 244249 h 323145"/>
                <a:gd name="connsiteX20" fmla="*/ 161694 w 199252"/>
                <a:gd name="connsiteY20" fmla="*/ 242908 h 323145"/>
                <a:gd name="connsiteX21" fmla="*/ 170352 w 199252"/>
                <a:gd name="connsiteY21" fmla="*/ 237542 h 323145"/>
                <a:gd name="connsiteX22" fmla="*/ 170352 w 199252"/>
                <a:gd name="connsiteY22" fmla="*/ 229982 h 323145"/>
                <a:gd name="connsiteX23" fmla="*/ 167791 w 199252"/>
                <a:gd name="connsiteY23" fmla="*/ 227421 h 323145"/>
                <a:gd name="connsiteX24" fmla="*/ 162792 w 199252"/>
                <a:gd name="connsiteY24" fmla="*/ 222422 h 323145"/>
                <a:gd name="connsiteX25" fmla="*/ 159499 w 199252"/>
                <a:gd name="connsiteY25" fmla="*/ 219007 h 323145"/>
                <a:gd name="connsiteX26" fmla="*/ 161938 w 199252"/>
                <a:gd name="connsiteY26" fmla="*/ 214983 h 323145"/>
                <a:gd name="connsiteX27" fmla="*/ 164987 w 199252"/>
                <a:gd name="connsiteY27" fmla="*/ 209862 h 323145"/>
                <a:gd name="connsiteX28" fmla="*/ 166206 w 199252"/>
                <a:gd name="connsiteY28" fmla="*/ 203521 h 323145"/>
                <a:gd name="connsiteX29" fmla="*/ 170474 w 199252"/>
                <a:gd name="connsiteY29" fmla="*/ 182547 h 323145"/>
                <a:gd name="connsiteX30" fmla="*/ 170596 w 199252"/>
                <a:gd name="connsiteY30" fmla="*/ 181571 h 323145"/>
                <a:gd name="connsiteX31" fmla="*/ 171206 w 199252"/>
                <a:gd name="connsiteY31" fmla="*/ 180596 h 323145"/>
                <a:gd name="connsiteX32" fmla="*/ 174498 w 199252"/>
                <a:gd name="connsiteY32" fmla="*/ 174986 h 323145"/>
                <a:gd name="connsiteX33" fmla="*/ 174498 w 199252"/>
                <a:gd name="connsiteY33" fmla="*/ 174011 h 323145"/>
                <a:gd name="connsiteX34" fmla="*/ 173401 w 199252"/>
                <a:gd name="connsiteY34" fmla="*/ 164134 h 323145"/>
                <a:gd name="connsiteX35" fmla="*/ 172913 w 199252"/>
                <a:gd name="connsiteY35" fmla="*/ 158402 h 323145"/>
                <a:gd name="connsiteX36" fmla="*/ 178522 w 199252"/>
                <a:gd name="connsiteY36" fmla="*/ 157549 h 323145"/>
                <a:gd name="connsiteX37" fmla="*/ 198765 w 199252"/>
                <a:gd name="connsiteY37" fmla="*/ 154134 h 323145"/>
                <a:gd name="connsiteX38" fmla="*/ 199130 w 199252"/>
                <a:gd name="connsiteY38" fmla="*/ 83408 h 323145"/>
                <a:gd name="connsiteX39" fmla="*/ 199253 w 199252"/>
                <a:gd name="connsiteY39" fmla="*/ 75360 h 323145"/>
                <a:gd name="connsiteX40" fmla="*/ 51215 w 199252"/>
                <a:gd name="connsiteY40" fmla="*/ 0 h 323145"/>
                <a:gd name="connsiteX41" fmla="*/ 33656 w 199252"/>
                <a:gd name="connsiteY41" fmla="*/ 10975 h 323145"/>
                <a:gd name="connsiteX42" fmla="*/ 25486 w 199252"/>
                <a:gd name="connsiteY42" fmla="*/ 16096 h 323145"/>
                <a:gd name="connsiteX43" fmla="*/ 28778 w 199252"/>
                <a:gd name="connsiteY43" fmla="*/ 26461 h 323145"/>
                <a:gd name="connsiteX44" fmla="*/ 33290 w 199252"/>
                <a:gd name="connsiteY44" fmla="*/ 40728 h 323145"/>
                <a:gd name="connsiteX45" fmla="*/ 41582 w 199252"/>
                <a:gd name="connsiteY45" fmla="*/ 50972 h 323145"/>
                <a:gd name="connsiteX46" fmla="*/ 48898 w 199252"/>
                <a:gd name="connsiteY46" fmla="*/ 60361 h 323145"/>
                <a:gd name="connsiteX47" fmla="*/ 51581 w 199252"/>
                <a:gd name="connsiteY47" fmla="*/ 63532 h 323145"/>
                <a:gd name="connsiteX48" fmla="*/ 49508 w 199252"/>
                <a:gd name="connsiteY48" fmla="*/ 67190 h 323145"/>
                <a:gd name="connsiteX49" fmla="*/ 42680 w 199252"/>
                <a:gd name="connsiteY49" fmla="*/ 78774 h 323145"/>
                <a:gd name="connsiteX50" fmla="*/ 40728 w 199252"/>
                <a:gd name="connsiteY50" fmla="*/ 82067 h 323145"/>
                <a:gd name="connsiteX51" fmla="*/ 39387 w 199252"/>
                <a:gd name="connsiteY51" fmla="*/ 136940 h 323145"/>
                <a:gd name="connsiteX52" fmla="*/ 39387 w 199252"/>
                <a:gd name="connsiteY52" fmla="*/ 139257 h 323145"/>
                <a:gd name="connsiteX53" fmla="*/ 37802 w 199252"/>
                <a:gd name="connsiteY53" fmla="*/ 140843 h 323145"/>
                <a:gd name="connsiteX54" fmla="*/ 29510 w 199252"/>
                <a:gd name="connsiteY54" fmla="*/ 150232 h 323145"/>
                <a:gd name="connsiteX55" fmla="*/ 3658 w 199252"/>
                <a:gd name="connsiteY55" fmla="*/ 179132 h 323145"/>
                <a:gd name="connsiteX56" fmla="*/ 0 w 199252"/>
                <a:gd name="connsiteY56" fmla="*/ 201448 h 323145"/>
                <a:gd name="connsiteX57" fmla="*/ 6219 w 199252"/>
                <a:gd name="connsiteY57" fmla="*/ 207667 h 323145"/>
                <a:gd name="connsiteX58" fmla="*/ 7926 w 199252"/>
                <a:gd name="connsiteY58" fmla="*/ 208032 h 323145"/>
                <a:gd name="connsiteX59" fmla="*/ 8780 w 199252"/>
                <a:gd name="connsiteY59" fmla="*/ 208154 h 323145"/>
                <a:gd name="connsiteX60" fmla="*/ 11340 w 199252"/>
                <a:gd name="connsiteY60" fmla="*/ 208642 h 323145"/>
                <a:gd name="connsiteX61" fmla="*/ 13535 w 199252"/>
                <a:gd name="connsiteY61" fmla="*/ 209130 h 323145"/>
                <a:gd name="connsiteX62" fmla="*/ 14877 w 199252"/>
                <a:gd name="connsiteY62" fmla="*/ 210959 h 323145"/>
                <a:gd name="connsiteX63" fmla="*/ 21340 w 199252"/>
                <a:gd name="connsiteY63" fmla="*/ 219251 h 323145"/>
                <a:gd name="connsiteX64" fmla="*/ 32437 w 199252"/>
                <a:gd name="connsiteY64" fmla="*/ 233884 h 323145"/>
                <a:gd name="connsiteX65" fmla="*/ 33778 w 199252"/>
                <a:gd name="connsiteY65" fmla="*/ 235591 h 323145"/>
                <a:gd name="connsiteX66" fmla="*/ 33656 w 199252"/>
                <a:gd name="connsiteY66" fmla="*/ 237786 h 323145"/>
                <a:gd name="connsiteX67" fmla="*/ 32314 w 199252"/>
                <a:gd name="connsiteY67" fmla="*/ 272296 h 32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99252" h="323145">
                  <a:moveTo>
                    <a:pt x="32314" y="272296"/>
                  </a:moveTo>
                  <a:lnTo>
                    <a:pt x="32192" y="276807"/>
                  </a:lnTo>
                  <a:lnTo>
                    <a:pt x="27803" y="278027"/>
                  </a:lnTo>
                  <a:lnTo>
                    <a:pt x="17194" y="280832"/>
                  </a:lnTo>
                  <a:lnTo>
                    <a:pt x="10365" y="282661"/>
                  </a:lnTo>
                  <a:lnTo>
                    <a:pt x="9877" y="284978"/>
                  </a:lnTo>
                  <a:lnTo>
                    <a:pt x="8658" y="290465"/>
                  </a:lnTo>
                  <a:lnTo>
                    <a:pt x="18901" y="297538"/>
                  </a:lnTo>
                  <a:lnTo>
                    <a:pt x="24510" y="301318"/>
                  </a:lnTo>
                  <a:lnTo>
                    <a:pt x="25607" y="302171"/>
                  </a:lnTo>
                  <a:lnTo>
                    <a:pt x="26339" y="303391"/>
                  </a:lnTo>
                  <a:lnTo>
                    <a:pt x="30851" y="311317"/>
                  </a:lnTo>
                  <a:lnTo>
                    <a:pt x="37558" y="323145"/>
                  </a:lnTo>
                  <a:lnTo>
                    <a:pt x="92432" y="314122"/>
                  </a:lnTo>
                  <a:lnTo>
                    <a:pt x="102187" y="295587"/>
                  </a:lnTo>
                  <a:lnTo>
                    <a:pt x="103894" y="292416"/>
                  </a:lnTo>
                  <a:lnTo>
                    <a:pt x="128770" y="292416"/>
                  </a:lnTo>
                  <a:lnTo>
                    <a:pt x="153768" y="266077"/>
                  </a:lnTo>
                  <a:lnTo>
                    <a:pt x="159012" y="246566"/>
                  </a:lnTo>
                  <a:lnTo>
                    <a:pt x="159622" y="244249"/>
                  </a:lnTo>
                  <a:lnTo>
                    <a:pt x="161694" y="242908"/>
                  </a:lnTo>
                  <a:lnTo>
                    <a:pt x="170352" y="237542"/>
                  </a:lnTo>
                  <a:lnTo>
                    <a:pt x="170352" y="229982"/>
                  </a:lnTo>
                  <a:lnTo>
                    <a:pt x="167791" y="227421"/>
                  </a:lnTo>
                  <a:lnTo>
                    <a:pt x="162792" y="222422"/>
                  </a:lnTo>
                  <a:lnTo>
                    <a:pt x="159499" y="219007"/>
                  </a:lnTo>
                  <a:lnTo>
                    <a:pt x="161938" y="214983"/>
                  </a:lnTo>
                  <a:lnTo>
                    <a:pt x="164987" y="209862"/>
                  </a:lnTo>
                  <a:lnTo>
                    <a:pt x="166206" y="203521"/>
                  </a:lnTo>
                  <a:lnTo>
                    <a:pt x="170474" y="182547"/>
                  </a:lnTo>
                  <a:lnTo>
                    <a:pt x="170596" y="181571"/>
                  </a:lnTo>
                  <a:lnTo>
                    <a:pt x="171206" y="180596"/>
                  </a:lnTo>
                  <a:lnTo>
                    <a:pt x="174498" y="174986"/>
                  </a:lnTo>
                  <a:lnTo>
                    <a:pt x="174498" y="174011"/>
                  </a:lnTo>
                  <a:lnTo>
                    <a:pt x="173401" y="164134"/>
                  </a:lnTo>
                  <a:lnTo>
                    <a:pt x="172913" y="158402"/>
                  </a:lnTo>
                  <a:lnTo>
                    <a:pt x="178522" y="157549"/>
                  </a:lnTo>
                  <a:lnTo>
                    <a:pt x="198765" y="154134"/>
                  </a:lnTo>
                  <a:lnTo>
                    <a:pt x="199130" y="83408"/>
                  </a:lnTo>
                  <a:lnTo>
                    <a:pt x="199253" y="75360"/>
                  </a:lnTo>
                  <a:lnTo>
                    <a:pt x="51215" y="0"/>
                  </a:lnTo>
                  <a:lnTo>
                    <a:pt x="33656" y="10975"/>
                  </a:lnTo>
                  <a:lnTo>
                    <a:pt x="25486" y="16096"/>
                  </a:lnTo>
                  <a:lnTo>
                    <a:pt x="28778" y="26461"/>
                  </a:lnTo>
                  <a:lnTo>
                    <a:pt x="33290" y="40728"/>
                  </a:lnTo>
                  <a:lnTo>
                    <a:pt x="41582" y="50972"/>
                  </a:lnTo>
                  <a:lnTo>
                    <a:pt x="48898" y="60361"/>
                  </a:lnTo>
                  <a:lnTo>
                    <a:pt x="51581" y="63532"/>
                  </a:lnTo>
                  <a:lnTo>
                    <a:pt x="49508" y="67190"/>
                  </a:lnTo>
                  <a:lnTo>
                    <a:pt x="42680" y="78774"/>
                  </a:lnTo>
                  <a:lnTo>
                    <a:pt x="40728" y="82067"/>
                  </a:lnTo>
                  <a:lnTo>
                    <a:pt x="39387" y="136940"/>
                  </a:lnTo>
                  <a:lnTo>
                    <a:pt x="39387" y="139257"/>
                  </a:lnTo>
                  <a:lnTo>
                    <a:pt x="37802" y="140843"/>
                  </a:lnTo>
                  <a:lnTo>
                    <a:pt x="29510" y="150232"/>
                  </a:lnTo>
                  <a:lnTo>
                    <a:pt x="3658" y="179132"/>
                  </a:lnTo>
                  <a:lnTo>
                    <a:pt x="0" y="201448"/>
                  </a:lnTo>
                  <a:lnTo>
                    <a:pt x="6219" y="207667"/>
                  </a:lnTo>
                  <a:lnTo>
                    <a:pt x="7926" y="208032"/>
                  </a:lnTo>
                  <a:lnTo>
                    <a:pt x="8780" y="208154"/>
                  </a:lnTo>
                  <a:lnTo>
                    <a:pt x="11340" y="208642"/>
                  </a:lnTo>
                  <a:lnTo>
                    <a:pt x="13535" y="209130"/>
                  </a:lnTo>
                  <a:lnTo>
                    <a:pt x="14877" y="210959"/>
                  </a:lnTo>
                  <a:lnTo>
                    <a:pt x="21340" y="219251"/>
                  </a:lnTo>
                  <a:lnTo>
                    <a:pt x="32437" y="233884"/>
                  </a:lnTo>
                  <a:lnTo>
                    <a:pt x="33778" y="235591"/>
                  </a:lnTo>
                  <a:lnTo>
                    <a:pt x="33656" y="237786"/>
                  </a:lnTo>
                  <a:lnTo>
                    <a:pt x="32314" y="27229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4" name="Freihandform: Form 463">
              <a:extLst>
                <a:ext uri="{FF2B5EF4-FFF2-40B4-BE49-F238E27FC236}">
                  <a16:creationId xmlns:a16="http://schemas.microsoft.com/office/drawing/2014/main" id="{F99492FF-49F7-498C-9F68-F0628BF4729D}"/>
                </a:ext>
              </a:extLst>
            </p:cNvPr>
            <p:cNvSpPr/>
            <p:nvPr/>
          </p:nvSpPr>
          <p:spPr>
            <a:xfrm>
              <a:off x="5077082" y="3624497"/>
              <a:ext cx="46093" cy="150841"/>
            </a:xfrm>
            <a:custGeom>
              <a:avLst/>
              <a:gdLst>
                <a:gd name="connsiteX0" fmla="*/ 46094 w 46093"/>
                <a:gd name="connsiteY0" fmla="*/ 120600 h 150841"/>
                <a:gd name="connsiteX1" fmla="*/ 46094 w 46093"/>
                <a:gd name="connsiteY1" fmla="*/ 99870 h 150841"/>
                <a:gd name="connsiteX2" fmla="*/ 41094 w 46093"/>
                <a:gd name="connsiteY2" fmla="*/ 89383 h 150841"/>
                <a:gd name="connsiteX3" fmla="*/ 39143 w 46093"/>
                <a:gd name="connsiteY3" fmla="*/ 85359 h 150841"/>
                <a:gd name="connsiteX4" fmla="*/ 27803 w 46093"/>
                <a:gd name="connsiteY4" fmla="*/ 72068 h 150841"/>
                <a:gd name="connsiteX5" fmla="*/ 26095 w 46093"/>
                <a:gd name="connsiteY5" fmla="*/ 70116 h 150841"/>
                <a:gd name="connsiteX6" fmla="*/ 26339 w 46093"/>
                <a:gd name="connsiteY6" fmla="*/ 67434 h 150841"/>
                <a:gd name="connsiteX7" fmla="*/ 28778 w 46093"/>
                <a:gd name="connsiteY7" fmla="*/ 43899 h 150841"/>
                <a:gd name="connsiteX8" fmla="*/ 29022 w 46093"/>
                <a:gd name="connsiteY8" fmla="*/ 42314 h 150841"/>
                <a:gd name="connsiteX9" fmla="*/ 28900 w 46093"/>
                <a:gd name="connsiteY9" fmla="*/ 40972 h 150841"/>
                <a:gd name="connsiteX10" fmla="*/ 26339 w 46093"/>
                <a:gd name="connsiteY10" fmla="*/ 18901 h 150841"/>
                <a:gd name="connsiteX11" fmla="*/ 18779 w 46093"/>
                <a:gd name="connsiteY11" fmla="*/ 3171 h 150841"/>
                <a:gd name="connsiteX12" fmla="*/ 13170 w 46093"/>
                <a:gd name="connsiteY12" fmla="*/ 1463 h 150841"/>
                <a:gd name="connsiteX13" fmla="*/ 8170 w 46093"/>
                <a:gd name="connsiteY13" fmla="*/ 122 h 150841"/>
                <a:gd name="connsiteX14" fmla="*/ 0 w 46093"/>
                <a:gd name="connsiteY14" fmla="*/ 0 h 150841"/>
                <a:gd name="connsiteX15" fmla="*/ 2317 w 46093"/>
                <a:gd name="connsiteY15" fmla="*/ 3536 h 150841"/>
                <a:gd name="connsiteX16" fmla="*/ 7560 w 46093"/>
                <a:gd name="connsiteY16" fmla="*/ 11219 h 150841"/>
                <a:gd name="connsiteX17" fmla="*/ 8536 w 46093"/>
                <a:gd name="connsiteY17" fmla="*/ 12682 h 150841"/>
                <a:gd name="connsiteX18" fmla="*/ 8658 w 46093"/>
                <a:gd name="connsiteY18" fmla="*/ 14389 h 150841"/>
                <a:gd name="connsiteX19" fmla="*/ 10487 w 46093"/>
                <a:gd name="connsiteY19" fmla="*/ 48777 h 150841"/>
                <a:gd name="connsiteX20" fmla="*/ 10609 w 46093"/>
                <a:gd name="connsiteY20" fmla="*/ 51459 h 150841"/>
                <a:gd name="connsiteX21" fmla="*/ 8658 w 46093"/>
                <a:gd name="connsiteY21" fmla="*/ 53410 h 150841"/>
                <a:gd name="connsiteX22" fmla="*/ 4633 w 46093"/>
                <a:gd name="connsiteY22" fmla="*/ 57313 h 150841"/>
                <a:gd name="connsiteX23" fmla="*/ 1463 w 46093"/>
                <a:gd name="connsiteY23" fmla="*/ 87920 h 150841"/>
                <a:gd name="connsiteX24" fmla="*/ 6097 w 46093"/>
                <a:gd name="connsiteY24" fmla="*/ 88408 h 150841"/>
                <a:gd name="connsiteX25" fmla="*/ 8536 w 46093"/>
                <a:gd name="connsiteY25" fmla="*/ 88530 h 150841"/>
                <a:gd name="connsiteX26" fmla="*/ 10121 w 46093"/>
                <a:gd name="connsiteY26" fmla="*/ 90359 h 150841"/>
                <a:gd name="connsiteX27" fmla="*/ 15243 w 46093"/>
                <a:gd name="connsiteY27" fmla="*/ 96334 h 150841"/>
                <a:gd name="connsiteX28" fmla="*/ 23535 w 46093"/>
                <a:gd name="connsiteY28" fmla="*/ 97675 h 150841"/>
                <a:gd name="connsiteX29" fmla="*/ 28290 w 46093"/>
                <a:gd name="connsiteY29" fmla="*/ 98407 h 150841"/>
                <a:gd name="connsiteX30" fmla="*/ 28534 w 46093"/>
                <a:gd name="connsiteY30" fmla="*/ 103285 h 150841"/>
                <a:gd name="connsiteX31" fmla="*/ 28656 w 46093"/>
                <a:gd name="connsiteY31" fmla="*/ 104138 h 150841"/>
                <a:gd name="connsiteX32" fmla="*/ 29388 w 46093"/>
                <a:gd name="connsiteY32" fmla="*/ 117918 h 150841"/>
                <a:gd name="connsiteX33" fmla="*/ 29388 w 46093"/>
                <a:gd name="connsiteY33" fmla="*/ 133526 h 150841"/>
                <a:gd name="connsiteX34" fmla="*/ 30851 w 46093"/>
                <a:gd name="connsiteY34" fmla="*/ 143038 h 150841"/>
                <a:gd name="connsiteX35" fmla="*/ 30973 w 46093"/>
                <a:gd name="connsiteY35" fmla="*/ 144013 h 150841"/>
                <a:gd name="connsiteX36" fmla="*/ 40484 w 46093"/>
                <a:gd name="connsiteY36" fmla="*/ 150842 h 150841"/>
                <a:gd name="connsiteX37" fmla="*/ 37802 w 46093"/>
                <a:gd name="connsiteY37" fmla="*/ 138526 h 150841"/>
                <a:gd name="connsiteX38" fmla="*/ 37314 w 46093"/>
                <a:gd name="connsiteY38" fmla="*/ 136209 h 150841"/>
                <a:gd name="connsiteX39" fmla="*/ 38412 w 46093"/>
                <a:gd name="connsiteY39" fmla="*/ 134136 h 150841"/>
                <a:gd name="connsiteX40" fmla="*/ 46094 w 46093"/>
                <a:gd name="connsiteY40" fmla="*/ 120600 h 15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6093" h="150841">
                  <a:moveTo>
                    <a:pt x="46094" y="120600"/>
                  </a:moveTo>
                  <a:lnTo>
                    <a:pt x="46094" y="99870"/>
                  </a:lnTo>
                  <a:lnTo>
                    <a:pt x="41094" y="89383"/>
                  </a:lnTo>
                  <a:lnTo>
                    <a:pt x="39143" y="85359"/>
                  </a:lnTo>
                  <a:lnTo>
                    <a:pt x="27803" y="72068"/>
                  </a:lnTo>
                  <a:lnTo>
                    <a:pt x="26095" y="70116"/>
                  </a:lnTo>
                  <a:lnTo>
                    <a:pt x="26339" y="67434"/>
                  </a:lnTo>
                  <a:lnTo>
                    <a:pt x="28778" y="43899"/>
                  </a:lnTo>
                  <a:lnTo>
                    <a:pt x="29022" y="42314"/>
                  </a:lnTo>
                  <a:lnTo>
                    <a:pt x="28900" y="40972"/>
                  </a:lnTo>
                  <a:lnTo>
                    <a:pt x="26339" y="18901"/>
                  </a:lnTo>
                  <a:lnTo>
                    <a:pt x="18779" y="3171"/>
                  </a:lnTo>
                  <a:lnTo>
                    <a:pt x="13170" y="1463"/>
                  </a:lnTo>
                  <a:lnTo>
                    <a:pt x="8170" y="122"/>
                  </a:lnTo>
                  <a:lnTo>
                    <a:pt x="0" y="0"/>
                  </a:lnTo>
                  <a:lnTo>
                    <a:pt x="2317" y="3536"/>
                  </a:lnTo>
                  <a:lnTo>
                    <a:pt x="7560" y="11219"/>
                  </a:lnTo>
                  <a:lnTo>
                    <a:pt x="8536" y="12682"/>
                  </a:lnTo>
                  <a:lnTo>
                    <a:pt x="8658" y="14389"/>
                  </a:lnTo>
                  <a:lnTo>
                    <a:pt x="10487" y="48777"/>
                  </a:lnTo>
                  <a:lnTo>
                    <a:pt x="10609" y="51459"/>
                  </a:lnTo>
                  <a:lnTo>
                    <a:pt x="8658" y="53410"/>
                  </a:lnTo>
                  <a:lnTo>
                    <a:pt x="4633" y="57313"/>
                  </a:lnTo>
                  <a:lnTo>
                    <a:pt x="1463" y="87920"/>
                  </a:lnTo>
                  <a:lnTo>
                    <a:pt x="6097" y="88408"/>
                  </a:lnTo>
                  <a:lnTo>
                    <a:pt x="8536" y="88530"/>
                  </a:lnTo>
                  <a:lnTo>
                    <a:pt x="10121" y="90359"/>
                  </a:lnTo>
                  <a:lnTo>
                    <a:pt x="15243" y="96334"/>
                  </a:lnTo>
                  <a:lnTo>
                    <a:pt x="23535" y="97675"/>
                  </a:lnTo>
                  <a:lnTo>
                    <a:pt x="28290" y="98407"/>
                  </a:lnTo>
                  <a:lnTo>
                    <a:pt x="28534" y="103285"/>
                  </a:lnTo>
                  <a:lnTo>
                    <a:pt x="28656" y="104138"/>
                  </a:lnTo>
                  <a:lnTo>
                    <a:pt x="29388" y="117918"/>
                  </a:lnTo>
                  <a:lnTo>
                    <a:pt x="29388" y="133526"/>
                  </a:lnTo>
                  <a:lnTo>
                    <a:pt x="30851" y="143038"/>
                  </a:lnTo>
                  <a:lnTo>
                    <a:pt x="30973" y="144013"/>
                  </a:lnTo>
                  <a:lnTo>
                    <a:pt x="40484" y="150842"/>
                  </a:lnTo>
                  <a:lnTo>
                    <a:pt x="37802" y="138526"/>
                  </a:lnTo>
                  <a:lnTo>
                    <a:pt x="37314" y="136209"/>
                  </a:lnTo>
                  <a:lnTo>
                    <a:pt x="38412" y="134136"/>
                  </a:lnTo>
                  <a:lnTo>
                    <a:pt x="46094" y="12060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5" name="Freihandform: Form 464">
              <a:extLst>
                <a:ext uri="{FF2B5EF4-FFF2-40B4-BE49-F238E27FC236}">
                  <a16:creationId xmlns:a16="http://schemas.microsoft.com/office/drawing/2014/main" id="{BF3D239D-8B77-4E4C-B665-447C36B6E18C}"/>
                </a:ext>
              </a:extLst>
            </p:cNvPr>
            <p:cNvSpPr/>
            <p:nvPr/>
          </p:nvSpPr>
          <p:spPr>
            <a:xfrm>
              <a:off x="5012940" y="3453413"/>
              <a:ext cx="203764" cy="215836"/>
            </a:xfrm>
            <a:custGeom>
              <a:avLst/>
              <a:gdLst>
                <a:gd name="connsiteX0" fmla="*/ 148891 w 203764"/>
                <a:gd name="connsiteY0" fmla="*/ 40363 h 215836"/>
                <a:gd name="connsiteX1" fmla="*/ 148281 w 203764"/>
                <a:gd name="connsiteY1" fmla="*/ 35729 h 215836"/>
                <a:gd name="connsiteX2" fmla="*/ 108284 w 203764"/>
                <a:gd name="connsiteY2" fmla="*/ 20608 h 215836"/>
                <a:gd name="connsiteX3" fmla="*/ 107553 w 203764"/>
                <a:gd name="connsiteY3" fmla="*/ 20364 h 215836"/>
                <a:gd name="connsiteX4" fmla="*/ 107065 w 203764"/>
                <a:gd name="connsiteY4" fmla="*/ 19998 h 215836"/>
                <a:gd name="connsiteX5" fmla="*/ 78896 w 203764"/>
                <a:gd name="connsiteY5" fmla="*/ 976 h 215836"/>
                <a:gd name="connsiteX6" fmla="*/ 78896 w 203764"/>
                <a:gd name="connsiteY6" fmla="*/ 976 h 215836"/>
                <a:gd name="connsiteX7" fmla="*/ 78043 w 203764"/>
                <a:gd name="connsiteY7" fmla="*/ 976 h 215836"/>
                <a:gd name="connsiteX8" fmla="*/ 35851 w 203764"/>
                <a:gd name="connsiteY8" fmla="*/ 244 h 215836"/>
                <a:gd name="connsiteX9" fmla="*/ 24266 w 203764"/>
                <a:gd name="connsiteY9" fmla="*/ 0 h 215836"/>
                <a:gd name="connsiteX10" fmla="*/ 21462 w 203764"/>
                <a:gd name="connsiteY10" fmla="*/ 1219 h 215836"/>
                <a:gd name="connsiteX11" fmla="*/ 21949 w 203764"/>
                <a:gd name="connsiteY11" fmla="*/ 1829 h 215836"/>
                <a:gd name="connsiteX12" fmla="*/ 24632 w 203764"/>
                <a:gd name="connsiteY12" fmla="*/ 4756 h 215836"/>
                <a:gd name="connsiteX13" fmla="*/ 27071 w 203764"/>
                <a:gd name="connsiteY13" fmla="*/ 7438 h 215836"/>
                <a:gd name="connsiteX14" fmla="*/ 25730 w 203764"/>
                <a:gd name="connsiteY14" fmla="*/ 10975 h 215836"/>
                <a:gd name="connsiteX15" fmla="*/ 23657 w 203764"/>
                <a:gd name="connsiteY15" fmla="*/ 16462 h 215836"/>
                <a:gd name="connsiteX16" fmla="*/ 22681 w 203764"/>
                <a:gd name="connsiteY16" fmla="*/ 18901 h 215836"/>
                <a:gd name="connsiteX17" fmla="*/ 20364 w 203764"/>
                <a:gd name="connsiteY17" fmla="*/ 19877 h 215836"/>
                <a:gd name="connsiteX18" fmla="*/ 16462 w 203764"/>
                <a:gd name="connsiteY18" fmla="*/ 21584 h 215836"/>
                <a:gd name="connsiteX19" fmla="*/ 15486 w 203764"/>
                <a:gd name="connsiteY19" fmla="*/ 26827 h 215836"/>
                <a:gd name="connsiteX20" fmla="*/ 15486 w 203764"/>
                <a:gd name="connsiteY20" fmla="*/ 26827 h 215836"/>
                <a:gd name="connsiteX21" fmla="*/ 20730 w 203764"/>
                <a:gd name="connsiteY21" fmla="*/ 32193 h 215836"/>
                <a:gd name="connsiteX22" fmla="*/ 22925 w 203764"/>
                <a:gd name="connsiteY22" fmla="*/ 34388 h 215836"/>
                <a:gd name="connsiteX23" fmla="*/ 22437 w 203764"/>
                <a:gd name="connsiteY23" fmla="*/ 37436 h 215836"/>
                <a:gd name="connsiteX24" fmla="*/ 20852 w 203764"/>
                <a:gd name="connsiteY24" fmla="*/ 47435 h 215836"/>
                <a:gd name="connsiteX25" fmla="*/ 20364 w 203764"/>
                <a:gd name="connsiteY25" fmla="*/ 50728 h 215836"/>
                <a:gd name="connsiteX26" fmla="*/ 17316 w 203764"/>
                <a:gd name="connsiteY26" fmla="*/ 52191 h 215836"/>
                <a:gd name="connsiteX27" fmla="*/ 11706 w 203764"/>
                <a:gd name="connsiteY27" fmla="*/ 54630 h 215836"/>
                <a:gd name="connsiteX28" fmla="*/ 10365 w 203764"/>
                <a:gd name="connsiteY28" fmla="*/ 60361 h 215836"/>
                <a:gd name="connsiteX29" fmla="*/ 9999 w 203764"/>
                <a:gd name="connsiteY29" fmla="*/ 62556 h 215836"/>
                <a:gd name="connsiteX30" fmla="*/ 8170 w 203764"/>
                <a:gd name="connsiteY30" fmla="*/ 64019 h 215836"/>
                <a:gd name="connsiteX31" fmla="*/ 4390 w 203764"/>
                <a:gd name="connsiteY31" fmla="*/ 66824 h 215836"/>
                <a:gd name="connsiteX32" fmla="*/ 2317 w 203764"/>
                <a:gd name="connsiteY32" fmla="*/ 68287 h 215836"/>
                <a:gd name="connsiteX33" fmla="*/ 0 w 203764"/>
                <a:gd name="connsiteY33" fmla="*/ 77799 h 215836"/>
                <a:gd name="connsiteX34" fmla="*/ 0 w 203764"/>
                <a:gd name="connsiteY34" fmla="*/ 77799 h 215836"/>
                <a:gd name="connsiteX35" fmla="*/ 0 w 203764"/>
                <a:gd name="connsiteY35" fmla="*/ 79872 h 215836"/>
                <a:gd name="connsiteX36" fmla="*/ 1707 w 203764"/>
                <a:gd name="connsiteY36" fmla="*/ 102309 h 215836"/>
                <a:gd name="connsiteX37" fmla="*/ 15121 w 203764"/>
                <a:gd name="connsiteY37" fmla="*/ 120966 h 215836"/>
                <a:gd name="connsiteX38" fmla="*/ 17925 w 203764"/>
                <a:gd name="connsiteY38" fmla="*/ 124746 h 215836"/>
                <a:gd name="connsiteX39" fmla="*/ 18535 w 203764"/>
                <a:gd name="connsiteY39" fmla="*/ 125600 h 215836"/>
                <a:gd name="connsiteX40" fmla="*/ 18779 w 203764"/>
                <a:gd name="connsiteY40" fmla="*/ 126575 h 215836"/>
                <a:gd name="connsiteX41" fmla="*/ 19023 w 203764"/>
                <a:gd name="connsiteY41" fmla="*/ 127429 h 215836"/>
                <a:gd name="connsiteX42" fmla="*/ 22925 w 203764"/>
                <a:gd name="connsiteY42" fmla="*/ 140477 h 215836"/>
                <a:gd name="connsiteX43" fmla="*/ 23169 w 203764"/>
                <a:gd name="connsiteY43" fmla="*/ 141208 h 215836"/>
                <a:gd name="connsiteX44" fmla="*/ 23169 w 203764"/>
                <a:gd name="connsiteY44" fmla="*/ 141330 h 215836"/>
                <a:gd name="connsiteX45" fmla="*/ 28046 w 203764"/>
                <a:gd name="connsiteY45" fmla="*/ 145720 h 215836"/>
                <a:gd name="connsiteX46" fmla="*/ 38777 w 203764"/>
                <a:gd name="connsiteY46" fmla="*/ 155232 h 215836"/>
                <a:gd name="connsiteX47" fmla="*/ 44021 w 203764"/>
                <a:gd name="connsiteY47" fmla="*/ 157427 h 215836"/>
                <a:gd name="connsiteX48" fmla="*/ 57312 w 203764"/>
                <a:gd name="connsiteY48" fmla="*/ 163158 h 215836"/>
                <a:gd name="connsiteX49" fmla="*/ 73043 w 203764"/>
                <a:gd name="connsiteY49" fmla="*/ 163158 h 215836"/>
                <a:gd name="connsiteX50" fmla="*/ 73897 w 203764"/>
                <a:gd name="connsiteY50" fmla="*/ 163402 h 215836"/>
                <a:gd name="connsiteX51" fmla="*/ 78530 w 203764"/>
                <a:gd name="connsiteY51" fmla="*/ 164621 h 215836"/>
                <a:gd name="connsiteX52" fmla="*/ 85969 w 203764"/>
                <a:gd name="connsiteY52" fmla="*/ 166816 h 215836"/>
                <a:gd name="connsiteX53" fmla="*/ 88651 w 203764"/>
                <a:gd name="connsiteY53" fmla="*/ 167548 h 215836"/>
                <a:gd name="connsiteX54" fmla="*/ 89749 w 203764"/>
                <a:gd name="connsiteY54" fmla="*/ 169987 h 215836"/>
                <a:gd name="connsiteX55" fmla="*/ 97797 w 203764"/>
                <a:gd name="connsiteY55" fmla="*/ 186815 h 215836"/>
                <a:gd name="connsiteX56" fmla="*/ 98163 w 203764"/>
                <a:gd name="connsiteY56" fmla="*/ 187668 h 215836"/>
                <a:gd name="connsiteX57" fmla="*/ 98285 w 203764"/>
                <a:gd name="connsiteY57" fmla="*/ 188766 h 215836"/>
                <a:gd name="connsiteX58" fmla="*/ 100724 w 203764"/>
                <a:gd name="connsiteY58" fmla="*/ 209618 h 215836"/>
                <a:gd name="connsiteX59" fmla="*/ 106089 w 203764"/>
                <a:gd name="connsiteY59" fmla="*/ 209984 h 215836"/>
                <a:gd name="connsiteX60" fmla="*/ 125478 w 203764"/>
                <a:gd name="connsiteY60" fmla="*/ 211325 h 215836"/>
                <a:gd name="connsiteX61" fmla="*/ 126331 w 203764"/>
                <a:gd name="connsiteY61" fmla="*/ 211325 h 215836"/>
                <a:gd name="connsiteX62" fmla="*/ 127063 w 203764"/>
                <a:gd name="connsiteY62" fmla="*/ 211691 h 215836"/>
                <a:gd name="connsiteX63" fmla="*/ 135843 w 203764"/>
                <a:gd name="connsiteY63" fmla="*/ 214739 h 215836"/>
                <a:gd name="connsiteX64" fmla="*/ 138891 w 203764"/>
                <a:gd name="connsiteY64" fmla="*/ 215837 h 215836"/>
                <a:gd name="connsiteX65" fmla="*/ 141574 w 203764"/>
                <a:gd name="connsiteY65" fmla="*/ 215105 h 215836"/>
                <a:gd name="connsiteX66" fmla="*/ 150720 w 203764"/>
                <a:gd name="connsiteY66" fmla="*/ 212422 h 215836"/>
                <a:gd name="connsiteX67" fmla="*/ 151085 w 203764"/>
                <a:gd name="connsiteY67" fmla="*/ 212300 h 215836"/>
                <a:gd name="connsiteX68" fmla="*/ 151451 w 203764"/>
                <a:gd name="connsiteY68" fmla="*/ 212300 h 215836"/>
                <a:gd name="connsiteX69" fmla="*/ 162061 w 203764"/>
                <a:gd name="connsiteY69" fmla="*/ 210471 h 215836"/>
                <a:gd name="connsiteX70" fmla="*/ 167304 w 203764"/>
                <a:gd name="connsiteY70" fmla="*/ 209618 h 215836"/>
                <a:gd name="connsiteX71" fmla="*/ 176693 w 203764"/>
                <a:gd name="connsiteY71" fmla="*/ 202057 h 215836"/>
                <a:gd name="connsiteX72" fmla="*/ 177303 w 203764"/>
                <a:gd name="connsiteY72" fmla="*/ 201448 h 215836"/>
                <a:gd name="connsiteX73" fmla="*/ 178035 w 203764"/>
                <a:gd name="connsiteY73" fmla="*/ 201204 h 215836"/>
                <a:gd name="connsiteX74" fmla="*/ 189132 w 203764"/>
                <a:gd name="connsiteY74" fmla="*/ 196082 h 215836"/>
                <a:gd name="connsiteX75" fmla="*/ 193887 w 203764"/>
                <a:gd name="connsiteY75" fmla="*/ 189741 h 215836"/>
                <a:gd name="connsiteX76" fmla="*/ 194863 w 203764"/>
                <a:gd name="connsiteY76" fmla="*/ 188400 h 215836"/>
                <a:gd name="connsiteX77" fmla="*/ 196326 w 203764"/>
                <a:gd name="connsiteY77" fmla="*/ 187790 h 215836"/>
                <a:gd name="connsiteX78" fmla="*/ 197179 w 203764"/>
                <a:gd name="connsiteY78" fmla="*/ 187424 h 215836"/>
                <a:gd name="connsiteX79" fmla="*/ 203764 w 203764"/>
                <a:gd name="connsiteY79" fmla="*/ 184742 h 215836"/>
                <a:gd name="connsiteX80" fmla="*/ 184010 w 203764"/>
                <a:gd name="connsiteY80" fmla="*/ 163768 h 215836"/>
                <a:gd name="connsiteX81" fmla="*/ 182547 w 203764"/>
                <a:gd name="connsiteY81" fmla="*/ 137184 h 215836"/>
                <a:gd name="connsiteX82" fmla="*/ 186571 w 203764"/>
                <a:gd name="connsiteY82" fmla="*/ 116820 h 215836"/>
                <a:gd name="connsiteX83" fmla="*/ 174133 w 203764"/>
                <a:gd name="connsiteY83" fmla="*/ 105845 h 215836"/>
                <a:gd name="connsiteX84" fmla="*/ 172547 w 203764"/>
                <a:gd name="connsiteY84" fmla="*/ 94383 h 215836"/>
                <a:gd name="connsiteX85" fmla="*/ 184985 w 203764"/>
                <a:gd name="connsiteY85" fmla="*/ 73165 h 215836"/>
                <a:gd name="connsiteX86" fmla="*/ 150598 w 203764"/>
                <a:gd name="connsiteY86" fmla="*/ 56093 h 215836"/>
                <a:gd name="connsiteX87" fmla="*/ 146574 w 203764"/>
                <a:gd name="connsiteY87" fmla="*/ 54020 h 215836"/>
                <a:gd name="connsiteX88" fmla="*/ 147427 w 203764"/>
                <a:gd name="connsiteY88" fmla="*/ 49630 h 215836"/>
                <a:gd name="connsiteX89" fmla="*/ 148891 w 203764"/>
                <a:gd name="connsiteY89" fmla="*/ 40363 h 215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03764" h="215836">
                  <a:moveTo>
                    <a:pt x="148891" y="40363"/>
                  </a:moveTo>
                  <a:lnTo>
                    <a:pt x="148281" y="35729"/>
                  </a:lnTo>
                  <a:lnTo>
                    <a:pt x="108284" y="20608"/>
                  </a:lnTo>
                  <a:lnTo>
                    <a:pt x="107553" y="20364"/>
                  </a:lnTo>
                  <a:lnTo>
                    <a:pt x="107065" y="19998"/>
                  </a:lnTo>
                  <a:lnTo>
                    <a:pt x="78896" y="976"/>
                  </a:lnTo>
                  <a:lnTo>
                    <a:pt x="78896" y="976"/>
                  </a:lnTo>
                  <a:lnTo>
                    <a:pt x="78043" y="976"/>
                  </a:lnTo>
                  <a:lnTo>
                    <a:pt x="35851" y="244"/>
                  </a:lnTo>
                  <a:lnTo>
                    <a:pt x="24266" y="0"/>
                  </a:lnTo>
                  <a:lnTo>
                    <a:pt x="21462" y="1219"/>
                  </a:lnTo>
                  <a:lnTo>
                    <a:pt x="21949" y="1829"/>
                  </a:lnTo>
                  <a:lnTo>
                    <a:pt x="24632" y="4756"/>
                  </a:lnTo>
                  <a:lnTo>
                    <a:pt x="27071" y="7438"/>
                  </a:lnTo>
                  <a:lnTo>
                    <a:pt x="25730" y="10975"/>
                  </a:lnTo>
                  <a:lnTo>
                    <a:pt x="23657" y="16462"/>
                  </a:lnTo>
                  <a:lnTo>
                    <a:pt x="22681" y="18901"/>
                  </a:lnTo>
                  <a:lnTo>
                    <a:pt x="20364" y="19877"/>
                  </a:lnTo>
                  <a:lnTo>
                    <a:pt x="16462" y="21584"/>
                  </a:lnTo>
                  <a:lnTo>
                    <a:pt x="15486" y="26827"/>
                  </a:lnTo>
                  <a:lnTo>
                    <a:pt x="15486" y="26827"/>
                  </a:lnTo>
                  <a:lnTo>
                    <a:pt x="20730" y="32193"/>
                  </a:lnTo>
                  <a:lnTo>
                    <a:pt x="22925" y="34388"/>
                  </a:lnTo>
                  <a:lnTo>
                    <a:pt x="22437" y="37436"/>
                  </a:lnTo>
                  <a:lnTo>
                    <a:pt x="20852" y="47435"/>
                  </a:lnTo>
                  <a:lnTo>
                    <a:pt x="20364" y="50728"/>
                  </a:lnTo>
                  <a:lnTo>
                    <a:pt x="17316" y="52191"/>
                  </a:lnTo>
                  <a:lnTo>
                    <a:pt x="11706" y="54630"/>
                  </a:lnTo>
                  <a:lnTo>
                    <a:pt x="10365" y="60361"/>
                  </a:lnTo>
                  <a:lnTo>
                    <a:pt x="9999" y="62556"/>
                  </a:lnTo>
                  <a:lnTo>
                    <a:pt x="8170" y="64019"/>
                  </a:lnTo>
                  <a:lnTo>
                    <a:pt x="4390" y="66824"/>
                  </a:lnTo>
                  <a:lnTo>
                    <a:pt x="2317" y="68287"/>
                  </a:lnTo>
                  <a:lnTo>
                    <a:pt x="0" y="77799"/>
                  </a:lnTo>
                  <a:lnTo>
                    <a:pt x="0" y="77799"/>
                  </a:lnTo>
                  <a:lnTo>
                    <a:pt x="0" y="79872"/>
                  </a:lnTo>
                  <a:lnTo>
                    <a:pt x="1707" y="102309"/>
                  </a:lnTo>
                  <a:lnTo>
                    <a:pt x="15121" y="120966"/>
                  </a:lnTo>
                  <a:lnTo>
                    <a:pt x="17925" y="124746"/>
                  </a:lnTo>
                  <a:lnTo>
                    <a:pt x="18535" y="125600"/>
                  </a:lnTo>
                  <a:lnTo>
                    <a:pt x="18779" y="126575"/>
                  </a:lnTo>
                  <a:lnTo>
                    <a:pt x="19023" y="127429"/>
                  </a:lnTo>
                  <a:lnTo>
                    <a:pt x="22925" y="140477"/>
                  </a:lnTo>
                  <a:lnTo>
                    <a:pt x="23169" y="141208"/>
                  </a:lnTo>
                  <a:lnTo>
                    <a:pt x="23169" y="141330"/>
                  </a:lnTo>
                  <a:lnTo>
                    <a:pt x="28046" y="145720"/>
                  </a:lnTo>
                  <a:lnTo>
                    <a:pt x="38777" y="155232"/>
                  </a:lnTo>
                  <a:lnTo>
                    <a:pt x="44021" y="157427"/>
                  </a:lnTo>
                  <a:lnTo>
                    <a:pt x="57312" y="163158"/>
                  </a:lnTo>
                  <a:lnTo>
                    <a:pt x="73043" y="163158"/>
                  </a:lnTo>
                  <a:lnTo>
                    <a:pt x="73897" y="163402"/>
                  </a:lnTo>
                  <a:lnTo>
                    <a:pt x="78530" y="164621"/>
                  </a:lnTo>
                  <a:lnTo>
                    <a:pt x="85969" y="166816"/>
                  </a:lnTo>
                  <a:lnTo>
                    <a:pt x="88651" y="167548"/>
                  </a:lnTo>
                  <a:lnTo>
                    <a:pt x="89749" y="169987"/>
                  </a:lnTo>
                  <a:lnTo>
                    <a:pt x="97797" y="186815"/>
                  </a:lnTo>
                  <a:lnTo>
                    <a:pt x="98163" y="187668"/>
                  </a:lnTo>
                  <a:lnTo>
                    <a:pt x="98285" y="188766"/>
                  </a:lnTo>
                  <a:lnTo>
                    <a:pt x="100724" y="209618"/>
                  </a:lnTo>
                  <a:lnTo>
                    <a:pt x="106089" y="209984"/>
                  </a:lnTo>
                  <a:lnTo>
                    <a:pt x="125478" y="211325"/>
                  </a:lnTo>
                  <a:lnTo>
                    <a:pt x="126331" y="211325"/>
                  </a:lnTo>
                  <a:lnTo>
                    <a:pt x="127063" y="211691"/>
                  </a:lnTo>
                  <a:lnTo>
                    <a:pt x="135843" y="214739"/>
                  </a:lnTo>
                  <a:lnTo>
                    <a:pt x="138891" y="215837"/>
                  </a:lnTo>
                  <a:lnTo>
                    <a:pt x="141574" y="215105"/>
                  </a:lnTo>
                  <a:lnTo>
                    <a:pt x="150720" y="212422"/>
                  </a:lnTo>
                  <a:lnTo>
                    <a:pt x="151085" y="212300"/>
                  </a:lnTo>
                  <a:lnTo>
                    <a:pt x="151451" y="212300"/>
                  </a:lnTo>
                  <a:lnTo>
                    <a:pt x="162061" y="210471"/>
                  </a:lnTo>
                  <a:lnTo>
                    <a:pt x="167304" y="209618"/>
                  </a:lnTo>
                  <a:lnTo>
                    <a:pt x="176693" y="202057"/>
                  </a:lnTo>
                  <a:lnTo>
                    <a:pt x="177303" y="201448"/>
                  </a:lnTo>
                  <a:lnTo>
                    <a:pt x="178035" y="201204"/>
                  </a:lnTo>
                  <a:lnTo>
                    <a:pt x="189132" y="196082"/>
                  </a:lnTo>
                  <a:lnTo>
                    <a:pt x="193887" y="189741"/>
                  </a:lnTo>
                  <a:lnTo>
                    <a:pt x="194863" y="188400"/>
                  </a:lnTo>
                  <a:lnTo>
                    <a:pt x="196326" y="187790"/>
                  </a:lnTo>
                  <a:lnTo>
                    <a:pt x="197179" y="187424"/>
                  </a:lnTo>
                  <a:lnTo>
                    <a:pt x="203764" y="184742"/>
                  </a:lnTo>
                  <a:lnTo>
                    <a:pt x="184010" y="163768"/>
                  </a:lnTo>
                  <a:lnTo>
                    <a:pt x="182547" y="137184"/>
                  </a:lnTo>
                  <a:lnTo>
                    <a:pt x="186571" y="116820"/>
                  </a:lnTo>
                  <a:lnTo>
                    <a:pt x="174133" y="105845"/>
                  </a:lnTo>
                  <a:lnTo>
                    <a:pt x="172547" y="94383"/>
                  </a:lnTo>
                  <a:lnTo>
                    <a:pt x="184985" y="73165"/>
                  </a:lnTo>
                  <a:lnTo>
                    <a:pt x="150598" y="56093"/>
                  </a:lnTo>
                  <a:lnTo>
                    <a:pt x="146574" y="54020"/>
                  </a:lnTo>
                  <a:lnTo>
                    <a:pt x="147427" y="49630"/>
                  </a:lnTo>
                  <a:lnTo>
                    <a:pt x="148891" y="403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6" name="Freihandform: Form 465">
              <a:extLst>
                <a:ext uri="{FF2B5EF4-FFF2-40B4-BE49-F238E27FC236}">
                  <a16:creationId xmlns:a16="http://schemas.microsoft.com/office/drawing/2014/main" id="{8ACD99E1-9550-4B87-854A-7B9B23763EF6}"/>
                </a:ext>
              </a:extLst>
            </p:cNvPr>
            <p:cNvSpPr/>
            <p:nvPr/>
          </p:nvSpPr>
          <p:spPr>
            <a:xfrm>
              <a:off x="4826857" y="3800337"/>
              <a:ext cx="156938" cy="180473"/>
            </a:xfrm>
            <a:custGeom>
              <a:avLst/>
              <a:gdLst>
                <a:gd name="connsiteX0" fmla="*/ 150110 w 156938"/>
                <a:gd name="connsiteY0" fmla="*/ 74384 h 180473"/>
                <a:gd name="connsiteX1" fmla="*/ 149988 w 156938"/>
                <a:gd name="connsiteY1" fmla="*/ 73897 h 180473"/>
                <a:gd name="connsiteX2" fmla="*/ 145110 w 156938"/>
                <a:gd name="connsiteY2" fmla="*/ 62312 h 180473"/>
                <a:gd name="connsiteX3" fmla="*/ 138770 w 156938"/>
                <a:gd name="connsiteY3" fmla="*/ 47313 h 180473"/>
                <a:gd name="connsiteX4" fmla="*/ 138526 w 156938"/>
                <a:gd name="connsiteY4" fmla="*/ 46826 h 180473"/>
                <a:gd name="connsiteX5" fmla="*/ 138404 w 156938"/>
                <a:gd name="connsiteY5" fmla="*/ 46216 h 180473"/>
                <a:gd name="connsiteX6" fmla="*/ 136941 w 156938"/>
                <a:gd name="connsiteY6" fmla="*/ 39753 h 180473"/>
                <a:gd name="connsiteX7" fmla="*/ 135965 w 156938"/>
                <a:gd name="connsiteY7" fmla="*/ 35119 h 180473"/>
                <a:gd name="connsiteX8" fmla="*/ 125844 w 156938"/>
                <a:gd name="connsiteY8" fmla="*/ 27437 h 180473"/>
                <a:gd name="connsiteX9" fmla="*/ 108162 w 156938"/>
                <a:gd name="connsiteY9" fmla="*/ 13901 h 180473"/>
                <a:gd name="connsiteX10" fmla="*/ 105845 w 156938"/>
                <a:gd name="connsiteY10" fmla="*/ 12194 h 180473"/>
                <a:gd name="connsiteX11" fmla="*/ 105724 w 156938"/>
                <a:gd name="connsiteY11" fmla="*/ 9267 h 180473"/>
                <a:gd name="connsiteX12" fmla="*/ 105479 w 156938"/>
                <a:gd name="connsiteY12" fmla="*/ 3780 h 180473"/>
                <a:gd name="connsiteX13" fmla="*/ 105358 w 156938"/>
                <a:gd name="connsiteY13" fmla="*/ 610 h 180473"/>
                <a:gd name="connsiteX14" fmla="*/ 103529 w 156938"/>
                <a:gd name="connsiteY14" fmla="*/ 610 h 180473"/>
                <a:gd name="connsiteX15" fmla="*/ 93407 w 156938"/>
                <a:gd name="connsiteY15" fmla="*/ 0 h 180473"/>
                <a:gd name="connsiteX16" fmla="*/ 88164 w 156938"/>
                <a:gd name="connsiteY16" fmla="*/ 2073 h 180473"/>
                <a:gd name="connsiteX17" fmla="*/ 73653 w 156938"/>
                <a:gd name="connsiteY17" fmla="*/ 7804 h 180473"/>
                <a:gd name="connsiteX18" fmla="*/ 71458 w 156938"/>
                <a:gd name="connsiteY18" fmla="*/ 8658 h 180473"/>
                <a:gd name="connsiteX19" fmla="*/ 69263 w 156938"/>
                <a:gd name="connsiteY19" fmla="*/ 7926 h 180473"/>
                <a:gd name="connsiteX20" fmla="*/ 55849 w 156938"/>
                <a:gd name="connsiteY20" fmla="*/ 3049 h 180473"/>
                <a:gd name="connsiteX21" fmla="*/ 26949 w 156938"/>
                <a:gd name="connsiteY21" fmla="*/ 13048 h 180473"/>
                <a:gd name="connsiteX22" fmla="*/ 22803 w 156938"/>
                <a:gd name="connsiteY22" fmla="*/ 14389 h 180473"/>
                <a:gd name="connsiteX23" fmla="*/ 21584 w 156938"/>
                <a:gd name="connsiteY23" fmla="*/ 74994 h 180473"/>
                <a:gd name="connsiteX24" fmla="*/ 21462 w 156938"/>
                <a:gd name="connsiteY24" fmla="*/ 80237 h 180473"/>
                <a:gd name="connsiteX25" fmla="*/ 16340 w 156938"/>
                <a:gd name="connsiteY25" fmla="*/ 80969 h 180473"/>
                <a:gd name="connsiteX26" fmla="*/ 8048 w 156938"/>
                <a:gd name="connsiteY26" fmla="*/ 82189 h 180473"/>
                <a:gd name="connsiteX27" fmla="*/ 1585 w 156938"/>
                <a:gd name="connsiteY27" fmla="*/ 83042 h 180473"/>
                <a:gd name="connsiteX28" fmla="*/ 0 w 156938"/>
                <a:gd name="connsiteY28" fmla="*/ 134745 h 180473"/>
                <a:gd name="connsiteX29" fmla="*/ 2561 w 156938"/>
                <a:gd name="connsiteY29" fmla="*/ 137428 h 180473"/>
                <a:gd name="connsiteX30" fmla="*/ 6707 w 156938"/>
                <a:gd name="connsiteY30" fmla="*/ 141940 h 180473"/>
                <a:gd name="connsiteX31" fmla="*/ 11585 w 156938"/>
                <a:gd name="connsiteY31" fmla="*/ 147305 h 180473"/>
                <a:gd name="connsiteX32" fmla="*/ 12682 w 156938"/>
                <a:gd name="connsiteY32" fmla="*/ 148525 h 180473"/>
                <a:gd name="connsiteX33" fmla="*/ 13048 w 156938"/>
                <a:gd name="connsiteY33" fmla="*/ 150232 h 180473"/>
                <a:gd name="connsiteX34" fmla="*/ 19389 w 156938"/>
                <a:gd name="connsiteY34" fmla="*/ 180473 h 180473"/>
                <a:gd name="connsiteX35" fmla="*/ 32680 w 156938"/>
                <a:gd name="connsiteY35" fmla="*/ 180473 h 180473"/>
                <a:gd name="connsiteX36" fmla="*/ 38777 w 156938"/>
                <a:gd name="connsiteY36" fmla="*/ 173279 h 180473"/>
                <a:gd name="connsiteX37" fmla="*/ 55118 w 156938"/>
                <a:gd name="connsiteY37" fmla="*/ 154134 h 180473"/>
                <a:gd name="connsiteX38" fmla="*/ 56581 w 156938"/>
                <a:gd name="connsiteY38" fmla="*/ 152305 h 180473"/>
                <a:gd name="connsiteX39" fmla="*/ 59020 w 156938"/>
                <a:gd name="connsiteY39" fmla="*/ 152061 h 180473"/>
                <a:gd name="connsiteX40" fmla="*/ 64995 w 156938"/>
                <a:gd name="connsiteY40" fmla="*/ 151329 h 180473"/>
                <a:gd name="connsiteX41" fmla="*/ 68653 w 156938"/>
                <a:gd name="connsiteY41" fmla="*/ 150842 h 180473"/>
                <a:gd name="connsiteX42" fmla="*/ 71092 w 156938"/>
                <a:gd name="connsiteY42" fmla="*/ 150598 h 180473"/>
                <a:gd name="connsiteX43" fmla="*/ 73043 w 156938"/>
                <a:gd name="connsiteY43" fmla="*/ 151939 h 180473"/>
                <a:gd name="connsiteX44" fmla="*/ 81091 w 156938"/>
                <a:gd name="connsiteY44" fmla="*/ 157670 h 180473"/>
                <a:gd name="connsiteX45" fmla="*/ 95115 w 156938"/>
                <a:gd name="connsiteY45" fmla="*/ 156573 h 180473"/>
                <a:gd name="connsiteX46" fmla="*/ 99626 w 156938"/>
                <a:gd name="connsiteY46" fmla="*/ 151451 h 180473"/>
                <a:gd name="connsiteX47" fmla="*/ 107309 w 156938"/>
                <a:gd name="connsiteY47" fmla="*/ 143037 h 180473"/>
                <a:gd name="connsiteX48" fmla="*/ 109870 w 156938"/>
                <a:gd name="connsiteY48" fmla="*/ 121576 h 180473"/>
                <a:gd name="connsiteX49" fmla="*/ 110357 w 156938"/>
                <a:gd name="connsiteY49" fmla="*/ 117795 h 180473"/>
                <a:gd name="connsiteX50" fmla="*/ 113893 w 156938"/>
                <a:gd name="connsiteY50" fmla="*/ 116454 h 180473"/>
                <a:gd name="connsiteX51" fmla="*/ 127307 w 156938"/>
                <a:gd name="connsiteY51" fmla="*/ 111698 h 180473"/>
                <a:gd name="connsiteX52" fmla="*/ 131209 w 156938"/>
                <a:gd name="connsiteY52" fmla="*/ 110357 h 180473"/>
                <a:gd name="connsiteX53" fmla="*/ 136087 w 156938"/>
                <a:gd name="connsiteY53" fmla="*/ 103163 h 180473"/>
                <a:gd name="connsiteX54" fmla="*/ 136453 w 156938"/>
                <a:gd name="connsiteY54" fmla="*/ 102431 h 180473"/>
                <a:gd name="connsiteX55" fmla="*/ 137063 w 156938"/>
                <a:gd name="connsiteY55" fmla="*/ 101943 h 180473"/>
                <a:gd name="connsiteX56" fmla="*/ 156939 w 156938"/>
                <a:gd name="connsiteY56" fmla="*/ 84505 h 180473"/>
                <a:gd name="connsiteX57" fmla="*/ 150476 w 156938"/>
                <a:gd name="connsiteY57" fmla="*/ 74872 h 180473"/>
                <a:gd name="connsiteX58" fmla="*/ 150110 w 156938"/>
                <a:gd name="connsiteY58" fmla="*/ 74384 h 18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56938" h="180473">
                  <a:moveTo>
                    <a:pt x="150110" y="74384"/>
                  </a:moveTo>
                  <a:lnTo>
                    <a:pt x="149988" y="73897"/>
                  </a:lnTo>
                  <a:lnTo>
                    <a:pt x="145110" y="62312"/>
                  </a:lnTo>
                  <a:lnTo>
                    <a:pt x="138770" y="47313"/>
                  </a:lnTo>
                  <a:lnTo>
                    <a:pt x="138526" y="46826"/>
                  </a:lnTo>
                  <a:lnTo>
                    <a:pt x="138404" y="46216"/>
                  </a:lnTo>
                  <a:lnTo>
                    <a:pt x="136941" y="39753"/>
                  </a:lnTo>
                  <a:lnTo>
                    <a:pt x="135965" y="35119"/>
                  </a:lnTo>
                  <a:lnTo>
                    <a:pt x="125844" y="27437"/>
                  </a:lnTo>
                  <a:lnTo>
                    <a:pt x="108162" y="13901"/>
                  </a:lnTo>
                  <a:lnTo>
                    <a:pt x="105845" y="12194"/>
                  </a:lnTo>
                  <a:lnTo>
                    <a:pt x="105724" y="9267"/>
                  </a:lnTo>
                  <a:lnTo>
                    <a:pt x="105479" y="3780"/>
                  </a:lnTo>
                  <a:lnTo>
                    <a:pt x="105358" y="610"/>
                  </a:lnTo>
                  <a:lnTo>
                    <a:pt x="103529" y="610"/>
                  </a:lnTo>
                  <a:lnTo>
                    <a:pt x="93407" y="0"/>
                  </a:lnTo>
                  <a:lnTo>
                    <a:pt x="88164" y="2073"/>
                  </a:lnTo>
                  <a:lnTo>
                    <a:pt x="73653" y="7804"/>
                  </a:lnTo>
                  <a:lnTo>
                    <a:pt x="71458" y="8658"/>
                  </a:lnTo>
                  <a:lnTo>
                    <a:pt x="69263" y="7926"/>
                  </a:lnTo>
                  <a:lnTo>
                    <a:pt x="55849" y="3049"/>
                  </a:lnTo>
                  <a:lnTo>
                    <a:pt x="26949" y="13048"/>
                  </a:lnTo>
                  <a:lnTo>
                    <a:pt x="22803" y="14389"/>
                  </a:lnTo>
                  <a:lnTo>
                    <a:pt x="21584" y="74994"/>
                  </a:lnTo>
                  <a:lnTo>
                    <a:pt x="21462" y="80237"/>
                  </a:lnTo>
                  <a:lnTo>
                    <a:pt x="16340" y="80969"/>
                  </a:lnTo>
                  <a:lnTo>
                    <a:pt x="8048" y="82189"/>
                  </a:lnTo>
                  <a:lnTo>
                    <a:pt x="1585" y="83042"/>
                  </a:lnTo>
                  <a:lnTo>
                    <a:pt x="0" y="134745"/>
                  </a:lnTo>
                  <a:lnTo>
                    <a:pt x="2561" y="137428"/>
                  </a:lnTo>
                  <a:lnTo>
                    <a:pt x="6707" y="141940"/>
                  </a:lnTo>
                  <a:lnTo>
                    <a:pt x="11585" y="147305"/>
                  </a:lnTo>
                  <a:lnTo>
                    <a:pt x="12682" y="148525"/>
                  </a:lnTo>
                  <a:lnTo>
                    <a:pt x="13048" y="150232"/>
                  </a:lnTo>
                  <a:lnTo>
                    <a:pt x="19389" y="180473"/>
                  </a:lnTo>
                  <a:lnTo>
                    <a:pt x="32680" y="180473"/>
                  </a:lnTo>
                  <a:lnTo>
                    <a:pt x="38777" y="173279"/>
                  </a:lnTo>
                  <a:lnTo>
                    <a:pt x="55118" y="154134"/>
                  </a:lnTo>
                  <a:lnTo>
                    <a:pt x="56581" y="152305"/>
                  </a:lnTo>
                  <a:lnTo>
                    <a:pt x="59020" y="152061"/>
                  </a:lnTo>
                  <a:lnTo>
                    <a:pt x="64995" y="151329"/>
                  </a:lnTo>
                  <a:lnTo>
                    <a:pt x="68653" y="150842"/>
                  </a:lnTo>
                  <a:lnTo>
                    <a:pt x="71092" y="150598"/>
                  </a:lnTo>
                  <a:lnTo>
                    <a:pt x="73043" y="151939"/>
                  </a:lnTo>
                  <a:lnTo>
                    <a:pt x="81091" y="157670"/>
                  </a:lnTo>
                  <a:lnTo>
                    <a:pt x="95115" y="156573"/>
                  </a:lnTo>
                  <a:lnTo>
                    <a:pt x="99626" y="151451"/>
                  </a:lnTo>
                  <a:lnTo>
                    <a:pt x="107309" y="143037"/>
                  </a:lnTo>
                  <a:lnTo>
                    <a:pt x="109870" y="121576"/>
                  </a:lnTo>
                  <a:lnTo>
                    <a:pt x="110357" y="117795"/>
                  </a:lnTo>
                  <a:lnTo>
                    <a:pt x="113893" y="116454"/>
                  </a:lnTo>
                  <a:lnTo>
                    <a:pt x="127307" y="111698"/>
                  </a:lnTo>
                  <a:lnTo>
                    <a:pt x="131209" y="110357"/>
                  </a:lnTo>
                  <a:lnTo>
                    <a:pt x="136087" y="103163"/>
                  </a:lnTo>
                  <a:lnTo>
                    <a:pt x="136453" y="102431"/>
                  </a:lnTo>
                  <a:lnTo>
                    <a:pt x="137063" y="101943"/>
                  </a:lnTo>
                  <a:lnTo>
                    <a:pt x="156939" y="84505"/>
                  </a:lnTo>
                  <a:lnTo>
                    <a:pt x="150476" y="74872"/>
                  </a:lnTo>
                  <a:lnTo>
                    <a:pt x="150110" y="743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7" name="Freihandform: Form 466">
              <a:extLst>
                <a:ext uri="{FF2B5EF4-FFF2-40B4-BE49-F238E27FC236}">
                  <a16:creationId xmlns:a16="http://schemas.microsoft.com/office/drawing/2014/main" id="{8094759F-8FF1-4697-9FFF-3149E5FDDB75}"/>
                </a:ext>
              </a:extLst>
            </p:cNvPr>
            <p:cNvSpPr/>
            <p:nvPr/>
          </p:nvSpPr>
          <p:spPr>
            <a:xfrm>
              <a:off x="4187518" y="2936624"/>
              <a:ext cx="324364" cy="295342"/>
            </a:xfrm>
            <a:custGeom>
              <a:avLst/>
              <a:gdLst>
                <a:gd name="connsiteX0" fmla="*/ 31095 w 324364"/>
                <a:gd name="connsiteY0" fmla="*/ 262662 h 295342"/>
                <a:gd name="connsiteX1" fmla="*/ 34997 w 324364"/>
                <a:gd name="connsiteY1" fmla="*/ 264491 h 295342"/>
                <a:gd name="connsiteX2" fmla="*/ 46338 w 324364"/>
                <a:gd name="connsiteY2" fmla="*/ 263272 h 295342"/>
                <a:gd name="connsiteX3" fmla="*/ 49508 w 324364"/>
                <a:gd name="connsiteY3" fmla="*/ 259370 h 295342"/>
                <a:gd name="connsiteX4" fmla="*/ 53776 w 324364"/>
                <a:gd name="connsiteY4" fmla="*/ 254004 h 295342"/>
                <a:gd name="connsiteX5" fmla="*/ 58532 w 324364"/>
                <a:gd name="connsiteY5" fmla="*/ 258882 h 295342"/>
                <a:gd name="connsiteX6" fmla="*/ 66580 w 324364"/>
                <a:gd name="connsiteY6" fmla="*/ 266930 h 295342"/>
                <a:gd name="connsiteX7" fmla="*/ 67312 w 324364"/>
                <a:gd name="connsiteY7" fmla="*/ 267662 h 295342"/>
                <a:gd name="connsiteX8" fmla="*/ 67800 w 324364"/>
                <a:gd name="connsiteY8" fmla="*/ 268515 h 295342"/>
                <a:gd name="connsiteX9" fmla="*/ 80482 w 324364"/>
                <a:gd name="connsiteY9" fmla="*/ 295343 h 295342"/>
                <a:gd name="connsiteX10" fmla="*/ 94748 w 324364"/>
                <a:gd name="connsiteY10" fmla="*/ 293148 h 295342"/>
                <a:gd name="connsiteX11" fmla="*/ 103772 w 324364"/>
                <a:gd name="connsiteY11" fmla="*/ 284124 h 295342"/>
                <a:gd name="connsiteX12" fmla="*/ 107796 w 324364"/>
                <a:gd name="connsiteY12" fmla="*/ 280100 h 295342"/>
                <a:gd name="connsiteX13" fmla="*/ 112064 w 324364"/>
                <a:gd name="connsiteY13" fmla="*/ 283880 h 295342"/>
                <a:gd name="connsiteX14" fmla="*/ 120966 w 324364"/>
                <a:gd name="connsiteY14" fmla="*/ 291684 h 295342"/>
                <a:gd name="connsiteX15" fmla="*/ 128648 w 324364"/>
                <a:gd name="connsiteY15" fmla="*/ 292538 h 295342"/>
                <a:gd name="connsiteX16" fmla="*/ 130843 w 324364"/>
                <a:gd name="connsiteY16" fmla="*/ 273393 h 295342"/>
                <a:gd name="connsiteX17" fmla="*/ 131209 w 324364"/>
                <a:gd name="connsiteY17" fmla="*/ 270345 h 295342"/>
                <a:gd name="connsiteX18" fmla="*/ 133770 w 324364"/>
                <a:gd name="connsiteY18" fmla="*/ 268881 h 295342"/>
                <a:gd name="connsiteX19" fmla="*/ 135599 w 324364"/>
                <a:gd name="connsiteY19" fmla="*/ 267784 h 295342"/>
                <a:gd name="connsiteX20" fmla="*/ 137672 w 324364"/>
                <a:gd name="connsiteY20" fmla="*/ 266442 h 295342"/>
                <a:gd name="connsiteX21" fmla="*/ 136819 w 324364"/>
                <a:gd name="connsiteY21" fmla="*/ 260223 h 295342"/>
                <a:gd name="connsiteX22" fmla="*/ 136331 w 324364"/>
                <a:gd name="connsiteY22" fmla="*/ 257053 h 295342"/>
                <a:gd name="connsiteX23" fmla="*/ 138770 w 324364"/>
                <a:gd name="connsiteY23" fmla="*/ 254980 h 295342"/>
                <a:gd name="connsiteX24" fmla="*/ 155598 w 324364"/>
                <a:gd name="connsiteY24" fmla="*/ 239371 h 295342"/>
                <a:gd name="connsiteX25" fmla="*/ 157549 w 324364"/>
                <a:gd name="connsiteY25" fmla="*/ 233640 h 295342"/>
                <a:gd name="connsiteX26" fmla="*/ 159256 w 324364"/>
                <a:gd name="connsiteY26" fmla="*/ 228519 h 295342"/>
                <a:gd name="connsiteX27" fmla="*/ 164499 w 324364"/>
                <a:gd name="connsiteY27" fmla="*/ 229494 h 295342"/>
                <a:gd name="connsiteX28" fmla="*/ 174376 w 324364"/>
                <a:gd name="connsiteY28" fmla="*/ 231567 h 295342"/>
                <a:gd name="connsiteX29" fmla="*/ 190716 w 324364"/>
                <a:gd name="connsiteY29" fmla="*/ 210227 h 295342"/>
                <a:gd name="connsiteX30" fmla="*/ 192546 w 324364"/>
                <a:gd name="connsiteY30" fmla="*/ 207788 h 295342"/>
                <a:gd name="connsiteX31" fmla="*/ 202301 w 324364"/>
                <a:gd name="connsiteY31" fmla="*/ 207788 h 295342"/>
                <a:gd name="connsiteX32" fmla="*/ 202545 w 324364"/>
                <a:gd name="connsiteY32" fmla="*/ 207423 h 295342"/>
                <a:gd name="connsiteX33" fmla="*/ 209008 w 324364"/>
                <a:gd name="connsiteY33" fmla="*/ 197789 h 295342"/>
                <a:gd name="connsiteX34" fmla="*/ 210715 w 324364"/>
                <a:gd name="connsiteY34" fmla="*/ 195228 h 295342"/>
                <a:gd name="connsiteX35" fmla="*/ 213764 w 324364"/>
                <a:gd name="connsiteY35" fmla="*/ 194985 h 295342"/>
                <a:gd name="connsiteX36" fmla="*/ 231445 w 324364"/>
                <a:gd name="connsiteY36" fmla="*/ 193887 h 295342"/>
                <a:gd name="connsiteX37" fmla="*/ 234494 w 324364"/>
                <a:gd name="connsiteY37" fmla="*/ 193765 h 295342"/>
                <a:gd name="connsiteX38" fmla="*/ 237177 w 324364"/>
                <a:gd name="connsiteY38" fmla="*/ 193521 h 295342"/>
                <a:gd name="connsiteX39" fmla="*/ 239127 w 324364"/>
                <a:gd name="connsiteY39" fmla="*/ 195472 h 295342"/>
                <a:gd name="connsiteX40" fmla="*/ 242908 w 324364"/>
                <a:gd name="connsiteY40" fmla="*/ 199253 h 295342"/>
                <a:gd name="connsiteX41" fmla="*/ 243395 w 324364"/>
                <a:gd name="connsiteY41" fmla="*/ 199253 h 295342"/>
                <a:gd name="connsiteX42" fmla="*/ 270101 w 324364"/>
                <a:gd name="connsiteY42" fmla="*/ 197911 h 295342"/>
                <a:gd name="connsiteX43" fmla="*/ 280344 w 324364"/>
                <a:gd name="connsiteY43" fmla="*/ 192790 h 295342"/>
                <a:gd name="connsiteX44" fmla="*/ 281319 w 324364"/>
                <a:gd name="connsiteY44" fmla="*/ 192424 h 295342"/>
                <a:gd name="connsiteX45" fmla="*/ 282295 w 324364"/>
                <a:gd name="connsiteY45" fmla="*/ 192180 h 295342"/>
                <a:gd name="connsiteX46" fmla="*/ 284368 w 324364"/>
                <a:gd name="connsiteY46" fmla="*/ 191936 h 295342"/>
                <a:gd name="connsiteX47" fmla="*/ 300708 w 324364"/>
                <a:gd name="connsiteY47" fmla="*/ 189741 h 295342"/>
                <a:gd name="connsiteX48" fmla="*/ 324365 w 324364"/>
                <a:gd name="connsiteY48" fmla="*/ 117552 h 295342"/>
                <a:gd name="connsiteX49" fmla="*/ 299001 w 324364"/>
                <a:gd name="connsiteY49" fmla="*/ 119747 h 295342"/>
                <a:gd name="connsiteX50" fmla="*/ 292904 w 324364"/>
                <a:gd name="connsiteY50" fmla="*/ 119747 h 295342"/>
                <a:gd name="connsiteX51" fmla="*/ 292416 w 324364"/>
                <a:gd name="connsiteY51" fmla="*/ 113650 h 295342"/>
                <a:gd name="connsiteX52" fmla="*/ 291075 w 324364"/>
                <a:gd name="connsiteY52" fmla="*/ 98285 h 295342"/>
                <a:gd name="connsiteX53" fmla="*/ 283880 w 324364"/>
                <a:gd name="connsiteY53" fmla="*/ 96334 h 295342"/>
                <a:gd name="connsiteX54" fmla="*/ 272418 w 324364"/>
                <a:gd name="connsiteY54" fmla="*/ 97065 h 295342"/>
                <a:gd name="connsiteX55" fmla="*/ 271808 w 324364"/>
                <a:gd name="connsiteY55" fmla="*/ 97065 h 295342"/>
                <a:gd name="connsiteX56" fmla="*/ 267906 w 324364"/>
                <a:gd name="connsiteY56" fmla="*/ 97309 h 295342"/>
                <a:gd name="connsiteX57" fmla="*/ 266077 w 324364"/>
                <a:gd name="connsiteY57" fmla="*/ 94017 h 295342"/>
                <a:gd name="connsiteX58" fmla="*/ 262784 w 324364"/>
                <a:gd name="connsiteY58" fmla="*/ 88286 h 295342"/>
                <a:gd name="connsiteX59" fmla="*/ 258638 w 324364"/>
                <a:gd name="connsiteY59" fmla="*/ 80847 h 295342"/>
                <a:gd name="connsiteX60" fmla="*/ 185961 w 324364"/>
                <a:gd name="connsiteY60" fmla="*/ 28534 h 295342"/>
                <a:gd name="connsiteX61" fmla="*/ 146452 w 324364"/>
                <a:gd name="connsiteY61" fmla="*/ 0 h 295342"/>
                <a:gd name="connsiteX62" fmla="*/ 141330 w 324364"/>
                <a:gd name="connsiteY62" fmla="*/ 0 h 295342"/>
                <a:gd name="connsiteX63" fmla="*/ 108284 w 324364"/>
                <a:gd name="connsiteY63" fmla="*/ 610 h 295342"/>
                <a:gd name="connsiteX64" fmla="*/ 131453 w 324364"/>
                <a:gd name="connsiteY64" fmla="*/ 184863 h 295342"/>
                <a:gd name="connsiteX65" fmla="*/ 132307 w 324364"/>
                <a:gd name="connsiteY65" fmla="*/ 191570 h 295342"/>
                <a:gd name="connsiteX66" fmla="*/ 125600 w 324364"/>
                <a:gd name="connsiteY66" fmla="*/ 191814 h 295342"/>
                <a:gd name="connsiteX67" fmla="*/ 57679 w 324364"/>
                <a:gd name="connsiteY67" fmla="*/ 193156 h 295342"/>
                <a:gd name="connsiteX68" fmla="*/ 55605 w 324364"/>
                <a:gd name="connsiteY68" fmla="*/ 193156 h 295342"/>
                <a:gd name="connsiteX69" fmla="*/ 54020 w 324364"/>
                <a:gd name="connsiteY69" fmla="*/ 191936 h 295342"/>
                <a:gd name="connsiteX70" fmla="*/ 51094 w 324364"/>
                <a:gd name="connsiteY70" fmla="*/ 189741 h 295342"/>
                <a:gd name="connsiteX71" fmla="*/ 45606 w 324364"/>
                <a:gd name="connsiteY71" fmla="*/ 193399 h 295342"/>
                <a:gd name="connsiteX72" fmla="*/ 43777 w 324364"/>
                <a:gd name="connsiteY72" fmla="*/ 194619 h 295342"/>
                <a:gd name="connsiteX73" fmla="*/ 41582 w 324364"/>
                <a:gd name="connsiteY73" fmla="*/ 194497 h 295342"/>
                <a:gd name="connsiteX74" fmla="*/ 29754 w 324364"/>
                <a:gd name="connsiteY74" fmla="*/ 193277 h 295342"/>
                <a:gd name="connsiteX75" fmla="*/ 23169 w 324364"/>
                <a:gd name="connsiteY75" fmla="*/ 198277 h 295342"/>
                <a:gd name="connsiteX76" fmla="*/ 21218 w 324364"/>
                <a:gd name="connsiteY76" fmla="*/ 199618 h 295342"/>
                <a:gd name="connsiteX77" fmla="*/ 16584 w 324364"/>
                <a:gd name="connsiteY77" fmla="*/ 203033 h 295342"/>
                <a:gd name="connsiteX78" fmla="*/ 12926 w 324364"/>
                <a:gd name="connsiteY78" fmla="*/ 198765 h 295342"/>
                <a:gd name="connsiteX79" fmla="*/ 7195 w 324364"/>
                <a:gd name="connsiteY79" fmla="*/ 192058 h 295342"/>
                <a:gd name="connsiteX80" fmla="*/ 3292 w 324364"/>
                <a:gd name="connsiteY80" fmla="*/ 192668 h 295342"/>
                <a:gd name="connsiteX81" fmla="*/ 732 w 324364"/>
                <a:gd name="connsiteY81" fmla="*/ 201326 h 295342"/>
                <a:gd name="connsiteX82" fmla="*/ 0 w 324364"/>
                <a:gd name="connsiteY82" fmla="*/ 203642 h 295342"/>
                <a:gd name="connsiteX83" fmla="*/ 3902 w 324364"/>
                <a:gd name="connsiteY83" fmla="*/ 232299 h 295342"/>
                <a:gd name="connsiteX84" fmla="*/ 14633 w 324364"/>
                <a:gd name="connsiteY84" fmla="*/ 240591 h 295342"/>
                <a:gd name="connsiteX85" fmla="*/ 16950 w 324364"/>
                <a:gd name="connsiteY85" fmla="*/ 242542 h 295342"/>
                <a:gd name="connsiteX86" fmla="*/ 16950 w 324364"/>
                <a:gd name="connsiteY86" fmla="*/ 256077 h 295342"/>
                <a:gd name="connsiteX87" fmla="*/ 31095 w 324364"/>
                <a:gd name="connsiteY87" fmla="*/ 262662 h 29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324364" h="295342">
                  <a:moveTo>
                    <a:pt x="31095" y="262662"/>
                  </a:moveTo>
                  <a:lnTo>
                    <a:pt x="34997" y="264491"/>
                  </a:lnTo>
                  <a:lnTo>
                    <a:pt x="46338" y="263272"/>
                  </a:lnTo>
                  <a:lnTo>
                    <a:pt x="49508" y="259370"/>
                  </a:lnTo>
                  <a:lnTo>
                    <a:pt x="53776" y="254004"/>
                  </a:lnTo>
                  <a:lnTo>
                    <a:pt x="58532" y="258882"/>
                  </a:lnTo>
                  <a:lnTo>
                    <a:pt x="66580" y="266930"/>
                  </a:lnTo>
                  <a:lnTo>
                    <a:pt x="67312" y="267662"/>
                  </a:lnTo>
                  <a:lnTo>
                    <a:pt x="67800" y="268515"/>
                  </a:lnTo>
                  <a:lnTo>
                    <a:pt x="80482" y="295343"/>
                  </a:lnTo>
                  <a:lnTo>
                    <a:pt x="94748" y="293148"/>
                  </a:lnTo>
                  <a:lnTo>
                    <a:pt x="103772" y="284124"/>
                  </a:lnTo>
                  <a:lnTo>
                    <a:pt x="107796" y="280100"/>
                  </a:lnTo>
                  <a:lnTo>
                    <a:pt x="112064" y="283880"/>
                  </a:lnTo>
                  <a:lnTo>
                    <a:pt x="120966" y="291684"/>
                  </a:lnTo>
                  <a:lnTo>
                    <a:pt x="128648" y="292538"/>
                  </a:lnTo>
                  <a:lnTo>
                    <a:pt x="130843" y="273393"/>
                  </a:lnTo>
                  <a:lnTo>
                    <a:pt x="131209" y="270345"/>
                  </a:lnTo>
                  <a:lnTo>
                    <a:pt x="133770" y="268881"/>
                  </a:lnTo>
                  <a:lnTo>
                    <a:pt x="135599" y="267784"/>
                  </a:lnTo>
                  <a:lnTo>
                    <a:pt x="137672" y="266442"/>
                  </a:lnTo>
                  <a:lnTo>
                    <a:pt x="136819" y="260223"/>
                  </a:lnTo>
                  <a:lnTo>
                    <a:pt x="136331" y="257053"/>
                  </a:lnTo>
                  <a:lnTo>
                    <a:pt x="138770" y="254980"/>
                  </a:lnTo>
                  <a:lnTo>
                    <a:pt x="155598" y="239371"/>
                  </a:lnTo>
                  <a:lnTo>
                    <a:pt x="157549" y="233640"/>
                  </a:lnTo>
                  <a:lnTo>
                    <a:pt x="159256" y="228519"/>
                  </a:lnTo>
                  <a:lnTo>
                    <a:pt x="164499" y="229494"/>
                  </a:lnTo>
                  <a:lnTo>
                    <a:pt x="174376" y="231567"/>
                  </a:lnTo>
                  <a:lnTo>
                    <a:pt x="190716" y="210227"/>
                  </a:lnTo>
                  <a:lnTo>
                    <a:pt x="192546" y="207788"/>
                  </a:lnTo>
                  <a:lnTo>
                    <a:pt x="202301" y="207788"/>
                  </a:lnTo>
                  <a:lnTo>
                    <a:pt x="202545" y="207423"/>
                  </a:lnTo>
                  <a:lnTo>
                    <a:pt x="209008" y="197789"/>
                  </a:lnTo>
                  <a:lnTo>
                    <a:pt x="210715" y="195228"/>
                  </a:lnTo>
                  <a:lnTo>
                    <a:pt x="213764" y="194985"/>
                  </a:lnTo>
                  <a:lnTo>
                    <a:pt x="231445" y="193887"/>
                  </a:lnTo>
                  <a:lnTo>
                    <a:pt x="234494" y="193765"/>
                  </a:lnTo>
                  <a:lnTo>
                    <a:pt x="237177" y="193521"/>
                  </a:lnTo>
                  <a:lnTo>
                    <a:pt x="239127" y="195472"/>
                  </a:lnTo>
                  <a:lnTo>
                    <a:pt x="242908" y="199253"/>
                  </a:lnTo>
                  <a:lnTo>
                    <a:pt x="243395" y="199253"/>
                  </a:lnTo>
                  <a:lnTo>
                    <a:pt x="270101" y="197911"/>
                  </a:lnTo>
                  <a:lnTo>
                    <a:pt x="280344" y="192790"/>
                  </a:lnTo>
                  <a:lnTo>
                    <a:pt x="281319" y="192424"/>
                  </a:lnTo>
                  <a:lnTo>
                    <a:pt x="282295" y="192180"/>
                  </a:lnTo>
                  <a:lnTo>
                    <a:pt x="284368" y="191936"/>
                  </a:lnTo>
                  <a:lnTo>
                    <a:pt x="300708" y="189741"/>
                  </a:lnTo>
                  <a:lnTo>
                    <a:pt x="324365" y="117552"/>
                  </a:lnTo>
                  <a:lnTo>
                    <a:pt x="299001" y="119747"/>
                  </a:lnTo>
                  <a:lnTo>
                    <a:pt x="292904" y="119747"/>
                  </a:lnTo>
                  <a:lnTo>
                    <a:pt x="292416" y="113650"/>
                  </a:lnTo>
                  <a:lnTo>
                    <a:pt x="291075" y="98285"/>
                  </a:lnTo>
                  <a:lnTo>
                    <a:pt x="283880" y="96334"/>
                  </a:lnTo>
                  <a:lnTo>
                    <a:pt x="272418" y="97065"/>
                  </a:lnTo>
                  <a:lnTo>
                    <a:pt x="271808" y="97065"/>
                  </a:lnTo>
                  <a:lnTo>
                    <a:pt x="267906" y="97309"/>
                  </a:lnTo>
                  <a:lnTo>
                    <a:pt x="266077" y="94017"/>
                  </a:lnTo>
                  <a:lnTo>
                    <a:pt x="262784" y="88286"/>
                  </a:lnTo>
                  <a:lnTo>
                    <a:pt x="258638" y="80847"/>
                  </a:lnTo>
                  <a:lnTo>
                    <a:pt x="185961" y="28534"/>
                  </a:lnTo>
                  <a:lnTo>
                    <a:pt x="146452" y="0"/>
                  </a:lnTo>
                  <a:lnTo>
                    <a:pt x="141330" y="0"/>
                  </a:lnTo>
                  <a:lnTo>
                    <a:pt x="108284" y="610"/>
                  </a:lnTo>
                  <a:lnTo>
                    <a:pt x="131453" y="184863"/>
                  </a:lnTo>
                  <a:lnTo>
                    <a:pt x="132307" y="191570"/>
                  </a:lnTo>
                  <a:lnTo>
                    <a:pt x="125600" y="191814"/>
                  </a:lnTo>
                  <a:lnTo>
                    <a:pt x="57679" y="193156"/>
                  </a:lnTo>
                  <a:lnTo>
                    <a:pt x="55605" y="193156"/>
                  </a:lnTo>
                  <a:lnTo>
                    <a:pt x="54020" y="191936"/>
                  </a:lnTo>
                  <a:lnTo>
                    <a:pt x="51094" y="189741"/>
                  </a:lnTo>
                  <a:lnTo>
                    <a:pt x="45606" y="193399"/>
                  </a:lnTo>
                  <a:lnTo>
                    <a:pt x="43777" y="194619"/>
                  </a:lnTo>
                  <a:lnTo>
                    <a:pt x="41582" y="194497"/>
                  </a:lnTo>
                  <a:lnTo>
                    <a:pt x="29754" y="193277"/>
                  </a:lnTo>
                  <a:lnTo>
                    <a:pt x="23169" y="198277"/>
                  </a:lnTo>
                  <a:lnTo>
                    <a:pt x="21218" y="199618"/>
                  </a:lnTo>
                  <a:lnTo>
                    <a:pt x="16584" y="203033"/>
                  </a:lnTo>
                  <a:lnTo>
                    <a:pt x="12926" y="198765"/>
                  </a:lnTo>
                  <a:lnTo>
                    <a:pt x="7195" y="192058"/>
                  </a:lnTo>
                  <a:lnTo>
                    <a:pt x="3292" y="192668"/>
                  </a:lnTo>
                  <a:lnTo>
                    <a:pt x="732" y="201326"/>
                  </a:lnTo>
                  <a:lnTo>
                    <a:pt x="0" y="203642"/>
                  </a:lnTo>
                  <a:lnTo>
                    <a:pt x="3902" y="232299"/>
                  </a:lnTo>
                  <a:lnTo>
                    <a:pt x="14633" y="240591"/>
                  </a:lnTo>
                  <a:lnTo>
                    <a:pt x="16950" y="242542"/>
                  </a:lnTo>
                  <a:lnTo>
                    <a:pt x="16950" y="256077"/>
                  </a:lnTo>
                  <a:lnTo>
                    <a:pt x="31095" y="26266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8" name="Freihandform: Form 467">
              <a:extLst>
                <a:ext uri="{FF2B5EF4-FFF2-40B4-BE49-F238E27FC236}">
                  <a16:creationId xmlns:a16="http://schemas.microsoft.com/office/drawing/2014/main" id="{12B6E74A-7CED-4ABF-AACC-6DA79113EAB2}"/>
                </a:ext>
              </a:extLst>
            </p:cNvPr>
            <p:cNvSpPr/>
            <p:nvPr/>
          </p:nvSpPr>
          <p:spPr>
            <a:xfrm>
              <a:off x="7770406" y="4466748"/>
              <a:ext cx="3536" cy="6462"/>
            </a:xfrm>
            <a:custGeom>
              <a:avLst/>
              <a:gdLst>
                <a:gd name="connsiteX0" fmla="*/ 0 w 3536"/>
                <a:gd name="connsiteY0" fmla="*/ 6463 h 6462"/>
                <a:gd name="connsiteX1" fmla="*/ 3537 w 3536"/>
                <a:gd name="connsiteY1" fmla="*/ 5488 h 6462"/>
                <a:gd name="connsiteX2" fmla="*/ 3537 w 3536"/>
                <a:gd name="connsiteY2" fmla="*/ 366 h 6462"/>
                <a:gd name="connsiteX3" fmla="*/ 1463 w 3536"/>
                <a:gd name="connsiteY3" fmla="*/ 0 h 6462"/>
                <a:gd name="connsiteX4" fmla="*/ 0 w 3536"/>
                <a:gd name="connsiteY4" fmla="*/ 6463 h 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6" h="6462">
                  <a:moveTo>
                    <a:pt x="0" y="6463"/>
                  </a:moveTo>
                  <a:lnTo>
                    <a:pt x="3537" y="5488"/>
                  </a:lnTo>
                  <a:lnTo>
                    <a:pt x="3537" y="366"/>
                  </a:lnTo>
                  <a:lnTo>
                    <a:pt x="1463" y="0"/>
                  </a:lnTo>
                  <a:lnTo>
                    <a:pt x="0" y="6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69" name="Freihandform: Form 468">
              <a:extLst>
                <a:ext uri="{FF2B5EF4-FFF2-40B4-BE49-F238E27FC236}">
                  <a16:creationId xmlns:a16="http://schemas.microsoft.com/office/drawing/2014/main" id="{74B5961C-7032-42FE-BC1A-FE9A76F7207F}"/>
                </a:ext>
              </a:extLst>
            </p:cNvPr>
            <p:cNvSpPr/>
            <p:nvPr/>
          </p:nvSpPr>
          <p:spPr>
            <a:xfrm>
              <a:off x="7511280" y="3537309"/>
              <a:ext cx="15608" cy="20242"/>
            </a:xfrm>
            <a:custGeom>
              <a:avLst/>
              <a:gdLst>
                <a:gd name="connsiteX0" fmla="*/ 0 w 15608"/>
                <a:gd name="connsiteY0" fmla="*/ 0 h 20242"/>
                <a:gd name="connsiteX1" fmla="*/ 0 w 15608"/>
                <a:gd name="connsiteY1" fmla="*/ 1341 h 20242"/>
                <a:gd name="connsiteX2" fmla="*/ 8048 w 15608"/>
                <a:gd name="connsiteY2" fmla="*/ 14755 h 20242"/>
                <a:gd name="connsiteX3" fmla="*/ 11584 w 15608"/>
                <a:gd name="connsiteY3" fmla="*/ 16828 h 20242"/>
                <a:gd name="connsiteX4" fmla="*/ 15609 w 15608"/>
                <a:gd name="connsiteY4" fmla="*/ 20242 h 20242"/>
                <a:gd name="connsiteX5" fmla="*/ 15609 w 15608"/>
                <a:gd name="connsiteY5" fmla="*/ 16218 h 20242"/>
                <a:gd name="connsiteX6" fmla="*/ 14024 w 15608"/>
                <a:gd name="connsiteY6" fmla="*/ 12316 h 2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8" h="20242">
                  <a:moveTo>
                    <a:pt x="0" y="0"/>
                  </a:moveTo>
                  <a:lnTo>
                    <a:pt x="0" y="1341"/>
                  </a:lnTo>
                  <a:cubicBezTo>
                    <a:pt x="2088" y="6143"/>
                    <a:pt x="4794" y="10653"/>
                    <a:pt x="8048" y="14755"/>
                  </a:cubicBezTo>
                  <a:cubicBezTo>
                    <a:pt x="9335" y="15242"/>
                    <a:pt x="10531" y="15943"/>
                    <a:pt x="11584" y="16828"/>
                  </a:cubicBezTo>
                  <a:lnTo>
                    <a:pt x="15609" y="20242"/>
                  </a:lnTo>
                  <a:lnTo>
                    <a:pt x="15609" y="16218"/>
                  </a:lnTo>
                  <a:lnTo>
                    <a:pt x="14024" y="1231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0" name="Freihandform: Form 469">
              <a:extLst>
                <a:ext uri="{FF2B5EF4-FFF2-40B4-BE49-F238E27FC236}">
                  <a16:creationId xmlns:a16="http://schemas.microsoft.com/office/drawing/2014/main" id="{D2BC18F2-3C1E-4426-99D3-1F88BC549CDA}"/>
                </a:ext>
              </a:extLst>
            </p:cNvPr>
            <p:cNvSpPr/>
            <p:nvPr/>
          </p:nvSpPr>
          <p:spPr>
            <a:xfrm>
              <a:off x="7545424" y="3557063"/>
              <a:ext cx="13291" cy="10852"/>
            </a:xfrm>
            <a:custGeom>
              <a:avLst/>
              <a:gdLst>
                <a:gd name="connsiteX0" fmla="*/ 853 w 13291"/>
                <a:gd name="connsiteY0" fmla="*/ 0 h 10852"/>
                <a:gd name="connsiteX1" fmla="*/ 0 w 13291"/>
                <a:gd name="connsiteY1" fmla="*/ 3049 h 10852"/>
                <a:gd name="connsiteX2" fmla="*/ 10852 w 13291"/>
                <a:gd name="connsiteY2" fmla="*/ 10853 h 10852"/>
                <a:gd name="connsiteX3" fmla="*/ 13291 w 13291"/>
                <a:gd name="connsiteY3" fmla="*/ 9146 h 10852"/>
                <a:gd name="connsiteX4" fmla="*/ 7682 w 13291"/>
                <a:gd name="connsiteY4" fmla="*/ 1951 h 10852"/>
                <a:gd name="connsiteX5" fmla="*/ 853 w 13291"/>
                <a:gd name="connsiteY5" fmla="*/ 0 h 10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91" h="10852">
                  <a:moveTo>
                    <a:pt x="853" y="0"/>
                  </a:moveTo>
                  <a:lnTo>
                    <a:pt x="0" y="3049"/>
                  </a:lnTo>
                  <a:lnTo>
                    <a:pt x="10852" y="10853"/>
                  </a:lnTo>
                  <a:lnTo>
                    <a:pt x="13291" y="9146"/>
                  </a:lnTo>
                  <a:lnTo>
                    <a:pt x="7682" y="1951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1" name="Freihandform: Form 470">
              <a:extLst>
                <a:ext uri="{FF2B5EF4-FFF2-40B4-BE49-F238E27FC236}">
                  <a16:creationId xmlns:a16="http://schemas.microsoft.com/office/drawing/2014/main" id="{9F7D7827-FBCB-4E56-89B5-14883FBC5071}"/>
                </a:ext>
              </a:extLst>
            </p:cNvPr>
            <p:cNvSpPr/>
            <p:nvPr/>
          </p:nvSpPr>
          <p:spPr>
            <a:xfrm>
              <a:off x="7583226" y="3574745"/>
              <a:ext cx="25486" cy="15364"/>
            </a:xfrm>
            <a:custGeom>
              <a:avLst/>
              <a:gdLst>
                <a:gd name="connsiteX0" fmla="*/ 3293 w 25486"/>
                <a:gd name="connsiteY0" fmla="*/ 0 h 15364"/>
                <a:gd name="connsiteX1" fmla="*/ 0 w 25486"/>
                <a:gd name="connsiteY1" fmla="*/ 1585 h 15364"/>
                <a:gd name="connsiteX2" fmla="*/ 1219 w 25486"/>
                <a:gd name="connsiteY2" fmla="*/ 5487 h 15364"/>
                <a:gd name="connsiteX3" fmla="*/ 23535 w 25486"/>
                <a:gd name="connsiteY3" fmla="*/ 15365 h 15364"/>
                <a:gd name="connsiteX4" fmla="*/ 25486 w 25486"/>
                <a:gd name="connsiteY4" fmla="*/ 15365 h 15364"/>
                <a:gd name="connsiteX5" fmla="*/ 19754 w 25486"/>
                <a:gd name="connsiteY5" fmla="*/ 7804 h 15364"/>
                <a:gd name="connsiteX6" fmla="*/ 3293 w 25486"/>
                <a:gd name="connsiteY6" fmla="*/ 0 h 1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86" h="15364">
                  <a:moveTo>
                    <a:pt x="3293" y="0"/>
                  </a:moveTo>
                  <a:lnTo>
                    <a:pt x="0" y="1585"/>
                  </a:lnTo>
                  <a:lnTo>
                    <a:pt x="1219" y="5487"/>
                  </a:lnTo>
                  <a:lnTo>
                    <a:pt x="23535" y="15365"/>
                  </a:lnTo>
                  <a:lnTo>
                    <a:pt x="25486" y="15365"/>
                  </a:lnTo>
                  <a:lnTo>
                    <a:pt x="19754" y="7804"/>
                  </a:lnTo>
                  <a:lnTo>
                    <a:pt x="329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2" name="Freihandform: Form 471">
              <a:extLst>
                <a:ext uri="{FF2B5EF4-FFF2-40B4-BE49-F238E27FC236}">
                  <a16:creationId xmlns:a16="http://schemas.microsoft.com/office/drawing/2014/main" id="{9CC3114C-1B85-4C9F-A93D-31E9D1B5AD9D}"/>
                </a:ext>
              </a:extLst>
            </p:cNvPr>
            <p:cNvSpPr/>
            <p:nvPr/>
          </p:nvSpPr>
          <p:spPr>
            <a:xfrm>
              <a:off x="6676590" y="3640959"/>
              <a:ext cx="809204" cy="624707"/>
            </a:xfrm>
            <a:custGeom>
              <a:avLst/>
              <a:gdLst>
                <a:gd name="connsiteX0" fmla="*/ 797011 w 809204"/>
                <a:gd name="connsiteY0" fmla="*/ 334120 h 624707"/>
                <a:gd name="connsiteX1" fmla="*/ 800791 w 809204"/>
                <a:gd name="connsiteY1" fmla="*/ 304122 h 624707"/>
                <a:gd name="connsiteX2" fmla="*/ 800791 w 809204"/>
                <a:gd name="connsiteY2" fmla="*/ 304122 h 624707"/>
                <a:gd name="connsiteX3" fmla="*/ 795303 w 809204"/>
                <a:gd name="connsiteY3" fmla="*/ 311317 h 624707"/>
                <a:gd name="connsiteX4" fmla="*/ 784207 w 809204"/>
                <a:gd name="connsiteY4" fmla="*/ 294611 h 624707"/>
                <a:gd name="connsiteX5" fmla="*/ 773963 w 809204"/>
                <a:gd name="connsiteY5" fmla="*/ 277051 h 624707"/>
                <a:gd name="connsiteX6" fmla="*/ 764574 w 809204"/>
                <a:gd name="connsiteY6" fmla="*/ 271320 h 624707"/>
                <a:gd name="connsiteX7" fmla="*/ 750916 w 809204"/>
                <a:gd name="connsiteY7" fmla="*/ 257541 h 624707"/>
                <a:gd name="connsiteX8" fmla="*/ 749210 w 809204"/>
                <a:gd name="connsiteY8" fmla="*/ 245347 h 624707"/>
                <a:gd name="connsiteX9" fmla="*/ 744697 w 809204"/>
                <a:gd name="connsiteY9" fmla="*/ 246078 h 624707"/>
                <a:gd name="connsiteX10" fmla="*/ 735186 w 809204"/>
                <a:gd name="connsiteY10" fmla="*/ 248151 h 624707"/>
                <a:gd name="connsiteX11" fmla="*/ 721407 w 809204"/>
                <a:gd name="connsiteY11" fmla="*/ 235347 h 624707"/>
                <a:gd name="connsiteX12" fmla="*/ 722382 w 809204"/>
                <a:gd name="connsiteY12" fmla="*/ 216325 h 624707"/>
                <a:gd name="connsiteX13" fmla="*/ 713115 w 809204"/>
                <a:gd name="connsiteY13" fmla="*/ 204130 h 624707"/>
                <a:gd name="connsiteX14" fmla="*/ 711163 w 809204"/>
                <a:gd name="connsiteY14" fmla="*/ 193643 h 624707"/>
                <a:gd name="connsiteX15" fmla="*/ 708115 w 809204"/>
                <a:gd name="connsiteY15" fmla="*/ 189131 h 624707"/>
                <a:gd name="connsiteX16" fmla="*/ 694092 w 809204"/>
                <a:gd name="connsiteY16" fmla="*/ 187180 h 624707"/>
                <a:gd name="connsiteX17" fmla="*/ 685556 w 809204"/>
                <a:gd name="connsiteY17" fmla="*/ 175840 h 624707"/>
                <a:gd name="connsiteX18" fmla="*/ 668850 w 809204"/>
                <a:gd name="connsiteY18" fmla="*/ 173889 h 624707"/>
                <a:gd name="connsiteX19" fmla="*/ 665801 w 809204"/>
                <a:gd name="connsiteY19" fmla="*/ 157670 h 624707"/>
                <a:gd name="connsiteX20" fmla="*/ 660923 w 809204"/>
                <a:gd name="connsiteY20" fmla="*/ 148769 h 624707"/>
                <a:gd name="connsiteX21" fmla="*/ 656412 w 809204"/>
                <a:gd name="connsiteY21" fmla="*/ 124380 h 624707"/>
                <a:gd name="connsiteX22" fmla="*/ 645803 w 809204"/>
                <a:gd name="connsiteY22" fmla="*/ 113040 h 624707"/>
                <a:gd name="connsiteX23" fmla="*/ 643974 w 809204"/>
                <a:gd name="connsiteY23" fmla="*/ 79262 h 624707"/>
                <a:gd name="connsiteX24" fmla="*/ 637267 w 809204"/>
                <a:gd name="connsiteY24" fmla="*/ 76701 h 624707"/>
                <a:gd name="connsiteX25" fmla="*/ 628243 w 809204"/>
                <a:gd name="connsiteY25" fmla="*/ 70360 h 624707"/>
                <a:gd name="connsiteX26" fmla="*/ 624463 w 809204"/>
                <a:gd name="connsiteY26" fmla="*/ 69629 h 624707"/>
                <a:gd name="connsiteX27" fmla="*/ 618610 w 809204"/>
                <a:gd name="connsiteY27" fmla="*/ 79872 h 624707"/>
                <a:gd name="connsiteX28" fmla="*/ 613732 w 809204"/>
                <a:gd name="connsiteY28" fmla="*/ 56703 h 624707"/>
                <a:gd name="connsiteX29" fmla="*/ 603367 w 809204"/>
                <a:gd name="connsiteY29" fmla="*/ 36826 h 624707"/>
                <a:gd name="connsiteX30" fmla="*/ 602392 w 809204"/>
                <a:gd name="connsiteY30" fmla="*/ 24632 h 624707"/>
                <a:gd name="connsiteX31" fmla="*/ 595807 w 809204"/>
                <a:gd name="connsiteY31" fmla="*/ 17072 h 624707"/>
                <a:gd name="connsiteX32" fmla="*/ 594831 w 809204"/>
                <a:gd name="connsiteY32" fmla="*/ 4024 h 624707"/>
                <a:gd name="connsiteX33" fmla="*/ 590197 w 809204"/>
                <a:gd name="connsiteY33" fmla="*/ 0 h 624707"/>
                <a:gd name="connsiteX34" fmla="*/ 588369 w 809204"/>
                <a:gd name="connsiteY34" fmla="*/ 1341 h 624707"/>
                <a:gd name="connsiteX35" fmla="*/ 585563 w 809204"/>
                <a:gd name="connsiteY35" fmla="*/ 14145 h 624707"/>
                <a:gd name="connsiteX36" fmla="*/ 582515 w 809204"/>
                <a:gd name="connsiteY36" fmla="*/ 22315 h 624707"/>
                <a:gd name="connsiteX37" fmla="*/ 575930 w 809204"/>
                <a:gd name="connsiteY37" fmla="*/ 26949 h 624707"/>
                <a:gd name="connsiteX38" fmla="*/ 573736 w 809204"/>
                <a:gd name="connsiteY38" fmla="*/ 32802 h 624707"/>
                <a:gd name="connsiteX39" fmla="*/ 580808 w 809204"/>
                <a:gd name="connsiteY39" fmla="*/ 40851 h 624707"/>
                <a:gd name="connsiteX40" fmla="*/ 575686 w 809204"/>
                <a:gd name="connsiteY40" fmla="*/ 46094 h 624707"/>
                <a:gd name="connsiteX41" fmla="*/ 571541 w 809204"/>
                <a:gd name="connsiteY41" fmla="*/ 50972 h 624707"/>
                <a:gd name="connsiteX42" fmla="*/ 571541 w 809204"/>
                <a:gd name="connsiteY42" fmla="*/ 60849 h 624707"/>
                <a:gd name="connsiteX43" fmla="*/ 577394 w 809204"/>
                <a:gd name="connsiteY43" fmla="*/ 68653 h 624707"/>
                <a:gd name="connsiteX44" fmla="*/ 575321 w 809204"/>
                <a:gd name="connsiteY44" fmla="*/ 78043 h 624707"/>
                <a:gd name="connsiteX45" fmla="*/ 569589 w 809204"/>
                <a:gd name="connsiteY45" fmla="*/ 99017 h 624707"/>
                <a:gd name="connsiteX46" fmla="*/ 563858 w 809204"/>
                <a:gd name="connsiteY46" fmla="*/ 130721 h 624707"/>
                <a:gd name="connsiteX47" fmla="*/ 551664 w 809204"/>
                <a:gd name="connsiteY47" fmla="*/ 142184 h 624707"/>
                <a:gd name="connsiteX48" fmla="*/ 533007 w 809204"/>
                <a:gd name="connsiteY48" fmla="*/ 141087 h 624707"/>
                <a:gd name="connsiteX49" fmla="*/ 514837 w 809204"/>
                <a:gd name="connsiteY49" fmla="*/ 125844 h 624707"/>
                <a:gd name="connsiteX50" fmla="*/ 498741 w 809204"/>
                <a:gd name="connsiteY50" fmla="*/ 120113 h 624707"/>
                <a:gd name="connsiteX51" fmla="*/ 483011 w 809204"/>
                <a:gd name="connsiteY51" fmla="*/ 107309 h 624707"/>
                <a:gd name="connsiteX52" fmla="*/ 481304 w 809204"/>
                <a:gd name="connsiteY52" fmla="*/ 103285 h 624707"/>
                <a:gd name="connsiteX53" fmla="*/ 469109 w 809204"/>
                <a:gd name="connsiteY53" fmla="*/ 102309 h 624707"/>
                <a:gd name="connsiteX54" fmla="*/ 466061 w 809204"/>
                <a:gd name="connsiteY54" fmla="*/ 97066 h 624707"/>
                <a:gd name="connsiteX55" fmla="*/ 457037 w 809204"/>
                <a:gd name="connsiteY55" fmla="*/ 91700 h 624707"/>
                <a:gd name="connsiteX56" fmla="*/ 448013 w 809204"/>
                <a:gd name="connsiteY56" fmla="*/ 87188 h 624707"/>
                <a:gd name="connsiteX57" fmla="*/ 451550 w 809204"/>
                <a:gd name="connsiteY57" fmla="*/ 76335 h 624707"/>
                <a:gd name="connsiteX58" fmla="*/ 456915 w 809204"/>
                <a:gd name="connsiteY58" fmla="*/ 71945 h 624707"/>
                <a:gd name="connsiteX59" fmla="*/ 456915 w 809204"/>
                <a:gd name="connsiteY59" fmla="*/ 54874 h 624707"/>
                <a:gd name="connsiteX60" fmla="*/ 469109 w 809204"/>
                <a:gd name="connsiteY60" fmla="*/ 49752 h 624707"/>
                <a:gd name="connsiteX61" fmla="*/ 473012 w 809204"/>
                <a:gd name="connsiteY61" fmla="*/ 45850 h 624707"/>
                <a:gd name="connsiteX62" fmla="*/ 473865 w 809204"/>
                <a:gd name="connsiteY62" fmla="*/ 37192 h 624707"/>
                <a:gd name="connsiteX63" fmla="*/ 473865 w 809204"/>
                <a:gd name="connsiteY63" fmla="*/ 29754 h 624707"/>
                <a:gd name="connsiteX64" fmla="*/ 470451 w 809204"/>
                <a:gd name="connsiteY64" fmla="*/ 29144 h 624707"/>
                <a:gd name="connsiteX65" fmla="*/ 462403 w 809204"/>
                <a:gd name="connsiteY65" fmla="*/ 32193 h 624707"/>
                <a:gd name="connsiteX66" fmla="*/ 457281 w 809204"/>
                <a:gd name="connsiteY66" fmla="*/ 28168 h 624707"/>
                <a:gd name="connsiteX67" fmla="*/ 439478 w 809204"/>
                <a:gd name="connsiteY67" fmla="*/ 28168 h 624707"/>
                <a:gd name="connsiteX68" fmla="*/ 428137 w 809204"/>
                <a:gd name="connsiteY68" fmla="*/ 22437 h 624707"/>
                <a:gd name="connsiteX69" fmla="*/ 407163 w 809204"/>
                <a:gd name="connsiteY69" fmla="*/ 21462 h 624707"/>
                <a:gd name="connsiteX70" fmla="*/ 396798 w 809204"/>
                <a:gd name="connsiteY70" fmla="*/ 13901 h 624707"/>
                <a:gd name="connsiteX71" fmla="*/ 380702 w 809204"/>
                <a:gd name="connsiteY71" fmla="*/ 13048 h 624707"/>
                <a:gd name="connsiteX72" fmla="*/ 380702 w 809204"/>
                <a:gd name="connsiteY72" fmla="*/ 14389 h 624707"/>
                <a:gd name="connsiteX73" fmla="*/ 396310 w 809204"/>
                <a:gd name="connsiteY73" fmla="*/ 23169 h 624707"/>
                <a:gd name="connsiteX74" fmla="*/ 392408 w 809204"/>
                <a:gd name="connsiteY74" fmla="*/ 35363 h 624707"/>
                <a:gd name="connsiteX75" fmla="*/ 365337 w 809204"/>
                <a:gd name="connsiteY75" fmla="*/ 34388 h 624707"/>
                <a:gd name="connsiteX76" fmla="*/ 354972 w 809204"/>
                <a:gd name="connsiteY76" fmla="*/ 35241 h 624707"/>
                <a:gd name="connsiteX77" fmla="*/ 345705 w 809204"/>
                <a:gd name="connsiteY77" fmla="*/ 45362 h 624707"/>
                <a:gd name="connsiteX78" fmla="*/ 345705 w 809204"/>
                <a:gd name="connsiteY78" fmla="*/ 53410 h 624707"/>
                <a:gd name="connsiteX79" fmla="*/ 339607 w 809204"/>
                <a:gd name="connsiteY79" fmla="*/ 56459 h 624707"/>
                <a:gd name="connsiteX80" fmla="*/ 331925 w 809204"/>
                <a:gd name="connsiteY80" fmla="*/ 75238 h 624707"/>
                <a:gd name="connsiteX81" fmla="*/ 341802 w 809204"/>
                <a:gd name="connsiteY81" fmla="*/ 85115 h 624707"/>
                <a:gd name="connsiteX82" fmla="*/ 342900 w 809204"/>
                <a:gd name="connsiteY82" fmla="*/ 95236 h 624707"/>
                <a:gd name="connsiteX83" fmla="*/ 337778 w 809204"/>
                <a:gd name="connsiteY83" fmla="*/ 102187 h 624707"/>
                <a:gd name="connsiteX84" fmla="*/ 332047 w 809204"/>
                <a:gd name="connsiteY84" fmla="*/ 93163 h 624707"/>
                <a:gd name="connsiteX85" fmla="*/ 324609 w 809204"/>
                <a:gd name="connsiteY85" fmla="*/ 93895 h 624707"/>
                <a:gd name="connsiteX86" fmla="*/ 318146 w 809204"/>
                <a:gd name="connsiteY86" fmla="*/ 93895 h 624707"/>
                <a:gd name="connsiteX87" fmla="*/ 317170 w 809204"/>
                <a:gd name="connsiteY87" fmla="*/ 87310 h 624707"/>
                <a:gd name="connsiteX88" fmla="*/ 315219 w 809204"/>
                <a:gd name="connsiteY88" fmla="*/ 87310 h 624707"/>
                <a:gd name="connsiteX89" fmla="*/ 307049 w 809204"/>
                <a:gd name="connsiteY89" fmla="*/ 95480 h 624707"/>
                <a:gd name="connsiteX90" fmla="*/ 292294 w 809204"/>
                <a:gd name="connsiteY90" fmla="*/ 64019 h 624707"/>
                <a:gd name="connsiteX91" fmla="*/ 285831 w 809204"/>
                <a:gd name="connsiteY91" fmla="*/ 65483 h 624707"/>
                <a:gd name="connsiteX92" fmla="*/ 279002 w 809204"/>
                <a:gd name="connsiteY92" fmla="*/ 70360 h 624707"/>
                <a:gd name="connsiteX93" fmla="*/ 271686 w 809204"/>
                <a:gd name="connsiteY93" fmla="*/ 70360 h 624707"/>
                <a:gd name="connsiteX94" fmla="*/ 263882 w 809204"/>
                <a:gd name="connsiteY94" fmla="*/ 79018 h 624707"/>
                <a:gd name="connsiteX95" fmla="*/ 256199 w 809204"/>
                <a:gd name="connsiteY95" fmla="*/ 77067 h 624707"/>
                <a:gd name="connsiteX96" fmla="*/ 247420 w 809204"/>
                <a:gd name="connsiteY96" fmla="*/ 84262 h 624707"/>
                <a:gd name="connsiteX97" fmla="*/ 247420 w 809204"/>
                <a:gd name="connsiteY97" fmla="*/ 95724 h 624707"/>
                <a:gd name="connsiteX98" fmla="*/ 235225 w 809204"/>
                <a:gd name="connsiteY98" fmla="*/ 96700 h 624707"/>
                <a:gd name="connsiteX99" fmla="*/ 231445 w 809204"/>
                <a:gd name="connsiteY99" fmla="*/ 119503 h 624707"/>
                <a:gd name="connsiteX100" fmla="*/ 222300 w 809204"/>
                <a:gd name="connsiteY100" fmla="*/ 119503 h 624707"/>
                <a:gd name="connsiteX101" fmla="*/ 216934 w 809204"/>
                <a:gd name="connsiteY101" fmla="*/ 120234 h 624707"/>
                <a:gd name="connsiteX102" fmla="*/ 216081 w 809204"/>
                <a:gd name="connsiteY102" fmla="*/ 121820 h 624707"/>
                <a:gd name="connsiteX103" fmla="*/ 222543 w 809204"/>
                <a:gd name="connsiteY103" fmla="*/ 129502 h 624707"/>
                <a:gd name="connsiteX104" fmla="*/ 222543 w 809204"/>
                <a:gd name="connsiteY104" fmla="*/ 129502 h 624707"/>
                <a:gd name="connsiteX105" fmla="*/ 207179 w 809204"/>
                <a:gd name="connsiteY105" fmla="*/ 130843 h 624707"/>
                <a:gd name="connsiteX106" fmla="*/ 196814 w 809204"/>
                <a:gd name="connsiteY106" fmla="*/ 120478 h 624707"/>
                <a:gd name="connsiteX107" fmla="*/ 191814 w 809204"/>
                <a:gd name="connsiteY107" fmla="*/ 126819 h 624707"/>
                <a:gd name="connsiteX108" fmla="*/ 187180 w 809204"/>
                <a:gd name="connsiteY108" fmla="*/ 139745 h 624707"/>
                <a:gd name="connsiteX109" fmla="*/ 184864 w 809204"/>
                <a:gd name="connsiteY109" fmla="*/ 148403 h 624707"/>
                <a:gd name="connsiteX110" fmla="*/ 192180 w 809204"/>
                <a:gd name="connsiteY110" fmla="*/ 152671 h 624707"/>
                <a:gd name="connsiteX111" fmla="*/ 192180 w 809204"/>
                <a:gd name="connsiteY111" fmla="*/ 152671 h 624707"/>
                <a:gd name="connsiteX112" fmla="*/ 173157 w 809204"/>
                <a:gd name="connsiteY112" fmla="*/ 175840 h 624707"/>
                <a:gd name="connsiteX113" fmla="*/ 148037 w 809204"/>
                <a:gd name="connsiteY113" fmla="*/ 192180 h 624707"/>
                <a:gd name="connsiteX114" fmla="*/ 127673 w 809204"/>
                <a:gd name="connsiteY114" fmla="*/ 193156 h 624707"/>
                <a:gd name="connsiteX115" fmla="*/ 122064 w 809204"/>
                <a:gd name="connsiteY115" fmla="*/ 199618 h 624707"/>
                <a:gd name="connsiteX116" fmla="*/ 109870 w 809204"/>
                <a:gd name="connsiteY116" fmla="*/ 201570 h 624707"/>
                <a:gd name="connsiteX117" fmla="*/ 98407 w 809204"/>
                <a:gd name="connsiteY117" fmla="*/ 211935 h 624707"/>
                <a:gd name="connsiteX118" fmla="*/ 87432 w 809204"/>
                <a:gd name="connsiteY118" fmla="*/ 213032 h 624707"/>
                <a:gd name="connsiteX119" fmla="*/ 81823 w 809204"/>
                <a:gd name="connsiteY119" fmla="*/ 208398 h 624707"/>
                <a:gd name="connsiteX120" fmla="*/ 73897 w 809204"/>
                <a:gd name="connsiteY120" fmla="*/ 209984 h 624707"/>
                <a:gd name="connsiteX121" fmla="*/ 57800 w 809204"/>
                <a:gd name="connsiteY121" fmla="*/ 225104 h 624707"/>
                <a:gd name="connsiteX122" fmla="*/ 54020 w 809204"/>
                <a:gd name="connsiteY122" fmla="*/ 226933 h 624707"/>
                <a:gd name="connsiteX123" fmla="*/ 41826 w 809204"/>
                <a:gd name="connsiteY123" fmla="*/ 231567 h 624707"/>
                <a:gd name="connsiteX124" fmla="*/ 30607 w 809204"/>
                <a:gd name="connsiteY124" fmla="*/ 246200 h 624707"/>
                <a:gd name="connsiteX125" fmla="*/ 26583 w 809204"/>
                <a:gd name="connsiteY125" fmla="*/ 236811 h 624707"/>
                <a:gd name="connsiteX126" fmla="*/ 25120 w 809204"/>
                <a:gd name="connsiteY126" fmla="*/ 235713 h 624707"/>
                <a:gd name="connsiteX127" fmla="*/ 23657 w 809204"/>
                <a:gd name="connsiteY127" fmla="*/ 238152 h 624707"/>
                <a:gd name="connsiteX128" fmla="*/ 14389 w 809204"/>
                <a:gd name="connsiteY128" fmla="*/ 282661 h 624707"/>
                <a:gd name="connsiteX129" fmla="*/ 18901 w 809204"/>
                <a:gd name="connsiteY129" fmla="*/ 297172 h 624707"/>
                <a:gd name="connsiteX130" fmla="*/ 28534 w 809204"/>
                <a:gd name="connsiteY130" fmla="*/ 321560 h 624707"/>
                <a:gd name="connsiteX131" fmla="*/ 27315 w 809204"/>
                <a:gd name="connsiteY131" fmla="*/ 330950 h 624707"/>
                <a:gd name="connsiteX132" fmla="*/ 21584 w 809204"/>
                <a:gd name="connsiteY132" fmla="*/ 332901 h 624707"/>
                <a:gd name="connsiteX133" fmla="*/ 15609 w 809204"/>
                <a:gd name="connsiteY133" fmla="*/ 322536 h 624707"/>
                <a:gd name="connsiteX134" fmla="*/ 15609 w 809204"/>
                <a:gd name="connsiteY134" fmla="*/ 323877 h 624707"/>
                <a:gd name="connsiteX135" fmla="*/ 21950 w 809204"/>
                <a:gd name="connsiteY135" fmla="*/ 336681 h 624707"/>
                <a:gd name="connsiteX136" fmla="*/ 14877 w 809204"/>
                <a:gd name="connsiteY136" fmla="*/ 341924 h 624707"/>
                <a:gd name="connsiteX137" fmla="*/ 0 w 809204"/>
                <a:gd name="connsiteY137" fmla="*/ 317536 h 624707"/>
                <a:gd name="connsiteX138" fmla="*/ 0 w 809204"/>
                <a:gd name="connsiteY138" fmla="*/ 317536 h 624707"/>
                <a:gd name="connsiteX139" fmla="*/ 0 w 809204"/>
                <a:gd name="connsiteY139" fmla="*/ 317536 h 624707"/>
                <a:gd name="connsiteX140" fmla="*/ 17803 w 809204"/>
                <a:gd name="connsiteY140" fmla="*/ 345705 h 624707"/>
                <a:gd name="connsiteX141" fmla="*/ 19754 w 809204"/>
                <a:gd name="connsiteY141" fmla="*/ 354118 h 624707"/>
                <a:gd name="connsiteX142" fmla="*/ 26339 w 809204"/>
                <a:gd name="connsiteY142" fmla="*/ 364605 h 624707"/>
                <a:gd name="connsiteX143" fmla="*/ 27315 w 809204"/>
                <a:gd name="connsiteY143" fmla="*/ 371190 h 624707"/>
                <a:gd name="connsiteX144" fmla="*/ 39509 w 809204"/>
                <a:gd name="connsiteY144" fmla="*/ 386189 h 624707"/>
                <a:gd name="connsiteX145" fmla="*/ 40485 w 809204"/>
                <a:gd name="connsiteY145" fmla="*/ 393749 h 624707"/>
                <a:gd name="connsiteX146" fmla="*/ 41460 w 809204"/>
                <a:gd name="connsiteY146" fmla="*/ 426064 h 624707"/>
                <a:gd name="connsiteX147" fmla="*/ 50728 w 809204"/>
                <a:gd name="connsiteY147" fmla="*/ 438258 h 624707"/>
                <a:gd name="connsiteX148" fmla="*/ 58654 w 809204"/>
                <a:gd name="connsiteY148" fmla="*/ 466915 h 624707"/>
                <a:gd name="connsiteX149" fmla="*/ 54630 w 809204"/>
                <a:gd name="connsiteY149" fmla="*/ 474841 h 624707"/>
                <a:gd name="connsiteX150" fmla="*/ 51703 w 809204"/>
                <a:gd name="connsiteY150" fmla="*/ 498620 h 624707"/>
                <a:gd name="connsiteX151" fmla="*/ 43899 w 809204"/>
                <a:gd name="connsiteY151" fmla="*/ 500570 h 624707"/>
                <a:gd name="connsiteX152" fmla="*/ 41582 w 809204"/>
                <a:gd name="connsiteY152" fmla="*/ 508131 h 624707"/>
                <a:gd name="connsiteX153" fmla="*/ 44753 w 809204"/>
                <a:gd name="connsiteY153" fmla="*/ 516789 h 624707"/>
                <a:gd name="connsiteX154" fmla="*/ 62312 w 809204"/>
                <a:gd name="connsiteY154" fmla="*/ 521423 h 624707"/>
                <a:gd name="connsiteX155" fmla="*/ 69751 w 809204"/>
                <a:gd name="connsiteY155" fmla="*/ 529837 h 624707"/>
                <a:gd name="connsiteX156" fmla="*/ 87676 w 809204"/>
                <a:gd name="connsiteY156" fmla="*/ 532519 h 624707"/>
                <a:gd name="connsiteX157" fmla="*/ 108650 w 809204"/>
                <a:gd name="connsiteY157" fmla="*/ 532519 h 624707"/>
                <a:gd name="connsiteX158" fmla="*/ 111089 w 809204"/>
                <a:gd name="connsiteY158" fmla="*/ 530690 h 624707"/>
                <a:gd name="connsiteX159" fmla="*/ 112064 w 809204"/>
                <a:gd name="connsiteY159" fmla="*/ 520691 h 624707"/>
                <a:gd name="connsiteX160" fmla="*/ 126210 w 809204"/>
                <a:gd name="connsiteY160" fmla="*/ 517642 h 624707"/>
                <a:gd name="connsiteX161" fmla="*/ 132795 w 809204"/>
                <a:gd name="connsiteY161" fmla="*/ 511057 h 624707"/>
                <a:gd name="connsiteX162" fmla="*/ 151817 w 809204"/>
                <a:gd name="connsiteY162" fmla="*/ 505326 h 624707"/>
                <a:gd name="connsiteX163" fmla="*/ 157792 w 809204"/>
                <a:gd name="connsiteY163" fmla="*/ 500449 h 624707"/>
                <a:gd name="connsiteX164" fmla="*/ 190351 w 809204"/>
                <a:gd name="connsiteY164" fmla="*/ 501424 h 624707"/>
                <a:gd name="connsiteX165" fmla="*/ 194985 w 809204"/>
                <a:gd name="connsiteY165" fmla="*/ 504229 h 624707"/>
                <a:gd name="connsiteX166" fmla="*/ 207911 w 809204"/>
                <a:gd name="connsiteY166" fmla="*/ 504229 h 624707"/>
                <a:gd name="connsiteX167" fmla="*/ 216934 w 809204"/>
                <a:gd name="connsiteY167" fmla="*/ 497644 h 624707"/>
                <a:gd name="connsiteX168" fmla="*/ 216934 w 809204"/>
                <a:gd name="connsiteY168" fmla="*/ 491059 h 624707"/>
                <a:gd name="connsiteX169" fmla="*/ 235469 w 809204"/>
                <a:gd name="connsiteY169" fmla="*/ 478865 h 624707"/>
                <a:gd name="connsiteX170" fmla="*/ 247663 w 809204"/>
                <a:gd name="connsiteY170" fmla="*/ 479840 h 624707"/>
                <a:gd name="connsiteX171" fmla="*/ 263516 w 809204"/>
                <a:gd name="connsiteY171" fmla="*/ 465817 h 624707"/>
                <a:gd name="connsiteX172" fmla="*/ 291319 w 809204"/>
                <a:gd name="connsiteY172" fmla="*/ 463866 h 624707"/>
                <a:gd name="connsiteX173" fmla="*/ 319975 w 809204"/>
                <a:gd name="connsiteY173" fmla="*/ 452525 h 624707"/>
                <a:gd name="connsiteX174" fmla="*/ 364240 w 809204"/>
                <a:gd name="connsiteY174" fmla="*/ 448623 h 624707"/>
                <a:gd name="connsiteX175" fmla="*/ 386677 w 809204"/>
                <a:gd name="connsiteY175" fmla="*/ 464598 h 624707"/>
                <a:gd name="connsiteX176" fmla="*/ 397773 w 809204"/>
                <a:gd name="connsiteY176" fmla="*/ 460818 h 624707"/>
                <a:gd name="connsiteX177" fmla="*/ 419113 w 809204"/>
                <a:gd name="connsiteY177" fmla="*/ 468012 h 624707"/>
                <a:gd name="connsiteX178" fmla="*/ 429722 w 809204"/>
                <a:gd name="connsiteY178" fmla="*/ 488254 h 624707"/>
                <a:gd name="connsiteX179" fmla="*/ 441307 w 809204"/>
                <a:gd name="connsiteY179" fmla="*/ 498863 h 624707"/>
                <a:gd name="connsiteX180" fmla="*/ 443380 w 809204"/>
                <a:gd name="connsiteY180" fmla="*/ 513862 h 624707"/>
                <a:gd name="connsiteX181" fmla="*/ 439234 w 809204"/>
                <a:gd name="connsiteY181" fmla="*/ 518861 h 624707"/>
                <a:gd name="connsiteX182" fmla="*/ 442526 w 809204"/>
                <a:gd name="connsiteY182" fmla="*/ 522764 h 624707"/>
                <a:gd name="connsiteX183" fmla="*/ 456062 w 809204"/>
                <a:gd name="connsiteY183" fmla="*/ 528739 h 624707"/>
                <a:gd name="connsiteX184" fmla="*/ 464354 w 809204"/>
                <a:gd name="connsiteY184" fmla="*/ 522642 h 624707"/>
                <a:gd name="connsiteX185" fmla="*/ 462524 w 809204"/>
                <a:gd name="connsiteY185" fmla="*/ 513496 h 624707"/>
                <a:gd name="connsiteX186" fmla="*/ 480694 w 809204"/>
                <a:gd name="connsiteY186" fmla="*/ 492522 h 624707"/>
                <a:gd name="connsiteX187" fmla="*/ 486547 w 809204"/>
                <a:gd name="connsiteY187" fmla="*/ 488376 h 624707"/>
                <a:gd name="connsiteX188" fmla="*/ 487644 w 809204"/>
                <a:gd name="connsiteY188" fmla="*/ 479718 h 624707"/>
                <a:gd name="connsiteX189" fmla="*/ 502034 w 809204"/>
                <a:gd name="connsiteY189" fmla="*/ 481060 h 624707"/>
                <a:gd name="connsiteX190" fmla="*/ 502034 w 809204"/>
                <a:gd name="connsiteY190" fmla="*/ 481060 h 624707"/>
                <a:gd name="connsiteX191" fmla="*/ 500936 w 809204"/>
                <a:gd name="connsiteY191" fmla="*/ 497888 h 624707"/>
                <a:gd name="connsiteX192" fmla="*/ 492400 w 809204"/>
                <a:gd name="connsiteY192" fmla="*/ 509228 h 624707"/>
                <a:gd name="connsiteX193" fmla="*/ 490449 w 809204"/>
                <a:gd name="connsiteY193" fmla="*/ 523739 h 624707"/>
                <a:gd name="connsiteX194" fmla="*/ 483255 w 809204"/>
                <a:gd name="connsiteY194" fmla="*/ 529958 h 624707"/>
                <a:gd name="connsiteX195" fmla="*/ 479231 w 809204"/>
                <a:gd name="connsiteY195" fmla="*/ 533129 h 624707"/>
                <a:gd name="connsiteX196" fmla="*/ 479231 w 809204"/>
                <a:gd name="connsiteY196" fmla="*/ 538494 h 624707"/>
                <a:gd name="connsiteX197" fmla="*/ 487644 w 809204"/>
                <a:gd name="connsiteY197" fmla="*/ 538494 h 624707"/>
                <a:gd name="connsiteX198" fmla="*/ 495815 w 809204"/>
                <a:gd name="connsiteY198" fmla="*/ 530324 h 624707"/>
                <a:gd name="connsiteX199" fmla="*/ 495815 w 809204"/>
                <a:gd name="connsiteY199" fmla="*/ 520325 h 624707"/>
                <a:gd name="connsiteX200" fmla="*/ 509594 w 809204"/>
                <a:gd name="connsiteY200" fmla="*/ 521544 h 624707"/>
                <a:gd name="connsiteX201" fmla="*/ 517032 w 809204"/>
                <a:gd name="connsiteY201" fmla="*/ 533738 h 624707"/>
                <a:gd name="connsiteX202" fmla="*/ 517032 w 809204"/>
                <a:gd name="connsiteY202" fmla="*/ 533738 h 624707"/>
                <a:gd name="connsiteX203" fmla="*/ 504838 w 809204"/>
                <a:gd name="connsiteY203" fmla="*/ 539470 h 624707"/>
                <a:gd name="connsiteX204" fmla="*/ 507399 w 809204"/>
                <a:gd name="connsiteY204" fmla="*/ 545201 h 624707"/>
                <a:gd name="connsiteX205" fmla="*/ 525324 w 809204"/>
                <a:gd name="connsiteY205" fmla="*/ 549957 h 624707"/>
                <a:gd name="connsiteX206" fmla="*/ 529471 w 809204"/>
                <a:gd name="connsiteY206" fmla="*/ 559102 h 624707"/>
                <a:gd name="connsiteX207" fmla="*/ 537518 w 809204"/>
                <a:gd name="connsiteY207" fmla="*/ 568126 h 624707"/>
                <a:gd name="connsiteX208" fmla="*/ 533860 w 809204"/>
                <a:gd name="connsiteY208" fmla="*/ 581174 h 624707"/>
                <a:gd name="connsiteX209" fmla="*/ 542641 w 809204"/>
                <a:gd name="connsiteY209" fmla="*/ 588246 h 624707"/>
                <a:gd name="connsiteX210" fmla="*/ 546421 w 809204"/>
                <a:gd name="connsiteY210" fmla="*/ 599465 h 624707"/>
                <a:gd name="connsiteX211" fmla="*/ 554956 w 809204"/>
                <a:gd name="connsiteY211" fmla="*/ 604586 h 624707"/>
                <a:gd name="connsiteX212" fmla="*/ 567150 w 809204"/>
                <a:gd name="connsiteY212" fmla="*/ 607391 h 624707"/>
                <a:gd name="connsiteX213" fmla="*/ 572272 w 809204"/>
                <a:gd name="connsiteY213" fmla="*/ 612635 h 624707"/>
                <a:gd name="connsiteX214" fmla="*/ 577394 w 809204"/>
                <a:gd name="connsiteY214" fmla="*/ 611659 h 624707"/>
                <a:gd name="connsiteX215" fmla="*/ 579955 w 809204"/>
                <a:gd name="connsiteY215" fmla="*/ 611659 h 624707"/>
                <a:gd name="connsiteX216" fmla="*/ 613732 w 809204"/>
                <a:gd name="connsiteY216" fmla="*/ 624707 h 624707"/>
                <a:gd name="connsiteX217" fmla="*/ 613000 w 809204"/>
                <a:gd name="connsiteY217" fmla="*/ 615317 h 624707"/>
                <a:gd name="connsiteX218" fmla="*/ 623975 w 809204"/>
                <a:gd name="connsiteY218" fmla="*/ 609342 h 624707"/>
                <a:gd name="connsiteX219" fmla="*/ 631048 w 809204"/>
                <a:gd name="connsiteY219" fmla="*/ 595319 h 624707"/>
                <a:gd name="connsiteX220" fmla="*/ 651656 w 809204"/>
                <a:gd name="connsiteY220" fmla="*/ 598734 h 624707"/>
                <a:gd name="connsiteX221" fmla="*/ 649583 w 809204"/>
                <a:gd name="connsiteY221" fmla="*/ 612025 h 624707"/>
                <a:gd name="connsiteX222" fmla="*/ 657631 w 809204"/>
                <a:gd name="connsiteY222" fmla="*/ 619951 h 624707"/>
                <a:gd name="connsiteX223" fmla="*/ 672386 w 809204"/>
                <a:gd name="connsiteY223" fmla="*/ 618244 h 624707"/>
                <a:gd name="connsiteX224" fmla="*/ 684580 w 809204"/>
                <a:gd name="connsiteY224" fmla="*/ 613123 h 624707"/>
                <a:gd name="connsiteX225" fmla="*/ 686287 w 809204"/>
                <a:gd name="connsiteY225" fmla="*/ 605196 h 624707"/>
                <a:gd name="connsiteX226" fmla="*/ 694701 w 809204"/>
                <a:gd name="connsiteY226" fmla="*/ 594831 h 624707"/>
                <a:gd name="connsiteX227" fmla="*/ 706164 w 809204"/>
                <a:gd name="connsiteY227" fmla="*/ 591417 h 624707"/>
                <a:gd name="connsiteX228" fmla="*/ 736771 w 809204"/>
                <a:gd name="connsiteY228" fmla="*/ 583369 h 624707"/>
                <a:gd name="connsiteX229" fmla="*/ 737625 w 809204"/>
                <a:gd name="connsiteY229" fmla="*/ 574589 h 624707"/>
                <a:gd name="connsiteX230" fmla="*/ 736649 w 809204"/>
                <a:gd name="connsiteY230" fmla="*/ 555200 h 624707"/>
                <a:gd name="connsiteX231" fmla="*/ 752624 w 809204"/>
                <a:gd name="connsiteY231" fmla="*/ 524227 h 624707"/>
                <a:gd name="connsiteX232" fmla="*/ 750673 w 809204"/>
                <a:gd name="connsiteY232" fmla="*/ 516545 h 624707"/>
                <a:gd name="connsiteX233" fmla="*/ 765062 w 809204"/>
                <a:gd name="connsiteY233" fmla="*/ 494595 h 624707"/>
                <a:gd name="connsiteX234" fmla="*/ 765062 w 809204"/>
                <a:gd name="connsiteY234" fmla="*/ 485937 h 624707"/>
                <a:gd name="connsiteX235" fmla="*/ 786402 w 809204"/>
                <a:gd name="connsiteY235" fmla="*/ 459842 h 624707"/>
                <a:gd name="connsiteX236" fmla="*/ 792499 w 809204"/>
                <a:gd name="connsiteY236" fmla="*/ 451062 h 624707"/>
                <a:gd name="connsiteX237" fmla="*/ 792499 w 809204"/>
                <a:gd name="connsiteY237" fmla="*/ 443502 h 624707"/>
                <a:gd name="connsiteX238" fmla="*/ 801035 w 809204"/>
                <a:gd name="connsiteY238" fmla="*/ 432161 h 624707"/>
                <a:gd name="connsiteX239" fmla="*/ 801035 w 809204"/>
                <a:gd name="connsiteY239" fmla="*/ 427284 h 624707"/>
                <a:gd name="connsiteX240" fmla="*/ 799083 w 809204"/>
                <a:gd name="connsiteY240" fmla="*/ 412773 h 624707"/>
                <a:gd name="connsiteX241" fmla="*/ 804815 w 809204"/>
                <a:gd name="connsiteY241" fmla="*/ 395701 h 624707"/>
                <a:gd name="connsiteX242" fmla="*/ 804815 w 809204"/>
                <a:gd name="connsiteY242" fmla="*/ 370093 h 624707"/>
                <a:gd name="connsiteX243" fmla="*/ 809205 w 809204"/>
                <a:gd name="connsiteY243" fmla="*/ 357899 h 624707"/>
                <a:gd name="connsiteX244" fmla="*/ 800181 w 809204"/>
                <a:gd name="connsiteY244" fmla="*/ 347168 h 62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</a:cxnLst>
              <a:rect l="l" t="t" r="r" b="b"/>
              <a:pathLst>
                <a:path w="809204" h="624707">
                  <a:moveTo>
                    <a:pt x="797011" y="334120"/>
                  </a:moveTo>
                  <a:lnTo>
                    <a:pt x="800791" y="304122"/>
                  </a:lnTo>
                  <a:lnTo>
                    <a:pt x="800791" y="304122"/>
                  </a:lnTo>
                  <a:lnTo>
                    <a:pt x="795303" y="311317"/>
                  </a:lnTo>
                  <a:lnTo>
                    <a:pt x="784207" y="294611"/>
                  </a:lnTo>
                  <a:lnTo>
                    <a:pt x="773963" y="277051"/>
                  </a:lnTo>
                  <a:lnTo>
                    <a:pt x="764574" y="271320"/>
                  </a:lnTo>
                  <a:lnTo>
                    <a:pt x="750916" y="257541"/>
                  </a:lnTo>
                  <a:lnTo>
                    <a:pt x="749210" y="245347"/>
                  </a:lnTo>
                  <a:lnTo>
                    <a:pt x="744697" y="246078"/>
                  </a:lnTo>
                  <a:lnTo>
                    <a:pt x="735186" y="248151"/>
                  </a:lnTo>
                  <a:lnTo>
                    <a:pt x="721407" y="235347"/>
                  </a:lnTo>
                  <a:lnTo>
                    <a:pt x="722382" y="216325"/>
                  </a:lnTo>
                  <a:lnTo>
                    <a:pt x="713115" y="204130"/>
                  </a:lnTo>
                  <a:lnTo>
                    <a:pt x="711163" y="193643"/>
                  </a:lnTo>
                  <a:lnTo>
                    <a:pt x="708115" y="189131"/>
                  </a:lnTo>
                  <a:lnTo>
                    <a:pt x="694092" y="187180"/>
                  </a:lnTo>
                  <a:lnTo>
                    <a:pt x="685556" y="175840"/>
                  </a:lnTo>
                  <a:lnTo>
                    <a:pt x="668850" y="173889"/>
                  </a:lnTo>
                  <a:lnTo>
                    <a:pt x="665801" y="157670"/>
                  </a:lnTo>
                  <a:lnTo>
                    <a:pt x="660923" y="148769"/>
                  </a:lnTo>
                  <a:lnTo>
                    <a:pt x="656412" y="124380"/>
                  </a:lnTo>
                  <a:lnTo>
                    <a:pt x="645803" y="113040"/>
                  </a:lnTo>
                  <a:lnTo>
                    <a:pt x="643974" y="79262"/>
                  </a:lnTo>
                  <a:lnTo>
                    <a:pt x="637267" y="76701"/>
                  </a:lnTo>
                  <a:lnTo>
                    <a:pt x="628243" y="70360"/>
                  </a:lnTo>
                  <a:lnTo>
                    <a:pt x="624463" y="69629"/>
                  </a:lnTo>
                  <a:lnTo>
                    <a:pt x="618610" y="79872"/>
                  </a:lnTo>
                  <a:lnTo>
                    <a:pt x="613732" y="56703"/>
                  </a:lnTo>
                  <a:lnTo>
                    <a:pt x="603367" y="36826"/>
                  </a:lnTo>
                  <a:lnTo>
                    <a:pt x="602392" y="24632"/>
                  </a:lnTo>
                  <a:lnTo>
                    <a:pt x="595807" y="17072"/>
                  </a:lnTo>
                  <a:lnTo>
                    <a:pt x="594831" y="4024"/>
                  </a:lnTo>
                  <a:lnTo>
                    <a:pt x="590197" y="0"/>
                  </a:lnTo>
                  <a:lnTo>
                    <a:pt x="588369" y="1341"/>
                  </a:lnTo>
                  <a:lnTo>
                    <a:pt x="585563" y="14145"/>
                  </a:lnTo>
                  <a:lnTo>
                    <a:pt x="582515" y="22315"/>
                  </a:lnTo>
                  <a:lnTo>
                    <a:pt x="575930" y="26949"/>
                  </a:lnTo>
                  <a:lnTo>
                    <a:pt x="573736" y="32802"/>
                  </a:lnTo>
                  <a:lnTo>
                    <a:pt x="580808" y="40851"/>
                  </a:lnTo>
                  <a:lnTo>
                    <a:pt x="575686" y="46094"/>
                  </a:lnTo>
                  <a:lnTo>
                    <a:pt x="571541" y="50972"/>
                  </a:lnTo>
                  <a:lnTo>
                    <a:pt x="571541" y="60849"/>
                  </a:lnTo>
                  <a:lnTo>
                    <a:pt x="577394" y="68653"/>
                  </a:lnTo>
                  <a:lnTo>
                    <a:pt x="575321" y="78043"/>
                  </a:lnTo>
                  <a:lnTo>
                    <a:pt x="569589" y="99017"/>
                  </a:lnTo>
                  <a:lnTo>
                    <a:pt x="563858" y="130721"/>
                  </a:lnTo>
                  <a:lnTo>
                    <a:pt x="551664" y="142184"/>
                  </a:lnTo>
                  <a:lnTo>
                    <a:pt x="533007" y="141087"/>
                  </a:lnTo>
                  <a:lnTo>
                    <a:pt x="514837" y="125844"/>
                  </a:lnTo>
                  <a:lnTo>
                    <a:pt x="498741" y="120113"/>
                  </a:lnTo>
                  <a:lnTo>
                    <a:pt x="483011" y="107309"/>
                  </a:lnTo>
                  <a:lnTo>
                    <a:pt x="481304" y="103285"/>
                  </a:lnTo>
                  <a:lnTo>
                    <a:pt x="469109" y="102309"/>
                  </a:lnTo>
                  <a:lnTo>
                    <a:pt x="466061" y="97066"/>
                  </a:lnTo>
                  <a:lnTo>
                    <a:pt x="457037" y="91700"/>
                  </a:lnTo>
                  <a:lnTo>
                    <a:pt x="448013" y="87188"/>
                  </a:lnTo>
                  <a:lnTo>
                    <a:pt x="451550" y="76335"/>
                  </a:lnTo>
                  <a:lnTo>
                    <a:pt x="456915" y="71945"/>
                  </a:lnTo>
                  <a:lnTo>
                    <a:pt x="456915" y="54874"/>
                  </a:lnTo>
                  <a:lnTo>
                    <a:pt x="469109" y="49752"/>
                  </a:lnTo>
                  <a:lnTo>
                    <a:pt x="473012" y="45850"/>
                  </a:lnTo>
                  <a:lnTo>
                    <a:pt x="473865" y="37192"/>
                  </a:lnTo>
                  <a:lnTo>
                    <a:pt x="473865" y="29754"/>
                  </a:lnTo>
                  <a:lnTo>
                    <a:pt x="470451" y="29144"/>
                  </a:lnTo>
                  <a:lnTo>
                    <a:pt x="462403" y="32193"/>
                  </a:lnTo>
                  <a:lnTo>
                    <a:pt x="457281" y="28168"/>
                  </a:lnTo>
                  <a:lnTo>
                    <a:pt x="439478" y="28168"/>
                  </a:lnTo>
                  <a:lnTo>
                    <a:pt x="428137" y="22437"/>
                  </a:lnTo>
                  <a:lnTo>
                    <a:pt x="407163" y="21462"/>
                  </a:lnTo>
                  <a:lnTo>
                    <a:pt x="396798" y="13901"/>
                  </a:lnTo>
                  <a:lnTo>
                    <a:pt x="380702" y="13048"/>
                  </a:lnTo>
                  <a:lnTo>
                    <a:pt x="380702" y="14389"/>
                  </a:lnTo>
                  <a:lnTo>
                    <a:pt x="396310" y="23169"/>
                  </a:lnTo>
                  <a:lnTo>
                    <a:pt x="392408" y="35363"/>
                  </a:lnTo>
                  <a:lnTo>
                    <a:pt x="365337" y="34388"/>
                  </a:lnTo>
                  <a:lnTo>
                    <a:pt x="354972" y="35241"/>
                  </a:lnTo>
                  <a:lnTo>
                    <a:pt x="345705" y="45362"/>
                  </a:lnTo>
                  <a:lnTo>
                    <a:pt x="345705" y="53410"/>
                  </a:lnTo>
                  <a:lnTo>
                    <a:pt x="339607" y="56459"/>
                  </a:lnTo>
                  <a:lnTo>
                    <a:pt x="331925" y="75238"/>
                  </a:lnTo>
                  <a:lnTo>
                    <a:pt x="341802" y="85115"/>
                  </a:lnTo>
                  <a:lnTo>
                    <a:pt x="342900" y="95236"/>
                  </a:lnTo>
                  <a:lnTo>
                    <a:pt x="337778" y="102187"/>
                  </a:lnTo>
                  <a:lnTo>
                    <a:pt x="332047" y="93163"/>
                  </a:lnTo>
                  <a:lnTo>
                    <a:pt x="324609" y="93895"/>
                  </a:lnTo>
                  <a:lnTo>
                    <a:pt x="318146" y="93895"/>
                  </a:lnTo>
                  <a:lnTo>
                    <a:pt x="317170" y="87310"/>
                  </a:lnTo>
                  <a:lnTo>
                    <a:pt x="315219" y="87310"/>
                  </a:lnTo>
                  <a:lnTo>
                    <a:pt x="307049" y="95480"/>
                  </a:lnTo>
                  <a:lnTo>
                    <a:pt x="292294" y="64019"/>
                  </a:lnTo>
                  <a:lnTo>
                    <a:pt x="285831" y="65483"/>
                  </a:lnTo>
                  <a:lnTo>
                    <a:pt x="279002" y="70360"/>
                  </a:lnTo>
                  <a:lnTo>
                    <a:pt x="271686" y="70360"/>
                  </a:lnTo>
                  <a:lnTo>
                    <a:pt x="263882" y="79018"/>
                  </a:lnTo>
                  <a:lnTo>
                    <a:pt x="256199" y="77067"/>
                  </a:lnTo>
                  <a:lnTo>
                    <a:pt x="247420" y="84262"/>
                  </a:lnTo>
                  <a:lnTo>
                    <a:pt x="247420" y="95724"/>
                  </a:lnTo>
                  <a:lnTo>
                    <a:pt x="235225" y="96700"/>
                  </a:lnTo>
                  <a:lnTo>
                    <a:pt x="231445" y="119503"/>
                  </a:lnTo>
                  <a:lnTo>
                    <a:pt x="222300" y="119503"/>
                  </a:lnTo>
                  <a:lnTo>
                    <a:pt x="216934" y="120234"/>
                  </a:lnTo>
                  <a:lnTo>
                    <a:pt x="216081" y="121820"/>
                  </a:lnTo>
                  <a:lnTo>
                    <a:pt x="222543" y="129502"/>
                  </a:lnTo>
                  <a:lnTo>
                    <a:pt x="222543" y="129502"/>
                  </a:lnTo>
                  <a:lnTo>
                    <a:pt x="207179" y="130843"/>
                  </a:lnTo>
                  <a:lnTo>
                    <a:pt x="196814" y="120478"/>
                  </a:lnTo>
                  <a:lnTo>
                    <a:pt x="191814" y="126819"/>
                  </a:lnTo>
                  <a:lnTo>
                    <a:pt x="187180" y="139745"/>
                  </a:lnTo>
                  <a:lnTo>
                    <a:pt x="184864" y="148403"/>
                  </a:lnTo>
                  <a:lnTo>
                    <a:pt x="192180" y="152671"/>
                  </a:lnTo>
                  <a:lnTo>
                    <a:pt x="192180" y="152671"/>
                  </a:lnTo>
                  <a:lnTo>
                    <a:pt x="173157" y="175840"/>
                  </a:lnTo>
                  <a:lnTo>
                    <a:pt x="148037" y="192180"/>
                  </a:lnTo>
                  <a:lnTo>
                    <a:pt x="127673" y="193156"/>
                  </a:lnTo>
                  <a:lnTo>
                    <a:pt x="122064" y="199618"/>
                  </a:lnTo>
                  <a:lnTo>
                    <a:pt x="109870" y="201570"/>
                  </a:lnTo>
                  <a:lnTo>
                    <a:pt x="98407" y="211935"/>
                  </a:lnTo>
                  <a:lnTo>
                    <a:pt x="87432" y="213032"/>
                  </a:lnTo>
                  <a:lnTo>
                    <a:pt x="81823" y="208398"/>
                  </a:lnTo>
                  <a:lnTo>
                    <a:pt x="73897" y="209984"/>
                  </a:lnTo>
                  <a:lnTo>
                    <a:pt x="57800" y="225104"/>
                  </a:lnTo>
                  <a:lnTo>
                    <a:pt x="54020" y="226933"/>
                  </a:lnTo>
                  <a:lnTo>
                    <a:pt x="41826" y="231567"/>
                  </a:lnTo>
                  <a:lnTo>
                    <a:pt x="30607" y="246200"/>
                  </a:lnTo>
                  <a:lnTo>
                    <a:pt x="26583" y="236811"/>
                  </a:lnTo>
                  <a:lnTo>
                    <a:pt x="25120" y="235713"/>
                  </a:lnTo>
                  <a:lnTo>
                    <a:pt x="23657" y="238152"/>
                  </a:lnTo>
                  <a:lnTo>
                    <a:pt x="14389" y="282661"/>
                  </a:lnTo>
                  <a:lnTo>
                    <a:pt x="18901" y="297172"/>
                  </a:lnTo>
                  <a:lnTo>
                    <a:pt x="28534" y="321560"/>
                  </a:lnTo>
                  <a:lnTo>
                    <a:pt x="27315" y="330950"/>
                  </a:lnTo>
                  <a:lnTo>
                    <a:pt x="21584" y="332901"/>
                  </a:lnTo>
                  <a:lnTo>
                    <a:pt x="15609" y="322536"/>
                  </a:lnTo>
                  <a:lnTo>
                    <a:pt x="15609" y="323877"/>
                  </a:lnTo>
                  <a:lnTo>
                    <a:pt x="21950" y="336681"/>
                  </a:lnTo>
                  <a:lnTo>
                    <a:pt x="14877" y="341924"/>
                  </a:lnTo>
                  <a:lnTo>
                    <a:pt x="0" y="317536"/>
                  </a:lnTo>
                  <a:lnTo>
                    <a:pt x="0" y="317536"/>
                  </a:lnTo>
                  <a:lnTo>
                    <a:pt x="0" y="317536"/>
                  </a:lnTo>
                  <a:lnTo>
                    <a:pt x="17803" y="345705"/>
                  </a:lnTo>
                  <a:lnTo>
                    <a:pt x="19754" y="354118"/>
                  </a:lnTo>
                  <a:lnTo>
                    <a:pt x="26339" y="364605"/>
                  </a:lnTo>
                  <a:lnTo>
                    <a:pt x="27315" y="371190"/>
                  </a:lnTo>
                  <a:lnTo>
                    <a:pt x="39509" y="386189"/>
                  </a:lnTo>
                  <a:lnTo>
                    <a:pt x="40485" y="393749"/>
                  </a:lnTo>
                  <a:lnTo>
                    <a:pt x="41460" y="426064"/>
                  </a:lnTo>
                  <a:lnTo>
                    <a:pt x="50728" y="438258"/>
                  </a:lnTo>
                  <a:lnTo>
                    <a:pt x="58654" y="466915"/>
                  </a:lnTo>
                  <a:lnTo>
                    <a:pt x="54630" y="474841"/>
                  </a:lnTo>
                  <a:lnTo>
                    <a:pt x="51703" y="498620"/>
                  </a:lnTo>
                  <a:lnTo>
                    <a:pt x="43899" y="500570"/>
                  </a:lnTo>
                  <a:lnTo>
                    <a:pt x="41582" y="508131"/>
                  </a:lnTo>
                  <a:lnTo>
                    <a:pt x="44753" y="516789"/>
                  </a:lnTo>
                  <a:lnTo>
                    <a:pt x="62312" y="521423"/>
                  </a:lnTo>
                  <a:lnTo>
                    <a:pt x="69751" y="529837"/>
                  </a:lnTo>
                  <a:lnTo>
                    <a:pt x="87676" y="532519"/>
                  </a:lnTo>
                  <a:lnTo>
                    <a:pt x="108650" y="532519"/>
                  </a:lnTo>
                  <a:lnTo>
                    <a:pt x="111089" y="530690"/>
                  </a:lnTo>
                  <a:lnTo>
                    <a:pt x="112064" y="520691"/>
                  </a:lnTo>
                  <a:lnTo>
                    <a:pt x="126210" y="517642"/>
                  </a:lnTo>
                  <a:lnTo>
                    <a:pt x="132795" y="511057"/>
                  </a:lnTo>
                  <a:lnTo>
                    <a:pt x="151817" y="505326"/>
                  </a:lnTo>
                  <a:lnTo>
                    <a:pt x="157792" y="500449"/>
                  </a:lnTo>
                  <a:lnTo>
                    <a:pt x="190351" y="501424"/>
                  </a:lnTo>
                  <a:lnTo>
                    <a:pt x="194985" y="504229"/>
                  </a:lnTo>
                  <a:lnTo>
                    <a:pt x="207911" y="504229"/>
                  </a:lnTo>
                  <a:lnTo>
                    <a:pt x="216934" y="497644"/>
                  </a:lnTo>
                  <a:lnTo>
                    <a:pt x="216934" y="491059"/>
                  </a:lnTo>
                  <a:lnTo>
                    <a:pt x="235469" y="478865"/>
                  </a:lnTo>
                  <a:lnTo>
                    <a:pt x="247663" y="479840"/>
                  </a:lnTo>
                  <a:lnTo>
                    <a:pt x="263516" y="465817"/>
                  </a:lnTo>
                  <a:lnTo>
                    <a:pt x="291319" y="463866"/>
                  </a:lnTo>
                  <a:lnTo>
                    <a:pt x="319975" y="452525"/>
                  </a:lnTo>
                  <a:lnTo>
                    <a:pt x="364240" y="448623"/>
                  </a:lnTo>
                  <a:lnTo>
                    <a:pt x="386677" y="464598"/>
                  </a:lnTo>
                  <a:lnTo>
                    <a:pt x="397773" y="460818"/>
                  </a:lnTo>
                  <a:lnTo>
                    <a:pt x="419113" y="468012"/>
                  </a:lnTo>
                  <a:lnTo>
                    <a:pt x="429722" y="488254"/>
                  </a:lnTo>
                  <a:lnTo>
                    <a:pt x="441307" y="498863"/>
                  </a:lnTo>
                  <a:lnTo>
                    <a:pt x="443380" y="513862"/>
                  </a:lnTo>
                  <a:lnTo>
                    <a:pt x="439234" y="518861"/>
                  </a:lnTo>
                  <a:lnTo>
                    <a:pt x="442526" y="522764"/>
                  </a:lnTo>
                  <a:lnTo>
                    <a:pt x="456062" y="528739"/>
                  </a:lnTo>
                  <a:lnTo>
                    <a:pt x="464354" y="522642"/>
                  </a:lnTo>
                  <a:lnTo>
                    <a:pt x="462524" y="513496"/>
                  </a:lnTo>
                  <a:lnTo>
                    <a:pt x="480694" y="492522"/>
                  </a:lnTo>
                  <a:lnTo>
                    <a:pt x="486547" y="488376"/>
                  </a:lnTo>
                  <a:lnTo>
                    <a:pt x="487644" y="479718"/>
                  </a:lnTo>
                  <a:lnTo>
                    <a:pt x="502034" y="481060"/>
                  </a:lnTo>
                  <a:lnTo>
                    <a:pt x="502034" y="481060"/>
                  </a:lnTo>
                  <a:lnTo>
                    <a:pt x="500936" y="497888"/>
                  </a:lnTo>
                  <a:lnTo>
                    <a:pt x="492400" y="509228"/>
                  </a:lnTo>
                  <a:lnTo>
                    <a:pt x="490449" y="523739"/>
                  </a:lnTo>
                  <a:lnTo>
                    <a:pt x="483255" y="529958"/>
                  </a:lnTo>
                  <a:lnTo>
                    <a:pt x="479231" y="533129"/>
                  </a:lnTo>
                  <a:lnTo>
                    <a:pt x="479231" y="538494"/>
                  </a:lnTo>
                  <a:lnTo>
                    <a:pt x="487644" y="538494"/>
                  </a:lnTo>
                  <a:lnTo>
                    <a:pt x="495815" y="530324"/>
                  </a:lnTo>
                  <a:lnTo>
                    <a:pt x="495815" y="520325"/>
                  </a:lnTo>
                  <a:lnTo>
                    <a:pt x="509594" y="521544"/>
                  </a:lnTo>
                  <a:lnTo>
                    <a:pt x="517032" y="533738"/>
                  </a:lnTo>
                  <a:lnTo>
                    <a:pt x="517032" y="533738"/>
                  </a:lnTo>
                  <a:lnTo>
                    <a:pt x="504838" y="539470"/>
                  </a:lnTo>
                  <a:lnTo>
                    <a:pt x="507399" y="545201"/>
                  </a:lnTo>
                  <a:lnTo>
                    <a:pt x="525324" y="549957"/>
                  </a:lnTo>
                  <a:lnTo>
                    <a:pt x="529471" y="559102"/>
                  </a:lnTo>
                  <a:lnTo>
                    <a:pt x="537518" y="568126"/>
                  </a:lnTo>
                  <a:lnTo>
                    <a:pt x="533860" y="581174"/>
                  </a:lnTo>
                  <a:lnTo>
                    <a:pt x="542641" y="588246"/>
                  </a:lnTo>
                  <a:lnTo>
                    <a:pt x="546421" y="599465"/>
                  </a:lnTo>
                  <a:lnTo>
                    <a:pt x="554956" y="604586"/>
                  </a:lnTo>
                  <a:lnTo>
                    <a:pt x="567150" y="607391"/>
                  </a:lnTo>
                  <a:lnTo>
                    <a:pt x="572272" y="612635"/>
                  </a:lnTo>
                  <a:cubicBezTo>
                    <a:pt x="573911" y="612020"/>
                    <a:pt x="575644" y="611690"/>
                    <a:pt x="577394" y="611659"/>
                  </a:cubicBezTo>
                  <a:cubicBezTo>
                    <a:pt x="578243" y="611532"/>
                    <a:pt x="579105" y="611532"/>
                    <a:pt x="579955" y="611659"/>
                  </a:cubicBezTo>
                  <a:lnTo>
                    <a:pt x="613732" y="624707"/>
                  </a:lnTo>
                  <a:lnTo>
                    <a:pt x="613000" y="615317"/>
                  </a:lnTo>
                  <a:lnTo>
                    <a:pt x="623975" y="609342"/>
                  </a:lnTo>
                  <a:lnTo>
                    <a:pt x="631048" y="595319"/>
                  </a:lnTo>
                  <a:lnTo>
                    <a:pt x="651656" y="598734"/>
                  </a:lnTo>
                  <a:lnTo>
                    <a:pt x="649583" y="612025"/>
                  </a:lnTo>
                  <a:lnTo>
                    <a:pt x="657631" y="619951"/>
                  </a:lnTo>
                  <a:lnTo>
                    <a:pt x="672386" y="618244"/>
                  </a:lnTo>
                  <a:lnTo>
                    <a:pt x="684580" y="613123"/>
                  </a:lnTo>
                  <a:lnTo>
                    <a:pt x="686287" y="605196"/>
                  </a:lnTo>
                  <a:lnTo>
                    <a:pt x="694701" y="594831"/>
                  </a:lnTo>
                  <a:lnTo>
                    <a:pt x="706164" y="591417"/>
                  </a:lnTo>
                  <a:lnTo>
                    <a:pt x="736771" y="583369"/>
                  </a:lnTo>
                  <a:lnTo>
                    <a:pt x="737625" y="574589"/>
                  </a:lnTo>
                  <a:lnTo>
                    <a:pt x="736649" y="555200"/>
                  </a:lnTo>
                  <a:lnTo>
                    <a:pt x="752624" y="524227"/>
                  </a:lnTo>
                  <a:lnTo>
                    <a:pt x="750673" y="516545"/>
                  </a:lnTo>
                  <a:lnTo>
                    <a:pt x="765062" y="494595"/>
                  </a:lnTo>
                  <a:lnTo>
                    <a:pt x="765062" y="485937"/>
                  </a:lnTo>
                  <a:lnTo>
                    <a:pt x="786402" y="459842"/>
                  </a:lnTo>
                  <a:lnTo>
                    <a:pt x="792499" y="451062"/>
                  </a:lnTo>
                  <a:lnTo>
                    <a:pt x="792499" y="443502"/>
                  </a:lnTo>
                  <a:lnTo>
                    <a:pt x="801035" y="432161"/>
                  </a:lnTo>
                  <a:lnTo>
                    <a:pt x="801035" y="427284"/>
                  </a:lnTo>
                  <a:lnTo>
                    <a:pt x="799083" y="412773"/>
                  </a:lnTo>
                  <a:lnTo>
                    <a:pt x="804815" y="395701"/>
                  </a:lnTo>
                  <a:lnTo>
                    <a:pt x="804815" y="370093"/>
                  </a:lnTo>
                  <a:lnTo>
                    <a:pt x="809205" y="357899"/>
                  </a:lnTo>
                  <a:lnTo>
                    <a:pt x="800181" y="34716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3" name="Freihandform: Form 472">
              <a:extLst>
                <a:ext uri="{FF2B5EF4-FFF2-40B4-BE49-F238E27FC236}">
                  <a16:creationId xmlns:a16="http://schemas.microsoft.com/office/drawing/2014/main" id="{384ED198-5A6C-4C3F-BED2-D4D9C8788F91}"/>
                </a:ext>
              </a:extLst>
            </p:cNvPr>
            <p:cNvSpPr/>
            <p:nvPr/>
          </p:nvSpPr>
          <p:spPr>
            <a:xfrm>
              <a:off x="7376047" y="4287737"/>
              <a:ext cx="4511" cy="7316"/>
            </a:xfrm>
            <a:custGeom>
              <a:avLst/>
              <a:gdLst>
                <a:gd name="connsiteX0" fmla="*/ 4512 w 4511"/>
                <a:gd name="connsiteY0" fmla="*/ 6707 h 7316"/>
                <a:gd name="connsiteX1" fmla="*/ 2560 w 4511"/>
                <a:gd name="connsiteY1" fmla="*/ 244 h 7316"/>
                <a:gd name="connsiteX2" fmla="*/ 1219 w 4511"/>
                <a:gd name="connsiteY2" fmla="*/ 0 h 7316"/>
                <a:gd name="connsiteX3" fmla="*/ 0 w 4511"/>
                <a:gd name="connsiteY3" fmla="*/ 3049 h 7316"/>
                <a:gd name="connsiteX4" fmla="*/ 0 w 4511"/>
                <a:gd name="connsiteY4" fmla="*/ 4024 h 7316"/>
                <a:gd name="connsiteX5" fmla="*/ 2317 w 4511"/>
                <a:gd name="connsiteY5" fmla="*/ 7317 h 7316"/>
                <a:gd name="connsiteX6" fmla="*/ 4512 w 4511"/>
                <a:gd name="connsiteY6" fmla="*/ 6707 h 7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11" h="7316">
                  <a:moveTo>
                    <a:pt x="4512" y="6707"/>
                  </a:moveTo>
                  <a:lnTo>
                    <a:pt x="2560" y="244"/>
                  </a:lnTo>
                  <a:lnTo>
                    <a:pt x="1219" y="0"/>
                  </a:lnTo>
                  <a:lnTo>
                    <a:pt x="0" y="3049"/>
                  </a:lnTo>
                  <a:lnTo>
                    <a:pt x="0" y="4024"/>
                  </a:lnTo>
                  <a:lnTo>
                    <a:pt x="2317" y="7317"/>
                  </a:lnTo>
                  <a:lnTo>
                    <a:pt x="4512" y="6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4" name="Freihandform: Form 473">
              <a:extLst>
                <a:ext uri="{FF2B5EF4-FFF2-40B4-BE49-F238E27FC236}">
                  <a16:creationId xmlns:a16="http://schemas.microsoft.com/office/drawing/2014/main" id="{722A8B79-9220-43C9-A87E-7BB02D7849DA}"/>
                </a:ext>
              </a:extLst>
            </p:cNvPr>
            <p:cNvSpPr/>
            <p:nvPr/>
          </p:nvSpPr>
          <p:spPr>
            <a:xfrm>
              <a:off x="5241337" y="3195994"/>
              <a:ext cx="189496" cy="259125"/>
            </a:xfrm>
            <a:custGeom>
              <a:avLst/>
              <a:gdLst>
                <a:gd name="connsiteX0" fmla="*/ 180961 w 189496"/>
                <a:gd name="connsiteY0" fmla="*/ 0 h 259125"/>
                <a:gd name="connsiteX1" fmla="*/ 169499 w 189496"/>
                <a:gd name="connsiteY1" fmla="*/ 6951 h 259125"/>
                <a:gd name="connsiteX2" fmla="*/ 142915 w 189496"/>
                <a:gd name="connsiteY2" fmla="*/ 13901 h 259125"/>
                <a:gd name="connsiteX3" fmla="*/ 137062 w 189496"/>
                <a:gd name="connsiteY3" fmla="*/ 18413 h 259125"/>
                <a:gd name="connsiteX4" fmla="*/ 121210 w 189496"/>
                <a:gd name="connsiteY4" fmla="*/ 18413 h 259125"/>
                <a:gd name="connsiteX5" fmla="*/ 105601 w 189496"/>
                <a:gd name="connsiteY5" fmla="*/ 25486 h 259125"/>
                <a:gd name="connsiteX6" fmla="*/ 77433 w 189496"/>
                <a:gd name="connsiteY6" fmla="*/ 31095 h 259125"/>
                <a:gd name="connsiteX7" fmla="*/ 67068 w 189496"/>
                <a:gd name="connsiteY7" fmla="*/ 35485 h 259125"/>
                <a:gd name="connsiteX8" fmla="*/ 53044 w 189496"/>
                <a:gd name="connsiteY8" fmla="*/ 32315 h 259125"/>
                <a:gd name="connsiteX9" fmla="*/ 39509 w 189496"/>
                <a:gd name="connsiteY9" fmla="*/ 18901 h 259125"/>
                <a:gd name="connsiteX10" fmla="*/ 37558 w 189496"/>
                <a:gd name="connsiteY10" fmla="*/ 19877 h 259125"/>
                <a:gd name="connsiteX11" fmla="*/ 31705 w 189496"/>
                <a:gd name="connsiteY11" fmla="*/ 23169 h 259125"/>
                <a:gd name="connsiteX12" fmla="*/ 29875 w 189496"/>
                <a:gd name="connsiteY12" fmla="*/ 24145 h 259125"/>
                <a:gd name="connsiteX13" fmla="*/ 29998 w 189496"/>
                <a:gd name="connsiteY13" fmla="*/ 25120 h 259125"/>
                <a:gd name="connsiteX14" fmla="*/ 30973 w 189496"/>
                <a:gd name="connsiteY14" fmla="*/ 38655 h 259125"/>
                <a:gd name="connsiteX15" fmla="*/ 41704 w 189496"/>
                <a:gd name="connsiteY15" fmla="*/ 50606 h 259125"/>
                <a:gd name="connsiteX16" fmla="*/ 41948 w 189496"/>
                <a:gd name="connsiteY16" fmla="*/ 50850 h 259125"/>
                <a:gd name="connsiteX17" fmla="*/ 49996 w 189496"/>
                <a:gd name="connsiteY17" fmla="*/ 51947 h 259125"/>
                <a:gd name="connsiteX18" fmla="*/ 50972 w 189496"/>
                <a:gd name="connsiteY18" fmla="*/ 52069 h 259125"/>
                <a:gd name="connsiteX19" fmla="*/ 51947 w 189496"/>
                <a:gd name="connsiteY19" fmla="*/ 52557 h 259125"/>
                <a:gd name="connsiteX20" fmla="*/ 60605 w 189496"/>
                <a:gd name="connsiteY20" fmla="*/ 56947 h 259125"/>
                <a:gd name="connsiteX21" fmla="*/ 73775 w 189496"/>
                <a:gd name="connsiteY21" fmla="*/ 63410 h 259125"/>
                <a:gd name="connsiteX22" fmla="*/ 120844 w 189496"/>
                <a:gd name="connsiteY22" fmla="*/ 70360 h 259125"/>
                <a:gd name="connsiteX23" fmla="*/ 121697 w 189496"/>
                <a:gd name="connsiteY23" fmla="*/ 70360 h 259125"/>
                <a:gd name="connsiteX24" fmla="*/ 132672 w 189496"/>
                <a:gd name="connsiteY24" fmla="*/ 69263 h 259125"/>
                <a:gd name="connsiteX25" fmla="*/ 142184 w 189496"/>
                <a:gd name="connsiteY25" fmla="*/ 68409 h 259125"/>
                <a:gd name="connsiteX26" fmla="*/ 139013 w 189496"/>
                <a:gd name="connsiteY26" fmla="*/ 77433 h 259125"/>
                <a:gd name="connsiteX27" fmla="*/ 135355 w 189496"/>
                <a:gd name="connsiteY27" fmla="*/ 87310 h 259125"/>
                <a:gd name="connsiteX28" fmla="*/ 134623 w 189496"/>
                <a:gd name="connsiteY28" fmla="*/ 89383 h 259125"/>
                <a:gd name="connsiteX29" fmla="*/ 134014 w 189496"/>
                <a:gd name="connsiteY29" fmla="*/ 91090 h 259125"/>
                <a:gd name="connsiteX30" fmla="*/ 132550 w 189496"/>
                <a:gd name="connsiteY30" fmla="*/ 92066 h 259125"/>
                <a:gd name="connsiteX31" fmla="*/ 69629 w 189496"/>
                <a:gd name="connsiteY31" fmla="*/ 139623 h 259125"/>
                <a:gd name="connsiteX32" fmla="*/ 68531 w 189496"/>
                <a:gd name="connsiteY32" fmla="*/ 140477 h 259125"/>
                <a:gd name="connsiteX33" fmla="*/ 67312 w 189496"/>
                <a:gd name="connsiteY33" fmla="*/ 140721 h 259125"/>
                <a:gd name="connsiteX34" fmla="*/ 25973 w 189496"/>
                <a:gd name="connsiteY34" fmla="*/ 150354 h 259125"/>
                <a:gd name="connsiteX35" fmla="*/ 11706 w 189496"/>
                <a:gd name="connsiteY35" fmla="*/ 160719 h 259125"/>
                <a:gd name="connsiteX36" fmla="*/ 11096 w 189496"/>
                <a:gd name="connsiteY36" fmla="*/ 161207 h 259125"/>
                <a:gd name="connsiteX37" fmla="*/ 7438 w 189496"/>
                <a:gd name="connsiteY37" fmla="*/ 164377 h 259125"/>
                <a:gd name="connsiteX38" fmla="*/ 3536 w 189496"/>
                <a:gd name="connsiteY38" fmla="*/ 167548 h 259125"/>
                <a:gd name="connsiteX39" fmla="*/ 0 w 189496"/>
                <a:gd name="connsiteY39" fmla="*/ 170596 h 259125"/>
                <a:gd name="connsiteX40" fmla="*/ 0 w 189496"/>
                <a:gd name="connsiteY40" fmla="*/ 253273 h 259125"/>
                <a:gd name="connsiteX41" fmla="*/ 7804 w 189496"/>
                <a:gd name="connsiteY41" fmla="*/ 258882 h 259125"/>
                <a:gd name="connsiteX42" fmla="*/ 8048 w 189496"/>
                <a:gd name="connsiteY42" fmla="*/ 259126 h 259125"/>
                <a:gd name="connsiteX43" fmla="*/ 25486 w 189496"/>
                <a:gd name="connsiteY43" fmla="*/ 238884 h 259125"/>
                <a:gd name="connsiteX44" fmla="*/ 35729 w 189496"/>
                <a:gd name="connsiteY44" fmla="*/ 224373 h 259125"/>
                <a:gd name="connsiteX45" fmla="*/ 58532 w 189496"/>
                <a:gd name="connsiteY45" fmla="*/ 207301 h 259125"/>
                <a:gd name="connsiteX46" fmla="*/ 82920 w 189496"/>
                <a:gd name="connsiteY46" fmla="*/ 188644 h 259125"/>
                <a:gd name="connsiteX47" fmla="*/ 100968 w 189496"/>
                <a:gd name="connsiteY47" fmla="*/ 180352 h 259125"/>
                <a:gd name="connsiteX48" fmla="*/ 116332 w 189496"/>
                <a:gd name="connsiteY48" fmla="*/ 162304 h 259125"/>
                <a:gd name="connsiteX49" fmla="*/ 135965 w 189496"/>
                <a:gd name="connsiteY49" fmla="*/ 134258 h 259125"/>
                <a:gd name="connsiteX50" fmla="*/ 143037 w 189496"/>
                <a:gd name="connsiteY50" fmla="*/ 121576 h 259125"/>
                <a:gd name="connsiteX51" fmla="*/ 151451 w 189496"/>
                <a:gd name="connsiteY51" fmla="*/ 106089 h 259125"/>
                <a:gd name="connsiteX52" fmla="*/ 155963 w 189496"/>
                <a:gd name="connsiteY52" fmla="*/ 94383 h 259125"/>
                <a:gd name="connsiteX53" fmla="*/ 181205 w 189496"/>
                <a:gd name="connsiteY53" fmla="*/ 60727 h 259125"/>
                <a:gd name="connsiteX54" fmla="*/ 186693 w 189496"/>
                <a:gd name="connsiteY54" fmla="*/ 38655 h 259125"/>
                <a:gd name="connsiteX55" fmla="*/ 189497 w 189496"/>
                <a:gd name="connsiteY55" fmla="*/ 5609 h 259125"/>
                <a:gd name="connsiteX56" fmla="*/ 184985 w 189496"/>
                <a:gd name="connsiteY56" fmla="*/ 0 h 259125"/>
                <a:gd name="connsiteX57" fmla="*/ 180961 w 189496"/>
                <a:gd name="connsiteY57" fmla="*/ 0 h 25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89496" h="259125">
                  <a:moveTo>
                    <a:pt x="180961" y="0"/>
                  </a:moveTo>
                  <a:lnTo>
                    <a:pt x="169499" y="6951"/>
                  </a:lnTo>
                  <a:lnTo>
                    <a:pt x="142915" y="13901"/>
                  </a:lnTo>
                  <a:lnTo>
                    <a:pt x="137062" y="18413"/>
                  </a:lnTo>
                  <a:lnTo>
                    <a:pt x="121210" y="18413"/>
                  </a:lnTo>
                  <a:lnTo>
                    <a:pt x="105601" y="25486"/>
                  </a:lnTo>
                  <a:lnTo>
                    <a:pt x="77433" y="31095"/>
                  </a:lnTo>
                  <a:lnTo>
                    <a:pt x="67068" y="35485"/>
                  </a:lnTo>
                  <a:lnTo>
                    <a:pt x="53044" y="32315"/>
                  </a:lnTo>
                  <a:lnTo>
                    <a:pt x="39509" y="18901"/>
                  </a:lnTo>
                  <a:lnTo>
                    <a:pt x="37558" y="19877"/>
                  </a:lnTo>
                  <a:lnTo>
                    <a:pt x="31705" y="23169"/>
                  </a:lnTo>
                  <a:lnTo>
                    <a:pt x="29875" y="24145"/>
                  </a:lnTo>
                  <a:lnTo>
                    <a:pt x="29998" y="25120"/>
                  </a:lnTo>
                  <a:lnTo>
                    <a:pt x="30973" y="38655"/>
                  </a:lnTo>
                  <a:lnTo>
                    <a:pt x="41704" y="50606"/>
                  </a:lnTo>
                  <a:lnTo>
                    <a:pt x="41948" y="50850"/>
                  </a:lnTo>
                  <a:lnTo>
                    <a:pt x="49996" y="51947"/>
                  </a:lnTo>
                  <a:lnTo>
                    <a:pt x="50972" y="52069"/>
                  </a:lnTo>
                  <a:lnTo>
                    <a:pt x="51947" y="52557"/>
                  </a:lnTo>
                  <a:lnTo>
                    <a:pt x="60605" y="56947"/>
                  </a:lnTo>
                  <a:lnTo>
                    <a:pt x="73775" y="63410"/>
                  </a:lnTo>
                  <a:lnTo>
                    <a:pt x="120844" y="70360"/>
                  </a:lnTo>
                  <a:lnTo>
                    <a:pt x="121697" y="70360"/>
                  </a:lnTo>
                  <a:lnTo>
                    <a:pt x="132672" y="69263"/>
                  </a:lnTo>
                  <a:lnTo>
                    <a:pt x="142184" y="68409"/>
                  </a:lnTo>
                  <a:lnTo>
                    <a:pt x="139013" y="77433"/>
                  </a:lnTo>
                  <a:lnTo>
                    <a:pt x="135355" y="87310"/>
                  </a:lnTo>
                  <a:lnTo>
                    <a:pt x="134623" y="89383"/>
                  </a:lnTo>
                  <a:lnTo>
                    <a:pt x="134014" y="91090"/>
                  </a:lnTo>
                  <a:lnTo>
                    <a:pt x="132550" y="92066"/>
                  </a:lnTo>
                  <a:lnTo>
                    <a:pt x="69629" y="139623"/>
                  </a:lnTo>
                  <a:lnTo>
                    <a:pt x="68531" y="140477"/>
                  </a:lnTo>
                  <a:lnTo>
                    <a:pt x="67312" y="140721"/>
                  </a:lnTo>
                  <a:lnTo>
                    <a:pt x="25973" y="150354"/>
                  </a:lnTo>
                  <a:lnTo>
                    <a:pt x="11706" y="160719"/>
                  </a:lnTo>
                  <a:lnTo>
                    <a:pt x="11096" y="161207"/>
                  </a:lnTo>
                  <a:lnTo>
                    <a:pt x="7438" y="164377"/>
                  </a:lnTo>
                  <a:lnTo>
                    <a:pt x="3536" y="167548"/>
                  </a:lnTo>
                  <a:lnTo>
                    <a:pt x="0" y="170596"/>
                  </a:lnTo>
                  <a:lnTo>
                    <a:pt x="0" y="253273"/>
                  </a:lnTo>
                  <a:lnTo>
                    <a:pt x="7804" y="258882"/>
                  </a:lnTo>
                  <a:lnTo>
                    <a:pt x="8048" y="259126"/>
                  </a:lnTo>
                  <a:lnTo>
                    <a:pt x="25486" y="238884"/>
                  </a:lnTo>
                  <a:lnTo>
                    <a:pt x="35729" y="224373"/>
                  </a:lnTo>
                  <a:lnTo>
                    <a:pt x="58532" y="207301"/>
                  </a:lnTo>
                  <a:lnTo>
                    <a:pt x="82920" y="188644"/>
                  </a:lnTo>
                  <a:lnTo>
                    <a:pt x="100968" y="180352"/>
                  </a:lnTo>
                  <a:lnTo>
                    <a:pt x="116332" y="162304"/>
                  </a:lnTo>
                  <a:lnTo>
                    <a:pt x="135965" y="134258"/>
                  </a:lnTo>
                  <a:lnTo>
                    <a:pt x="143037" y="121576"/>
                  </a:lnTo>
                  <a:lnTo>
                    <a:pt x="151451" y="106089"/>
                  </a:lnTo>
                  <a:lnTo>
                    <a:pt x="155963" y="94383"/>
                  </a:lnTo>
                  <a:lnTo>
                    <a:pt x="181205" y="60727"/>
                  </a:lnTo>
                  <a:lnTo>
                    <a:pt x="186693" y="38655"/>
                  </a:lnTo>
                  <a:lnTo>
                    <a:pt x="189497" y="5609"/>
                  </a:lnTo>
                  <a:lnTo>
                    <a:pt x="184985" y="0"/>
                  </a:lnTo>
                  <a:lnTo>
                    <a:pt x="18096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5" name="Freihandform: Form 474">
              <a:extLst>
                <a:ext uri="{FF2B5EF4-FFF2-40B4-BE49-F238E27FC236}">
                  <a16:creationId xmlns:a16="http://schemas.microsoft.com/office/drawing/2014/main" id="{DCE38A78-779E-4F86-B349-6F86BE6246B6}"/>
                </a:ext>
              </a:extLst>
            </p:cNvPr>
            <p:cNvSpPr/>
            <p:nvPr/>
          </p:nvSpPr>
          <p:spPr>
            <a:xfrm>
              <a:off x="5281456" y="3677907"/>
              <a:ext cx="135721" cy="285099"/>
            </a:xfrm>
            <a:custGeom>
              <a:avLst/>
              <a:gdLst>
                <a:gd name="connsiteX0" fmla="*/ 122552 w 135721"/>
                <a:gd name="connsiteY0" fmla="*/ 5731 h 285099"/>
                <a:gd name="connsiteX1" fmla="*/ 119015 w 135721"/>
                <a:gd name="connsiteY1" fmla="*/ 0 h 285099"/>
                <a:gd name="connsiteX2" fmla="*/ 116820 w 135721"/>
                <a:gd name="connsiteY2" fmla="*/ 976 h 285099"/>
                <a:gd name="connsiteX3" fmla="*/ 112308 w 135721"/>
                <a:gd name="connsiteY3" fmla="*/ 12560 h 285099"/>
                <a:gd name="connsiteX4" fmla="*/ 101578 w 135721"/>
                <a:gd name="connsiteY4" fmla="*/ 33046 h 285099"/>
                <a:gd name="connsiteX5" fmla="*/ 91700 w 135721"/>
                <a:gd name="connsiteY5" fmla="*/ 37558 h 285099"/>
                <a:gd name="connsiteX6" fmla="*/ 91700 w 135721"/>
                <a:gd name="connsiteY6" fmla="*/ 49508 h 285099"/>
                <a:gd name="connsiteX7" fmla="*/ 82676 w 135721"/>
                <a:gd name="connsiteY7" fmla="*/ 56459 h 285099"/>
                <a:gd name="connsiteX8" fmla="*/ 76823 w 135721"/>
                <a:gd name="connsiteY8" fmla="*/ 65361 h 285099"/>
                <a:gd name="connsiteX9" fmla="*/ 64019 w 135721"/>
                <a:gd name="connsiteY9" fmla="*/ 69263 h 285099"/>
                <a:gd name="connsiteX10" fmla="*/ 50728 w 135721"/>
                <a:gd name="connsiteY10" fmla="*/ 78774 h 285099"/>
                <a:gd name="connsiteX11" fmla="*/ 40485 w 135721"/>
                <a:gd name="connsiteY11" fmla="*/ 80603 h 285099"/>
                <a:gd name="connsiteX12" fmla="*/ 35973 w 135721"/>
                <a:gd name="connsiteY12" fmla="*/ 85115 h 285099"/>
                <a:gd name="connsiteX13" fmla="*/ 25730 w 135721"/>
                <a:gd name="connsiteY13" fmla="*/ 89871 h 285099"/>
                <a:gd name="connsiteX14" fmla="*/ 19754 w 135721"/>
                <a:gd name="connsiteY14" fmla="*/ 98407 h 285099"/>
                <a:gd name="connsiteX15" fmla="*/ 14267 w 135721"/>
                <a:gd name="connsiteY15" fmla="*/ 130234 h 285099"/>
                <a:gd name="connsiteX16" fmla="*/ 21828 w 135721"/>
                <a:gd name="connsiteY16" fmla="*/ 143403 h 285099"/>
                <a:gd name="connsiteX17" fmla="*/ 16950 w 135721"/>
                <a:gd name="connsiteY17" fmla="*/ 180596 h 285099"/>
                <a:gd name="connsiteX18" fmla="*/ 0 w 135721"/>
                <a:gd name="connsiteY18" fmla="*/ 205959 h 285099"/>
                <a:gd name="connsiteX19" fmla="*/ 0 w 135721"/>
                <a:gd name="connsiteY19" fmla="*/ 225348 h 285099"/>
                <a:gd name="connsiteX20" fmla="*/ 9390 w 135721"/>
                <a:gd name="connsiteY20" fmla="*/ 237542 h 285099"/>
                <a:gd name="connsiteX21" fmla="*/ 14023 w 135721"/>
                <a:gd name="connsiteY21" fmla="*/ 266808 h 285099"/>
                <a:gd name="connsiteX22" fmla="*/ 24632 w 135721"/>
                <a:gd name="connsiteY22" fmla="*/ 279246 h 285099"/>
                <a:gd name="connsiteX23" fmla="*/ 38290 w 135721"/>
                <a:gd name="connsiteY23" fmla="*/ 285100 h 285099"/>
                <a:gd name="connsiteX24" fmla="*/ 51947 w 135721"/>
                <a:gd name="connsiteY24" fmla="*/ 275100 h 285099"/>
                <a:gd name="connsiteX25" fmla="*/ 67678 w 135721"/>
                <a:gd name="connsiteY25" fmla="*/ 273271 h 285099"/>
                <a:gd name="connsiteX26" fmla="*/ 79018 w 135721"/>
                <a:gd name="connsiteY26" fmla="*/ 257419 h 285099"/>
                <a:gd name="connsiteX27" fmla="*/ 85725 w 135721"/>
                <a:gd name="connsiteY27" fmla="*/ 215837 h 285099"/>
                <a:gd name="connsiteX28" fmla="*/ 95236 w 135721"/>
                <a:gd name="connsiteY28" fmla="*/ 192302 h 285099"/>
                <a:gd name="connsiteX29" fmla="*/ 119015 w 135721"/>
                <a:gd name="connsiteY29" fmla="*/ 110723 h 285099"/>
                <a:gd name="connsiteX30" fmla="*/ 122429 w 135721"/>
                <a:gd name="connsiteY30" fmla="*/ 104504 h 285099"/>
                <a:gd name="connsiteX31" fmla="*/ 123527 w 135721"/>
                <a:gd name="connsiteY31" fmla="*/ 74994 h 285099"/>
                <a:gd name="connsiteX32" fmla="*/ 134014 w 135721"/>
                <a:gd name="connsiteY32" fmla="*/ 73165 h 285099"/>
                <a:gd name="connsiteX33" fmla="*/ 135721 w 135721"/>
                <a:gd name="connsiteY33" fmla="*/ 62800 h 285099"/>
                <a:gd name="connsiteX34" fmla="*/ 124381 w 135721"/>
                <a:gd name="connsiteY34" fmla="*/ 25974 h 285099"/>
                <a:gd name="connsiteX35" fmla="*/ 122552 w 135721"/>
                <a:gd name="connsiteY35" fmla="*/ 5731 h 285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5721" h="285099">
                  <a:moveTo>
                    <a:pt x="122552" y="5731"/>
                  </a:moveTo>
                  <a:lnTo>
                    <a:pt x="119015" y="0"/>
                  </a:lnTo>
                  <a:lnTo>
                    <a:pt x="116820" y="976"/>
                  </a:lnTo>
                  <a:lnTo>
                    <a:pt x="112308" y="12560"/>
                  </a:lnTo>
                  <a:lnTo>
                    <a:pt x="101578" y="33046"/>
                  </a:lnTo>
                  <a:lnTo>
                    <a:pt x="91700" y="37558"/>
                  </a:lnTo>
                  <a:lnTo>
                    <a:pt x="91700" y="49508"/>
                  </a:lnTo>
                  <a:lnTo>
                    <a:pt x="82676" y="56459"/>
                  </a:lnTo>
                  <a:lnTo>
                    <a:pt x="76823" y="65361"/>
                  </a:lnTo>
                  <a:lnTo>
                    <a:pt x="64019" y="69263"/>
                  </a:lnTo>
                  <a:lnTo>
                    <a:pt x="50728" y="78774"/>
                  </a:lnTo>
                  <a:lnTo>
                    <a:pt x="40485" y="80603"/>
                  </a:lnTo>
                  <a:lnTo>
                    <a:pt x="35973" y="85115"/>
                  </a:lnTo>
                  <a:lnTo>
                    <a:pt x="25730" y="89871"/>
                  </a:lnTo>
                  <a:lnTo>
                    <a:pt x="19754" y="98407"/>
                  </a:lnTo>
                  <a:lnTo>
                    <a:pt x="14267" y="130234"/>
                  </a:lnTo>
                  <a:lnTo>
                    <a:pt x="21828" y="143403"/>
                  </a:lnTo>
                  <a:lnTo>
                    <a:pt x="16950" y="180596"/>
                  </a:lnTo>
                  <a:lnTo>
                    <a:pt x="0" y="205959"/>
                  </a:lnTo>
                  <a:lnTo>
                    <a:pt x="0" y="225348"/>
                  </a:lnTo>
                  <a:lnTo>
                    <a:pt x="9390" y="237542"/>
                  </a:lnTo>
                  <a:lnTo>
                    <a:pt x="14023" y="266808"/>
                  </a:lnTo>
                  <a:lnTo>
                    <a:pt x="24632" y="279246"/>
                  </a:lnTo>
                  <a:lnTo>
                    <a:pt x="38290" y="285100"/>
                  </a:lnTo>
                  <a:lnTo>
                    <a:pt x="51947" y="275100"/>
                  </a:lnTo>
                  <a:lnTo>
                    <a:pt x="67678" y="273271"/>
                  </a:lnTo>
                  <a:lnTo>
                    <a:pt x="79018" y="257419"/>
                  </a:lnTo>
                  <a:lnTo>
                    <a:pt x="85725" y="215837"/>
                  </a:lnTo>
                  <a:lnTo>
                    <a:pt x="95236" y="192302"/>
                  </a:lnTo>
                  <a:lnTo>
                    <a:pt x="119015" y="110723"/>
                  </a:lnTo>
                  <a:lnTo>
                    <a:pt x="122429" y="104504"/>
                  </a:lnTo>
                  <a:lnTo>
                    <a:pt x="123527" y="74994"/>
                  </a:lnTo>
                  <a:lnTo>
                    <a:pt x="134014" y="73165"/>
                  </a:lnTo>
                  <a:lnTo>
                    <a:pt x="135721" y="62800"/>
                  </a:lnTo>
                  <a:lnTo>
                    <a:pt x="124381" y="25974"/>
                  </a:lnTo>
                  <a:lnTo>
                    <a:pt x="122552" y="573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6" name="Freihandform: Form 475">
              <a:extLst>
                <a:ext uri="{FF2B5EF4-FFF2-40B4-BE49-F238E27FC236}">
                  <a16:creationId xmlns:a16="http://schemas.microsoft.com/office/drawing/2014/main" id="{F5785A69-225D-410C-9273-E3B45C095617}"/>
                </a:ext>
              </a:extLst>
            </p:cNvPr>
            <p:cNvSpPr/>
            <p:nvPr/>
          </p:nvSpPr>
          <p:spPr>
            <a:xfrm>
              <a:off x="7615052" y="3652299"/>
              <a:ext cx="6097" cy="4633"/>
            </a:xfrm>
            <a:custGeom>
              <a:avLst/>
              <a:gdLst>
                <a:gd name="connsiteX0" fmla="*/ 0 w 6097"/>
                <a:gd name="connsiteY0" fmla="*/ 976 h 4633"/>
                <a:gd name="connsiteX1" fmla="*/ 0 w 6097"/>
                <a:gd name="connsiteY1" fmla="*/ 3292 h 4633"/>
                <a:gd name="connsiteX2" fmla="*/ 1341 w 6097"/>
                <a:gd name="connsiteY2" fmla="*/ 4634 h 4633"/>
                <a:gd name="connsiteX3" fmla="*/ 6097 w 6097"/>
                <a:gd name="connsiteY3" fmla="*/ 3780 h 4633"/>
                <a:gd name="connsiteX4" fmla="*/ 2805 w 6097"/>
                <a:gd name="connsiteY4" fmla="*/ 0 h 4633"/>
                <a:gd name="connsiteX5" fmla="*/ 0 w 6097"/>
                <a:gd name="connsiteY5" fmla="*/ 976 h 4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97" h="4633">
                  <a:moveTo>
                    <a:pt x="0" y="976"/>
                  </a:moveTo>
                  <a:lnTo>
                    <a:pt x="0" y="3292"/>
                  </a:lnTo>
                  <a:lnTo>
                    <a:pt x="1341" y="4634"/>
                  </a:lnTo>
                  <a:lnTo>
                    <a:pt x="6097" y="3780"/>
                  </a:lnTo>
                  <a:lnTo>
                    <a:pt x="2805" y="0"/>
                  </a:lnTo>
                  <a:lnTo>
                    <a:pt x="0" y="97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7" name="Freihandform: Form 476">
              <a:extLst>
                <a:ext uri="{FF2B5EF4-FFF2-40B4-BE49-F238E27FC236}">
                  <a16:creationId xmlns:a16="http://schemas.microsoft.com/office/drawing/2014/main" id="{E038F45C-8C21-4280-A96B-3323C2985B16}"/>
                </a:ext>
              </a:extLst>
            </p:cNvPr>
            <p:cNvSpPr/>
            <p:nvPr/>
          </p:nvSpPr>
          <p:spPr>
            <a:xfrm>
              <a:off x="7308247" y="4312369"/>
              <a:ext cx="73530" cy="73530"/>
            </a:xfrm>
            <a:custGeom>
              <a:avLst/>
              <a:gdLst>
                <a:gd name="connsiteX0" fmla="*/ 62922 w 73530"/>
                <a:gd name="connsiteY0" fmla="*/ 1951 h 73530"/>
                <a:gd name="connsiteX1" fmla="*/ 51825 w 73530"/>
                <a:gd name="connsiteY1" fmla="*/ 11097 h 73530"/>
                <a:gd name="connsiteX2" fmla="*/ 39387 w 73530"/>
                <a:gd name="connsiteY2" fmla="*/ 14877 h 73530"/>
                <a:gd name="connsiteX3" fmla="*/ 21340 w 73530"/>
                <a:gd name="connsiteY3" fmla="*/ 8170 h 73530"/>
                <a:gd name="connsiteX4" fmla="*/ 7560 w 73530"/>
                <a:gd name="connsiteY4" fmla="*/ 610 h 73530"/>
                <a:gd name="connsiteX5" fmla="*/ 2804 w 73530"/>
                <a:gd name="connsiteY5" fmla="*/ 0 h 73530"/>
                <a:gd name="connsiteX6" fmla="*/ 0 w 73530"/>
                <a:gd name="connsiteY6" fmla="*/ 3780 h 73530"/>
                <a:gd name="connsiteX7" fmla="*/ 4390 w 73530"/>
                <a:gd name="connsiteY7" fmla="*/ 15121 h 73530"/>
                <a:gd name="connsiteX8" fmla="*/ 11706 w 73530"/>
                <a:gd name="connsiteY8" fmla="*/ 23169 h 73530"/>
                <a:gd name="connsiteX9" fmla="*/ 13169 w 73530"/>
                <a:gd name="connsiteY9" fmla="*/ 45240 h 73530"/>
                <a:gd name="connsiteX10" fmla="*/ 21462 w 73530"/>
                <a:gd name="connsiteY10" fmla="*/ 55727 h 73530"/>
                <a:gd name="connsiteX11" fmla="*/ 27680 w 73530"/>
                <a:gd name="connsiteY11" fmla="*/ 68897 h 73530"/>
                <a:gd name="connsiteX12" fmla="*/ 31827 w 73530"/>
                <a:gd name="connsiteY12" fmla="*/ 73531 h 73530"/>
                <a:gd name="connsiteX13" fmla="*/ 47923 w 73530"/>
                <a:gd name="connsiteY13" fmla="*/ 71702 h 73530"/>
                <a:gd name="connsiteX14" fmla="*/ 52191 w 73530"/>
                <a:gd name="connsiteY14" fmla="*/ 61580 h 73530"/>
                <a:gd name="connsiteX15" fmla="*/ 59873 w 73530"/>
                <a:gd name="connsiteY15" fmla="*/ 61580 h 73530"/>
                <a:gd name="connsiteX16" fmla="*/ 63775 w 73530"/>
                <a:gd name="connsiteY16" fmla="*/ 49265 h 73530"/>
                <a:gd name="connsiteX17" fmla="*/ 70726 w 73530"/>
                <a:gd name="connsiteY17" fmla="*/ 40851 h 73530"/>
                <a:gd name="connsiteX18" fmla="*/ 73530 w 73530"/>
                <a:gd name="connsiteY18" fmla="*/ 20364 h 73530"/>
                <a:gd name="connsiteX19" fmla="*/ 73530 w 73530"/>
                <a:gd name="connsiteY19" fmla="*/ 2926 h 73530"/>
                <a:gd name="connsiteX20" fmla="*/ 68287 w 73530"/>
                <a:gd name="connsiteY20" fmla="*/ 1342 h 73530"/>
                <a:gd name="connsiteX21" fmla="*/ 62922 w 73530"/>
                <a:gd name="connsiteY21" fmla="*/ 1951 h 7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3530" h="73530">
                  <a:moveTo>
                    <a:pt x="62922" y="1951"/>
                  </a:moveTo>
                  <a:lnTo>
                    <a:pt x="51825" y="11097"/>
                  </a:lnTo>
                  <a:lnTo>
                    <a:pt x="39387" y="14877"/>
                  </a:lnTo>
                  <a:lnTo>
                    <a:pt x="21340" y="8170"/>
                  </a:lnTo>
                  <a:lnTo>
                    <a:pt x="7560" y="610"/>
                  </a:lnTo>
                  <a:lnTo>
                    <a:pt x="2804" y="0"/>
                  </a:lnTo>
                  <a:lnTo>
                    <a:pt x="0" y="3780"/>
                  </a:lnTo>
                  <a:lnTo>
                    <a:pt x="4390" y="15121"/>
                  </a:lnTo>
                  <a:lnTo>
                    <a:pt x="11706" y="23169"/>
                  </a:lnTo>
                  <a:lnTo>
                    <a:pt x="13169" y="45240"/>
                  </a:lnTo>
                  <a:lnTo>
                    <a:pt x="21462" y="55727"/>
                  </a:lnTo>
                  <a:lnTo>
                    <a:pt x="27680" y="68897"/>
                  </a:lnTo>
                  <a:lnTo>
                    <a:pt x="31827" y="73531"/>
                  </a:lnTo>
                  <a:lnTo>
                    <a:pt x="47923" y="71702"/>
                  </a:lnTo>
                  <a:lnTo>
                    <a:pt x="52191" y="61580"/>
                  </a:lnTo>
                  <a:lnTo>
                    <a:pt x="59873" y="61580"/>
                  </a:lnTo>
                  <a:lnTo>
                    <a:pt x="63775" y="49265"/>
                  </a:lnTo>
                  <a:lnTo>
                    <a:pt x="70726" y="40851"/>
                  </a:lnTo>
                  <a:lnTo>
                    <a:pt x="73530" y="20364"/>
                  </a:lnTo>
                  <a:lnTo>
                    <a:pt x="73530" y="2926"/>
                  </a:lnTo>
                  <a:lnTo>
                    <a:pt x="68287" y="1342"/>
                  </a:lnTo>
                  <a:lnTo>
                    <a:pt x="62922" y="19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8" name="Freihandform: Form 477">
              <a:extLst>
                <a:ext uri="{FF2B5EF4-FFF2-40B4-BE49-F238E27FC236}">
                  <a16:creationId xmlns:a16="http://schemas.microsoft.com/office/drawing/2014/main" id="{008CEBD1-0ECA-4BD5-AAE8-33775CC816B6}"/>
                </a:ext>
              </a:extLst>
            </p:cNvPr>
            <p:cNvSpPr/>
            <p:nvPr/>
          </p:nvSpPr>
          <p:spPr>
            <a:xfrm>
              <a:off x="7611760" y="3611327"/>
              <a:ext cx="10974" cy="4877"/>
            </a:xfrm>
            <a:custGeom>
              <a:avLst/>
              <a:gdLst>
                <a:gd name="connsiteX0" fmla="*/ 0 w 10974"/>
                <a:gd name="connsiteY0" fmla="*/ 0 h 4877"/>
                <a:gd name="connsiteX1" fmla="*/ 7072 w 10974"/>
                <a:gd name="connsiteY1" fmla="*/ 4878 h 4877"/>
                <a:gd name="connsiteX2" fmla="*/ 10974 w 10974"/>
                <a:gd name="connsiteY2" fmla="*/ 3170 h 4877"/>
                <a:gd name="connsiteX3" fmla="*/ 6218 w 10974"/>
                <a:gd name="connsiteY3" fmla="*/ 0 h 4877"/>
                <a:gd name="connsiteX4" fmla="*/ 0 w 10974"/>
                <a:gd name="connsiteY4" fmla="*/ 0 h 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4" h="4877">
                  <a:moveTo>
                    <a:pt x="0" y="0"/>
                  </a:moveTo>
                  <a:lnTo>
                    <a:pt x="7072" y="4878"/>
                  </a:lnTo>
                  <a:lnTo>
                    <a:pt x="10974" y="3170"/>
                  </a:lnTo>
                  <a:lnTo>
                    <a:pt x="6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79" name="Freihandform: Form 478">
              <a:extLst>
                <a:ext uri="{FF2B5EF4-FFF2-40B4-BE49-F238E27FC236}">
                  <a16:creationId xmlns:a16="http://schemas.microsoft.com/office/drawing/2014/main" id="{8EDD71EA-969D-4814-B78C-3249FBB4ED4F}"/>
                </a:ext>
              </a:extLst>
            </p:cNvPr>
            <p:cNvSpPr/>
            <p:nvPr/>
          </p:nvSpPr>
          <p:spPr>
            <a:xfrm>
              <a:off x="5097202" y="3345250"/>
              <a:ext cx="147183" cy="174254"/>
            </a:xfrm>
            <a:custGeom>
              <a:avLst/>
              <a:gdLst>
                <a:gd name="connsiteX0" fmla="*/ 136209 w 147183"/>
                <a:gd name="connsiteY0" fmla="*/ 108040 h 174254"/>
                <a:gd name="connsiteX1" fmla="*/ 136209 w 147183"/>
                <a:gd name="connsiteY1" fmla="*/ 17682 h 174254"/>
                <a:gd name="connsiteX2" fmla="*/ 138404 w 147183"/>
                <a:gd name="connsiteY2" fmla="*/ 15852 h 174254"/>
                <a:gd name="connsiteX3" fmla="*/ 142916 w 147183"/>
                <a:gd name="connsiteY3" fmla="*/ 11950 h 174254"/>
                <a:gd name="connsiteX4" fmla="*/ 119747 w 147183"/>
                <a:gd name="connsiteY4" fmla="*/ 9999 h 174254"/>
                <a:gd name="connsiteX5" fmla="*/ 103040 w 147183"/>
                <a:gd name="connsiteY5" fmla="*/ 20242 h 174254"/>
                <a:gd name="connsiteX6" fmla="*/ 101211 w 147183"/>
                <a:gd name="connsiteY6" fmla="*/ 21340 h 174254"/>
                <a:gd name="connsiteX7" fmla="*/ 99139 w 147183"/>
                <a:gd name="connsiteY7" fmla="*/ 21096 h 174254"/>
                <a:gd name="connsiteX8" fmla="*/ 80237 w 147183"/>
                <a:gd name="connsiteY8" fmla="*/ 18657 h 174254"/>
                <a:gd name="connsiteX9" fmla="*/ 78896 w 147183"/>
                <a:gd name="connsiteY9" fmla="*/ 18413 h 174254"/>
                <a:gd name="connsiteX10" fmla="*/ 77920 w 147183"/>
                <a:gd name="connsiteY10" fmla="*/ 18291 h 174254"/>
                <a:gd name="connsiteX11" fmla="*/ 77067 w 147183"/>
                <a:gd name="connsiteY11" fmla="*/ 17925 h 174254"/>
                <a:gd name="connsiteX12" fmla="*/ 56581 w 147183"/>
                <a:gd name="connsiteY12" fmla="*/ 8536 h 174254"/>
                <a:gd name="connsiteX13" fmla="*/ 44021 w 147183"/>
                <a:gd name="connsiteY13" fmla="*/ 2683 h 174254"/>
                <a:gd name="connsiteX14" fmla="*/ 32071 w 147183"/>
                <a:gd name="connsiteY14" fmla="*/ 0 h 174254"/>
                <a:gd name="connsiteX15" fmla="*/ 28656 w 147183"/>
                <a:gd name="connsiteY15" fmla="*/ 488 h 174254"/>
                <a:gd name="connsiteX16" fmla="*/ 854 w 147183"/>
                <a:gd name="connsiteY16" fmla="*/ 3658 h 174254"/>
                <a:gd name="connsiteX17" fmla="*/ 1097 w 147183"/>
                <a:gd name="connsiteY17" fmla="*/ 4146 h 174254"/>
                <a:gd name="connsiteX18" fmla="*/ 4146 w 147183"/>
                <a:gd name="connsiteY18" fmla="*/ 12560 h 174254"/>
                <a:gd name="connsiteX19" fmla="*/ 14145 w 147183"/>
                <a:gd name="connsiteY19" fmla="*/ 29266 h 174254"/>
                <a:gd name="connsiteX20" fmla="*/ 20730 w 147183"/>
                <a:gd name="connsiteY20" fmla="*/ 40241 h 174254"/>
                <a:gd name="connsiteX21" fmla="*/ 21584 w 147183"/>
                <a:gd name="connsiteY21" fmla="*/ 41704 h 174254"/>
                <a:gd name="connsiteX22" fmla="*/ 21584 w 147183"/>
                <a:gd name="connsiteY22" fmla="*/ 60727 h 174254"/>
                <a:gd name="connsiteX23" fmla="*/ 19267 w 147183"/>
                <a:gd name="connsiteY23" fmla="*/ 62556 h 174254"/>
                <a:gd name="connsiteX24" fmla="*/ 7072 w 147183"/>
                <a:gd name="connsiteY24" fmla="*/ 72433 h 174254"/>
                <a:gd name="connsiteX25" fmla="*/ 2561 w 147183"/>
                <a:gd name="connsiteY25" fmla="*/ 75970 h 174254"/>
                <a:gd name="connsiteX26" fmla="*/ 0 w 147183"/>
                <a:gd name="connsiteY26" fmla="*/ 103163 h 174254"/>
                <a:gd name="connsiteX27" fmla="*/ 26827 w 147183"/>
                <a:gd name="connsiteY27" fmla="*/ 121332 h 174254"/>
                <a:gd name="connsiteX28" fmla="*/ 67922 w 147183"/>
                <a:gd name="connsiteY28" fmla="*/ 136940 h 174254"/>
                <a:gd name="connsiteX29" fmla="*/ 71336 w 147183"/>
                <a:gd name="connsiteY29" fmla="*/ 138160 h 174254"/>
                <a:gd name="connsiteX30" fmla="*/ 71823 w 147183"/>
                <a:gd name="connsiteY30" fmla="*/ 141818 h 174254"/>
                <a:gd name="connsiteX31" fmla="*/ 72555 w 147183"/>
                <a:gd name="connsiteY31" fmla="*/ 147793 h 174254"/>
                <a:gd name="connsiteX32" fmla="*/ 72677 w 147183"/>
                <a:gd name="connsiteY32" fmla="*/ 148769 h 174254"/>
                <a:gd name="connsiteX33" fmla="*/ 72555 w 147183"/>
                <a:gd name="connsiteY33" fmla="*/ 149622 h 174254"/>
                <a:gd name="connsiteX34" fmla="*/ 71214 w 147183"/>
                <a:gd name="connsiteY34" fmla="*/ 157793 h 174254"/>
                <a:gd name="connsiteX35" fmla="*/ 104260 w 147183"/>
                <a:gd name="connsiteY35" fmla="*/ 174255 h 174254"/>
                <a:gd name="connsiteX36" fmla="*/ 111089 w 147183"/>
                <a:gd name="connsiteY36" fmla="*/ 158280 h 174254"/>
                <a:gd name="connsiteX37" fmla="*/ 115600 w 147183"/>
                <a:gd name="connsiteY37" fmla="*/ 141696 h 174254"/>
                <a:gd name="connsiteX38" fmla="*/ 129380 w 147183"/>
                <a:gd name="connsiteY38" fmla="*/ 137550 h 174254"/>
                <a:gd name="connsiteX39" fmla="*/ 129380 w 147183"/>
                <a:gd name="connsiteY39" fmla="*/ 129258 h 174254"/>
                <a:gd name="connsiteX40" fmla="*/ 140111 w 147183"/>
                <a:gd name="connsiteY40" fmla="*/ 124624 h 174254"/>
                <a:gd name="connsiteX41" fmla="*/ 147184 w 147183"/>
                <a:gd name="connsiteY41" fmla="*/ 116088 h 174254"/>
                <a:gd name="connsiteX42" fmla="*/ 138770 w 147183"/>
                <a:gd name="connsiteY42" fmla="*/ 109869 h 174254"/>
                <a:gd name="connsiteX43" fmla="*/ 136209 w 147183"/>
                <a:gd name="connsiteY43" fmla="*/ 108040 h 17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47183" h="174254">
                  <a:moveTo>
                    <a:pt x="136209" y="108040"/>
                  </a:moveTo>
                  <a:lnTo>
                    <a:pt x="136209" y="17682"/>
                  </a:lnTo>
                  <a:lnTo>
                    <a:pt x="138404" y="15852"/>
                  </a:lnTo>
                  <a:lnTo>
                    <a:pt x="142916" y="11950"/>
                  </a:lnTo>
                  <a:lnTo>
                    <a:pt x="119747" y="9999"/>
                  </a:lnTo>
                  <a:lnTo>
                    <a:pt x="103040" y="20242"/>
                  </a:lnTo>
                  <a:lnTo>
                    <a:pt x="101211" y="21340"/>
                  </a:lnTo>
                  <a:lnTo>
                    <a:pt x="99139" y="21096"/>
                  </a:lnTo>
                  <a:lnTo>
                    <a:pt x="80237" y="18657"/>
                  </a:lnTo>
                  <a:lnTo>
                    <a:pt x="78896" y="18413"/>
                  </a:lnTo>
                  <a:lnTo>
                    <a:pt x="77920" y="18291"/>
                  </a:lnTo>
                  <a:lnTo>
                    <a:pt x="77067" y="17925"/>
                  </a:lnTo>
                  <a:lnTo>
                    <a:pt x="56581" y="8536"/>
                  </a:lnTo>
                  <a:lnTo>
                    <a:pt x="44021" y="2683"/>
                  </a:lnTo>
                  <a:lnTo>
                    <a:pt x="32071" y="0"/>
                  </a:lnTo>
                  <a:lnTo>
                    <a:pt x="28656" y="488"/>
                  </a:lnTo>
                  <a:lnTo>
                    <a:pt x="854" y="3658"/>
                  </a:lnTo>
                  <a:lnTo>
                    <a:pt x="1097" y="4146"/>
                  </a:lnTo>
                  <a:lnTo>
                    <a:pt x="4146" y="12560"/>
                  </a:lnTo>
                  <a:lnTo>
                    <a:pt x="14145" y="29266"/>
                  </a:lnTo>
                  <a:lnTo>
                    <a:pt x="20730" y="40241"/>
                  </a:lnTo>
                  <a:lnTo>
                    <a:pt x="21584" y="41704"/>
                  </a:lnTo>
                  <a:lnTo>
                    <a:pt x="21584" y="60727"/>
                  </a:lnTo>
                  <a:lnTo>
                    <a:pt x="19267" y="62556"/>
                  </a:lnTo>
                  <a:lnTo>
                    <a:pt x="7072" y="72433"/>
                  </a:lnTo>
                  <a:lnTo>
                    <a:pt x="2561" y="75970"/>
                  </a:lnTo>
                  <a:lnTo>
                    <a:pt x="0" y="103163"/>
                  </a:lnTo>
                  <a:lnTo>
                    <a:pt x="26827" y="121332"/>
                  </a:lnTo>
                  <a:lnTo>
                    <a:pt x="67922" y="136940"/>
                  </a:lnTo>
                  <a:lnTo>
                    <a:pt x="71336" y="138160"/>
                  </a:lnTo>
                  <a:lnTo>
                    <a:pt x="71823" y="141818"/>
                  </a:lnTo>
                  <a:lnTo>
                    <a:pt x="72555" y="147793"/>
                  </a:lnTo>
                  <a:lnTo>
                    <a:pt x="72677" y="148769"/>
                  </a:lnTo>
                  <a:lnTo>
                    <a:pt x="72555" y="149622"/>
                  </a:lnTo>
                  <a:lnTo>
                    <a:pt x="71214" y="157793"/>
                  </a:lnTo>
                  <a:lnTo>
                    <a:pt x="104260" y="174255"/>
                  </a:lnTo>
                  <a:lnTo>
                    <a:pt x="111089" y="158280"/>
                  </a:lnTo>
                  <a:lnTo>
                    <a:pt x="115600" y="141696"/>
                  </a:lnTo>
                  <a:lnTo>
                    <a:pt x="129380" y="137550"/>
                  </a:lnTo>
                  <a:lnTo>
                    <a:pt x="129380" y="129258"/>
                  </a:lnTo>
                  <a:lnTo>
                    <a:pt x="140111" y="124624"/>
                  </a:lnTo>
                  <a:lnTo>
                    <a:pt x="147184" y="116088"/>
                  </a:lnTo>
                  <a:lnTo>
                    <a:pt x="138770" y="109869"/>
                  </a:lnTo>
                  <a:lnTo>
                    <a:pt x="136209" y="10804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0" name="Freihandform: Form 479">
              <a:extLst>
                <a:ext uri="{FF2B5EF4-FFF2-40B4-BE49-F238E27FC236}">
                  <a16:creationId xmlns:a16="http://schemas.microsoft.com/office/drawing/2014/main" id="{522B44CB-B9B5-4628-88C5-BAC96617B739}"/>
                </a:ext>
              </a:extLst>
            </p:cNvPr>
            <p:cNvSpPr/>
            <p:nvPr/>
          </p:nvSpPr>
          <p:spPr>
            <a:xfrm>
              <a:off x="7749920" y="4302126"/>
              <a:ext cx="142915" cy="156085"/>
            </a:xfrm>
            <a:custGeom>
              <a:avLst/>
              <a:gdLst>
                <a:gd name="connsiteX0" fmla="*/ 132185 w 142915"/>
                <a:gd name="connsiteY0" fmla="*/ 17925 h 156085"/>
                <a:gd name="connsiteX1" fmla="*/ 121820 w 142915"/>
                <a:gd name="connsiteY1" fmla="*/ 17925 h 156085"/>
                <a:gd name="connsiteX2" fmla="*/ 121820 w 142915"/>
                <a:gd name="connsiteY2" fmla="*/ 5243 h 156085"/>
                <a:gd name="connsiteX3" fmla="*/ 117552 w 142915"/>
                <a:gd name="connsiteY3" fmla="*/ 0 h 156085"/>
                <a:gd name="connsiteX4" fmla="*/ 108894 w 142915"/>
                <a:gd name="connsiteY4" fmla="*/ 3171 h 156085"/>
                <a:gd name="connsiteX5" fmla="*/ 107553 w 142915"/>
                <a:gd name="connsiteY5" fmla="*/ 15243 h 156085"/>
                <a:gd name="connsiteX6" fmla="*/ 94871 w 142915"/>
                <a:gd name="connsiteY6" fmla="*/ 32192 h 156085"/>
                <a:gd name="connsiteX7" fmla="*/ 94871 w 142915"/>
                <a:gd name="connsiteY7" fmla="*/ 41948 h 156085"/>
                <a:gd name="connsiteX8" fmla="*/ 87189 w 142915"/>
                <a:gd name="connsiteY8" fmla="*/ 55727 h 156085"/>
                <a:gd name="connsiteX9" fmla="*/ 62800 w 142915"/>
                <a:gd name="connsiteY9" fmla="*/ 69994 h 156085"/>
                <a:gd name="connsiteX10" fmla="*/ 45606 w 142915"/>
                <a:gd name="connsiteY10" fmla="*/ 87188 h 156085"/>
                <a:gd name="connsiteX11" fmla="*/ 23169 w 142915"/>
                <a:gd name="connsiteY11" fmla="*/ 99748 h 156085"/>
                <a:gd name="connsiteX12" fmla="*/ 10853 w 142915"/>
                <a:gd name="connsiteY12" fmla="*/ 113406 h 156085"/>
                <a:gd name="connsiteX13" fmla="*/ 0 w 142915"/>
                <a:gd name="connsiteY13" fmla="*/ 136941 h 156085"/>
                <a:gd name="connsiteX14" fmla="*/ 2195 w 142915"/>
                <a:gd name="connsiteY14" fmla="*/ 145476 h 156085"/>
                <a:gd name="connsiteX15" fmla="*/ 16463 w 142915"/>
                <a:gd name="connsiteY15" fmla="*/ 145476 h 156085"/>
                <a:gd name="connsiteX16" fmla="*/ 48289 w 142915"/>
                <a:gd name="connsiteY16" fmla="*/ 156085 h 156085"/>
                <a:gd name="connsiteX17" fmla="*/ 74019 w 142915"/>
                <a:gd name="connsiteY17" fmla="*/ 131941 h 156085"/>
                <a:gd name="connsiteX18" fmla="*/ 89628 w 142915"/>
                <a:gd name="connsiteY18" fmla="*/ 98163 h 156085"/>
                <a:gd name="connsiteX19" fmla="*/ 99992 w 142915"/>
                <a:gd name="connsiteY19" fmla="*/ 84871 h 156085"/>
                <a:gd name="connsiteX20" fmla="*/ 118039 w 142915"/>
                <a:gd name="connsiteY20" fmla="*/ 79384 h 156085"/>
                <a:gd name="connsiteX21" fmla="*/ 122064 w 142915"/>
                <a:gd name="connsiteY21" fmla="*/ 65970 h 156085"/>
                <a:gd name="connsiteX22" fmla="*/ 129380 w 142915"/>
                <a:gd name="connsiteY22" fmla="*/ 55727 h 156085"/>
                <a:gd name="connsiteX23" fmla="*/ 140355 w 142915"/>
                <a:gd name="connsiteY23" fmla="*/ 39265 h 156085"/>
                <a:gd name="connsiteX24" fmla="*/ 142916 w 142915"/>
                <a:gd name="connsiteY24" fmla="*/ 11950 h 156085"/>
                <a:gd name="connsiteX25" fmla="*/ 136331 w 142915"/>
                <a:gd name="connsiteY25" fmla="*/ 11097 h 156085"/>
                <a:gd name="connsiteX26" fmla="*/ 132185 w 142915"/>
                <a:gd name="connsiteY26" fmla="*/ 17925 h 15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2915" h="156085">
                  <a:moveTo>
                    <a:pt x="132185" y="17925"/>
                  </a:moveTo>
                  <a:lnTo>
                    <a:pt x="121820" y="17925"/>
                  </a:lnTo>
                  <a:lnTo>
                    <a:pt x="121820" y="5243"/>
                  </a:lnTo>
                  <a:lnTo>
                    <a:pt x="117552" y="0"/>
                  </a:lnTo>
                  <a:lnTo>
                    <a:pt x="108894" y="3171"/>
                  </a:lnTo>
                  <a:lnTo>
                    <a:pt x="107553" y="15243"/>
                  </a:lnTo>
                  <a:lnTo>
                    <a:pt x="94871" y="32192"/>
                  </a:lnTo>
                  <a:lnTo>
                    <a:pt x="94871" y="41948"/>
                  </a:lnTo>
                  <a:lnTo>
                    <a:pt x="87189" y="55727"/>
                  </a:lnTo>
                  <a:lnTo>
                    <a:pt x="62800" y="69994"/>
                  </a:lnTo>
                  <a:lnTo>
                    <a:pt x="45606" y="87188"/>
                  </a:lnTo>
                  <a:lnTo>
                    <a:pt x="23169" y="99748"/>
                  </a:lnTo>
                  <a:lnTo>
                    <a:pt x="10853" y="113406"/>
                  </a:lnTo>
                  <a:lnTo>
                    <a:pt x="0" y="136941"/>
                  </a:lnTo>
                  <a:lnTo>
                    <a:pt x="2195" y="145476"/>
                  </a:lnTo>
                  <a:lnTo>
                    <a:pt x="16463" y="145476"/>
                  </a:lnTo>
                  <a:lnTo>
                    <a:pt x="48289" y="156085"/>
                  </a:lnTo>
                  <a:lnTo>
                    <a:pt x="74019" y="131941"/>
                  </a:lnTo>
                  <a:lnTo>
                    <a:pt x="89628" y="98163"/>
                  </a:lnTo>
                  <a:lnTo>
                    <a:pt x="99992" y="84871"/>
                  </a:lnTo>
                  <a:lnTo>
                    <a:pt x="118039" y="79384"/>
                  </a:lnTo>
                  <a:lnTo>
                    <a:pt x="122064" y="65970"/>
                  </a:lnTo>
                  <a:lnTo>
                    <a:pt x="129380" y="55727"/>
                  </a:lnTo>
                  <a:lnTo>
                    <a:pt x="140355" y="39265"/>
                  </a:lnTo>
                  <a:lnTo>
                    <a:pt x="142916" y="11950"/>
                  </a:lnTo>
                  <a:lnTo>
                    <a:pt x="136331" y="11097"/>
                  </a:lnTo>
                  <a:lnTo>
                    <a:pt x="132185" y="1792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1" name="Freihandform: Form 480">
              <a:extLst>
                <a:ext uri="{FF2B5EF4-FFF2-40B4-BE49-F238E27FC236}">
                  <a16:creationId xmlns:a16="http://schemas.microsoft.com/office/drawing/2014/main" id="{2EB8333B-1EBB-4E6D-9CE8-330F3FB682E3}"/>
                </a:ext>
              </a:extLst>
            </p:cNvPr>
            <p:cNvSpPr/>
            <p:nvPr/>
          </p:nvSpPr>
          <p:spPr>
            <a:xfrm>
              <a:off x="7749310" y="3726440"/>
              <a:ext cx="6097" cy="13047"/>
            </a:xfrm>
            <a:custGeom>
              <a:avLst/>
              <a:gdLst>
                <a:gd name="connsiteX0" fmla="*/ 6097 w 6097"/>
                <a:gd name="connsiteY0" fmla="*/ 9511 h 13047"/>
                <a:gd name="connsiteX1" fmla="*/ 6097 w 6097"/>
                <a:gd name="connsiteY1" fmla="*/ 2317 h 13047"/>
                <a:gd name="connsiteX2" fmla="*/ 1098 w 6097"/>
                <a:gd name="connsiteY2" fmla="*/ 0 h 13047"/>
                <a:gd name="connsiteX3" fmla="*/ 0 w 6097"/>
                <a:gd name="connsiteY3" fmla="*/ 4024 h 13047"/>
                <a:gd name="connsiteX4" fmla="*/ 0 w 6097"/>
                <a:gd name="connsiteY4" fmla="*/ 10487 h 13047"/>
                <a:gd name="connsiteX5" fmla="*/ 2561 w 6097"/>
                <a:gd name="connsiteY5" fmla="*/ 13048 h 13047"/>
                <a:gd name="connsiteX6" fmla="*/ 6097 w 6097"/>
                <a:gd name="connsiteY6" fmla="*/ 9511 h 1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7" h="13047">
                  <a:moveTo>
                    <a:pt x="6097" y="9511"/>
                  </a:moveTo>
                  <a:lnTo>
                    <a:pt x="6097" y="2317"/>
                  </a:lnTo>
                  <a:lnTo>
                    <a:pt x="1098" y="0"/>
                  </a:lnTo>
                  <a:lnTo>
                    <a:pt x="0" y="4024"/>
                  </a:lnTo>
                  <a:lnTo>
                    <a:pt x="0" y="10487"/>
                  </a:lnTo>
                  <a:lnTo>
                    <a:pt x="2561" y="13048"/>
                  </a:lnTo>
                  <a:lnTo>
                    <a:pt x="6097" y="951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2" name="Freihandform: Form 481">
              <a:extLst>
                <a:ext uri="{FF2B5EF4-FFF2-40B4-BE49-F238E27FC236}">
                  <a16:creationId xmlns:a16="http://schemas.microsoft.com/office/drawing/2014/main" id="{37575A21-A794-4A52-BFB7-103AE5AA2DAA}"/>
                </a:ext>
              </a:extLst>
            </p:cNvPr>
            <p:cNvSpPr/>
            <p:nvPr/>
          </p:nvSpPr>
          <p:spPr>
            <a:xfrm>
              <a:off x="7985389" y="3749121"/>
              <a:ext cx="20730" cy="10852"/>
            </a:xfrm>
            <a:custGeom>
              <a:avLst/>
              <a:gdLst>
                <a:gd name="connsiteX0" fmla="*/ 18657 w 20730"/>
                <a:gd name="connsiteY0" fmla="*/ 0 h 10852"/>
                <a:gd name="connsiteX1" fmla="*/ 12804 w 20730"/>
                <a:gd name="connsiteY1" fmla="*/ 2317 h 10852"/>
                <a:gd name="connsiteX2" fmla="*/ 0 w 20730"/>
                <a:gd name="connsiteY2" fmla="*/ 9877 h 10852"/>
                <a:gd name="connsiteX3" fmla="*/ 3171 w 20730"/>
                <a:gd name="connsiteY3" fmla="*/ 10853 h 10852"/>
                <a:gd name="connsiteX4" fmla="*/ 20730 w 20730"/>
                <a:gd name="connsiteY4" fmla="*/ 1585 h 10852"/>
                <a:gd name="connsiteX5" fmla="*/ 18657 w 20730"/>
                <a:gd name="connsiteY5" fmla="*/ 0 h 10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30" h="10852">
                  <a:moveTo>
                    <a:pt x="18657" y="0"/>
                  </a:moveTo>
                  <a:lnTo>
                    <a:pt x="12804" y="2317"/>
                  </a:lnTo>
                  <a:lnTo>
                    <a:pt x="0" y="9877"/>
                  </a:lnTo>
                  <a:lnTo>
                    <a:pt x="3171" y="10853"/>
                  </a:lnTo>
                  <a:lnTo>
                    <a:pt x="20730" y="1585"/>
                  </a:lnTo>
                  <a:lnTo>
                    <a:pt x="1865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3" name="Freihandform: Form 482">
              <a:extLst>
                <a:ext uri="{FF2B5EF4-FFF2-40B4-BE49-F238E27FC236}">
                  <a16:creationId xmlns:a16="http://schemas.microsoft.com/office/drawing/2014/main" id="{4FF25BAB-F0A0-4221-95E3-DB0C5D7A6681}"/>
                </a:ext>
              </a:extLst>
            </p:cNvPr>
            <p:cNvSpPr/>
            <p:nvPr/>
          </p:nvSpPr>
          <p:spPr>
            <a:xfrm>
              <a:off x="4106914" y="3190750"/>
              <a:ext cx="41094" cy="20120"/>
            </a:xfrm>
            <a:custGeom>
              <a:avLst/>
              <a:gdLst>
                <a:gd name="connsiteX0" fmla="*/ 28656 w 41094"/>
                <a:gd name="connsiteY0" fmla="*/ 16218 h 20120"/>
                <a:gd name="connsiteX1" fmla="*/ 29144 w 41094"/>
                <a:gd name="connsiteY1" fmla="*/ 16096 h 20120"/>
                <a:gd name="connsiteX2" fmla="*/ 40241 w 41094"/>
                <a:gd name="connsiteY2" fmla="*/ 13901 h 20120"/>
                <a:gd name="connsiteX3" fmla="*/ 41095 w 41094"/>
                <a:gd name="connsiteY3" fmla="*/ 2439 h 20120"/>
                <a:gd name="connsiteX4" fmla="*/ 16096 w 41094"/>
                <a:gd name="connsiteY4" fmla="*/ 0 h 20120"/>
                <a:gd name="connsiteX5" fmla="*/ 0 w 41094"/>
                <a:gd name="connsiteY5" fmla="*/ 5731 h 20120"/>
                <a:gd name="connsiteX6" fmla="*/ 12804 w 41094"/>
                <a:gd name="connsiteY6" fmla="*/ 12804 h 20120"/>
                <a:gd name="connsiteX7" fmla="*/ 16950 w 41094"/>
                <a:gd name="connsiteY7" fmla="*/ 20120 h 20120"/>
                <a:gd name="connsiteX8" fmla="*/ 18535 w 41094"/>
                <a:gd name="connsiteY8" fmla="*/ 19633 h 20120"/>
                <a:gd name="connsiteX9" fmla="*/ 28413 w 41094"/>
                <a:gd name="connsiteY9" fmla="*/ 16340 h 20120"/>
                <a:gd name="connsiteX10" fmla="*/ 28656 w 41094"/>
                <a:gd name="connsiteY10" fmla="*/ 16218 h 20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94" h="20120">
                  <a:moveTo>
                    <a:pt x="28656" y="16218"/>
                  </a:moveTo>
                  <a:lnTo>
                    <a:pt x="29144" y="16096"/>
                  </a:lnTo>
                  <a:lnTo>
                    <a:pt x="40241" y="13901"/>
                  </a:lnTo>
                  <a:lnTo>
                    <a:pt x="41095" y="2439"/>
                  </a:lnTo>
                  <a:lnTo>
                    <a:pt x="16096" y="0"/>
                  </a:lnTo>
                  <a:lnTo>
                    <a:pt x="0" y="5731"/>
                  </a:lnTo>
                  <a:lnTo>
                    <a:pt x="12804" y="12804"/>
                  </a:lnTo>
                  <a:lnTo>
                    <a:pt x="16950" y="20120"/>
                  </a:lnTo>
                  <a:lnTo>
                    <a:pt x="18535" y="19633"/>
                  </a:lnTo>
                  <a:lnTo>
                    <a:pt x="28413" y="16340"/>
                  </a:lnTo>
                  <a:lnTo>
                    <a:pt x="28656" y="1621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4" name="Freihandform: Form 483">
              <a:extLst>
                <a:ext uri="{FF2B5EF4-FFF2-40B4-BE49-F238E27FC236}">
                  <a16:creationId xmlns:a16="http://schemas.microsoft.com/office/drawing/2014/main" id="{9B6AAD13-0B70-4732-990A-5C02DEF507E0}"/>
                </a:ext>
              </a:extLst>
            </p:cNvPr>
            <p:cNvSpPr/>
            <p:nvPr/>
          </p:nvSpPr>
          <p:spPr>
            <a:xfrm>
              <a:off x="7626759" y="3595597"/>
              <a:ext cx="18900" cy="20364"/>
            </a:xfrm>
            <a:custGeom>
              <a:avLst/>
              <a:gdLst>
                <a:gd name="connsiteX0" fmla="*/ 18901 w 18900"/>
                <a:gd name="connsiteY0" fmla="*/ 18779 h 20364"/>
                <a:gd name="connsiteX1" fmla="*/ 6585 w 18900"/>
                <a:gd name="connsiteY1" fmla="*/ 1219 h 20364"/>
                <a:gd name="connsiteX2" fmla="*/ 2073 w 18900"/>
                <a:gd name="connsiteY2" fmla="*/ 0 h 20364"/>
                <a:gd name="connsiteX3" fmla="*/ 0 w 18900"/>
                <a:gd name="connsiteY3" fmla="*/ 2439 h 20364"/>
                <a:gd name="connsiteX4" fmla="*/ 2926 w 18900"/>
                <a:gd name="connsiteY4" fmla="*/ 7560 h 20364"/>
                <a:gd name="connsiteX5" fmla="*/ 14633 w 18900"/>
                <a:gd name="connsiteY5" fmla="*/ 19267 h 20364"/>
                <a:gd name="connsiteX6" fmla="*/ 18535 w 18900"/>
                <a:gd name="connsiteY6" fmla="*/ 20364 h 20364"/>
                <a:gd name="connsiteX7" fmla="*/ 18901 w 18900"/>
                <a:gd name="connsiteY7" fmla="*/ 18779 h 2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00" h="20364">
                  <a:moveTo>
                    <a:pt x="18901" y="18779"/>
                  </a:moveTo>
                  <a:lnTo>
                    <a:pt x="6585" y="1219"/>
                  </a:lnTo>
                  <a:lnTo>
                    <a:pt x="2073" y="0"/>
                  </a:lnTo>
                  <a:lnTo>
                    <a:pt x="0" y="2439"/>
                  </a:lnTo>
                  <a:lnTo>
                    <a:pt x="2926" y="7560"/>
                  </a:lnTo>
                  <a:lnTo>
                    <a:pt x="14633" y="19267"/>
                  </a:lnTo>
                  <a:lnTo>
                    <a:pt x="18535" y="20364"/>
                  </a:lnTo>
                  <a:lnTo>
                    <a:pt x="18901" y="1877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5" name="Freihandform: Form 484">
              <a:extLst>
                <a:ext uri="{FF2B5EF4-FFF2-40B4-BE49-F238E27FC236}">
                  <a16:creationId xmlns:a16="http://schemas.microsoft.com/office/drawing/2014/main" id="{D419B78F-4D64-4906-A582-5026808DD2A5}"/>
                </a:ext>
              </a:extLst>
            </p:cNvPr>
            <p:cNvSpPr/>
            <p:nvPr/>
          </p:nvSpPr>
          <p:spPr>
            <a:xfrm>
              <a:off x="7699192" y="3837285"/>
              <a:ext cx="49264" cy="36094"/>
            </a:xfrm>
            <a:custGeom>
              <a:avLst/>
              <a:gdLst>
                <a:gd name="connsiteX0" fmla="*/ 25974 w 49264"/>
                <a:gd name="connsiteY0" fmla="*/ 16584 h 36094"/>
                <a:gd name="connsiteX1" fmla="*/ 13048 w 49264"/>
                <a:gd name="connsiteY1" fmla="*/ 6463 h 36094"/>
                <a:gd name="connsiteX2" fmla="*/ 7316 w 49264"/>
                <a:gd name="connsiteY2" fmla="*/ 5487 h 36094"/>
                <a:gd name="connsiteX3" fmla="*/ 1463 w 49264"/>
                <a:gd name="connsiteY3" fmla="*/ 610 h 36094"/>
                <a:gd name="connsiteX4" fmla="*/ 0 w 49264"/>
                <a:gd name="connsiteY4" fmla="*/ 0 h 36094"/>
                <a:gd name="connsiteX5" fmla="*/ 0 w 49264"/>
                <a:gd name="connsiteY5" fmla="*/ 4146 h 36094"/>
                <a:gd name="connsiteX6" fmla="*/ 732 w 49264"/>
                <a:gd name="connsiteY6" fmla="*/ 8048 h 36094"/>
                <a:gd name="connsiteX7" fmla="*/ 10487 w 49264"/>
                <a:gd name="connsiteY7" fmla="*/ 17803 h 36094"/>
                <a:gd name="connsiteX8" fmla="*/ 15852 w 49264"/>
                <a:gd name="connsiteY8" fmla="*/ 20486 h 36094"/>
                <a:gd name="connsiteX9" fmla="*/ 37436 w 49264"/>
                <a:gd name="connsiteY9" fmla="*/ 32680 h 36094"/>
                <a:gd name="connsiteX10" fmla="*/ 47557 w 49264"/>
                <a:gd name="connsiteY10" fmla="*/ 36095 h 36094"/>
                <a:gd name="connsiteX11" fmla="*/ 49264 w 49264"/>
                <a:gd name="connsiteY11" fmla="*/ 34875 h 36094"/>
                <a:gd name="connsiteX12" fmla="*/ 48045 w 49264"/>
                <a:gd name="connsiteY12" fmla="*/ 31217 h 36094"/>
                <a:gd name="connsiteX13" fmla="*/ 25974 w 49264"/>
                <a:gd name="connsiteY13" fmla="*/ 16584 h 36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264" h="36094">
                  <a:moveTo>
                    <a:pt x="25974" y="16584"/>
                  </a:moveTo>
                  <a:lnTo>
                    <a:pt x="13048" y="6463"/>
                  </a:lnTo>
                  <a:lnTo>
                    <a:pt x="7316" y="5487"/>
                  </a:lnTo>
                  <a:lnTo>
                    <a:pt x="1463" y="610"/>
                  </a:lnTo>
                  <a:lnTo>
                    <a:pt x="0" y="0"/>
                  </a:lnTo>
                  <a:lnTo>
                    <a:pt x="0" y="4146"/>
                  </a:lnTo>
                  <a:lnTo>
                    <a:pt x="732" y="8048"/>
                  </a:lnTo>
                  <a:lnTo>
                    <a:pt x="10487" y="17803"/>
                  </a:lnTo>
                  <a:lnTo>
                    <a:pt x="15852" y="20486"/>
                  </a:lnTo>
                  <a:lnTo>
                    <a:pt x="37436" y="32680"/>
                  </a:lnTo>
                  <a:lnTo>
                    <a:pt x="47557" y="36095"/>
                  </a:lnTo>
                  <a:lnTo>
                    <a:pt x="49264" y="34875"/>
                  </a:lnTo>
                  <a:lnTo>
                    <a:pt x="48045" y="31217"/>
                  </a:lnTo>
                  <a:lnTo>
                    <a:pt x="25974" y="165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6" name="Freihandform: Form 485">
              <a:extLst>
                <a:ext uri="{FF2B5EF4-FFF2-40B4-BE49-F238E27FC236}">
                  <a16:creationId xmlns:a16="http://schemas.microsoft.com/office/drawing/2014/main" id="{0AE062C7-36DE-4717-9BB1-76F52BFD5BED}"/>
                </a:ext>
              </a:extLst>
            </p:cNvPr>
            <p:cNvSpPr/>
            <p:nvPr/>
          </p:nvSpPr>
          <p:spPr>
            <a:xfrm>
              <a:off x="7645172" y="3631204"/>
              <a:ext cx="11705" cy="8779"/>
            </a:xfrm>
            <a:custGeom>
              <a:avLst/>
              <a:gdLst>
                <a:gd name="connsiteX0" fmla="*/ 4999 w 11705"/>
                <a:gd name="connsiteY0" fmla="*/ 0 h 8779"/>
                <a:gd name="connsiteX1" fmla="*/ 0 w 11705"/>
                <a:gd name="connsiteY1" fmla="*/ 0 h 8779"/>
                <a:gd name="connsiteX2" fmla="*/ 732 w 11705"/>
                <a:gd name="connsiteY2" fmla="*/ 2195 h 8779"/>
                <a:gd name="connsiteX3" fmla="*/ 9877 w 11705"/>
                <a:gd name="connsiteY3" fmla="*/ 8780 h 8779"/>
                <a:gd name="connsiteX4" fmla="*/ 11706 w 11705"/>
                <a:gd name="connsiteY4" fmla="*/ 8414 h 8779"/>
                <a:gd name="connsiteX5" fmla="*/ 11096 w 11705"/>
                <a:gd name="connsiteY5" fmla="*/ 3049 h 8779"/>
                <a:gd name="connsiteX6" fmla="*/ 4999 w 11705"/>
                <a:gd name="connsiteY6" fmla="*/ 0 h 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05" h="8779">
                  <a:moveTo>
                    <a:pt x="4999" y="0"/>
                  </a:moveTo>
                  <a:lnTo>
                    <a:pt x="0" y="0"/>
                  </a:lnTo>
                  <a:lnTo>
                    <a:pt x="732" y="2195"/>
                  </a:lnTo>
                  <a:lnTo>
                    <a:pt x="9877" y="8780"/>
                  </a:lnTo>
                  <a:lnTo>
                    <a:pt x="11706" y="8414"/>
                  </a:lnTo>
                  <a:lnTo>
                    <a:pt x="11096" y="3049"/>
                  </a:lnTo>
                  <a:lnTo>
                    <a:pt x="499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7" name="Freihandform: Form 486">
              <a:extLst>
                <a:ext uri="{FF2B5EF4-FFF2-40B4-BE49-F238E27FC236}">
                  <a16:creationId xmlns:a16="http://schemas.microsoft.com/office/drawing/2014/main" id="{DAF38C17-82C4-439D-A165-48A5916CA649}"/>
                </a:ext>
              </a:extLst>
            </p:cNvPr>
            <p:cNvSpPr/>
            <p:nvPr/>
          </p:nvSpPr>
          <p:spPr>
            <a:xfrm>
              <a:off x="7871739" y="4151041"/>
              <a:ext cx="109259" cy="168889"/>
            </a:xfrm>
            <a:custGeom>
              <a:avLst/>
              <a:gdLst>
                <a:gd name="connsiteX0" fmla="*/ 95725 w 109259"/>
                <a:gd name="connsiteY0" fmla="*/ 79506 h 168889"/>
                <a:gd name="connsiteX1" fmla="*/ 78287 w 109259"/>
                <a:gd name="connsiteY1" fmla="*/ 82676 h 168889"/>
                <a:gd name="connsiteX2" fmla="*/ 62678 w 109259"/>
                <a:gd name="connsiteY2" fmla="*/ 73287 h 168889"/>
                <a:gd name="connsiteX3" fmla="*/ 58288 w 109259"/>
                <a:gd name="connsiteY3" fmla="*/ 55972 h 168889"/>
                <a:gd name="connsiteX4" fmla="*/ 54874 w 109259"/>
                <a:gd name="connsiteY4" fmla="*/ 51947 h 168889"/>
                <a:gd name="connsiteX5" fmla="*/ 55362 w 109259"/>
                <a:gd name="connsiteY5" fmla="*/ 55484 h 168889"/>
                <a:gd name="connsiteX6" fmla="*/ 50606 w 109259"/>
                <a:gd name="connsiteY6" fmla="*/ 62556 h 168889"/>
                <a:gd name="connsiteX7" fmla="*/ 41460 w 109259"/>
                <a:gd name="connsiteY7" fmla="*/ 53289 h 168889"/>
                <a:gd name="connsiteX8" fmla="*/ 32681 w 109259"/>
                <a:gd name="connsiteY8" fmla="*/ 34144 h 168889"/>
                <a:gd name="connsiteX9" fmla="*/ 32681 w 109259"/>
                <a:gd name="connsiteY9" fmla="*/ 24632 h 168889"/>
                <a:gd name="connsiteX10" fmla="*/ 23901 w 109259"/>
                <a:gd name="connsiteY10" fmla="*/ 15975 h 168889"/>
                <a:gd name="connsiteX11" fmla="*/ 18413 w 109259"/>
                <a:gd name="connsiteY11" fmla="*/ 15975 h 168889"/>
                <a:gd name="connsiteX12" fmla="*/ 0 w 109259"/>
                <a:gd name="connsiteY12" fmla="*/ 0 h 168889"/>
                <a:gd name="connsiteX13" fmla="*/ 0 w 109259"/>
                <a:gd name="connsiteY13" fmla="*/ 4512 h 168889"/>
                <a:gd name="connsiteX14" fmla="*/ 6707 w 109259"/>
                <a:gd name="connsiteY14" fmla="*/ 12682 h 168889"/>
                <a:gd name="connsiteX15" fmla="*/ 26705 w 109259"/>
                <a:gd name="connsiteY15" fmla="*/ 42680 h 168889"/>
                <a:gd name="connsiteX16" fmla="*/ 35363 w 109259"/>
                <a:gd name="connsiteY16" fmla="*/ 60118 h 168889"/>
                <a:gd name="connsiteX17" fmla="*/ 42558 w 109259"/>
                <a:gd name="connsiteY17" fmla="*/ 89018 h 168889"/>
                <a:gd name="connsiteX18" fmla="*/ 42558 w 109259"/>
                <a:gd name="connsiteY18" fmla="*/ 89018 h 168889"/>
                <a:gd name="connsiteX19" fmla="*/ 37924 w 109259"/>
                <a:gd name="connsiteY19" fmla="*/ 107797 h 168889"/>
                <a:gd name="connsiteX20" fmla="*/ 21218 w 109259"/>
                <a:gd name="connsiteY20" fmla="*/ 111943 h 168889"/>
                <a:gd name="connsiteX21" fmla="*/ 21218 w 109259"/>
                <a:gd name="connsiteY21" fmla="*/ 118649 h 168889"/>
                <a:gd name="connsiteX22" fmla="*/ 34510 w 109259"/>
                <a:gd name="connsiteY22" fmla="*/ 122552 h 168889"/>
                <a:gd name="connsiteX23" fmla="*/ 48289 w 109259"/>
                <a:gd name="connsiteY23" fmla="*/ 137916 h 168889"/>
                <a:gd name="connsiteX24" fmla="*/ 46704 w 109259"/>
                <a:gd name="connsiteY24" fmla="*/ 155110 h 168889"/>
                <a:gd name="connsiteX25" fmla="*/ 36949 w 109259"/>
                <a:gd name="connsiteY25" fmla="*/ 164865 h 168889"/>
                <a:gd name="connsiteX26" fmla="*/ 46216 w 109259"/>
                <a:gd name="connsiteY26" fmla="*/ 168889 h 168889"/>
                <a:gd name="connsiteX27" fmla="*/ 57313 w 109259"/>
                <a:gd name="connsiteY27" fmla="*/ 165231 h 168889"/>
                <a:gd name="connsiteX28" fmla="*/ 74263 w 109259"/>
                <a:gd name="connsiteY28" fmla="*/ 130112 h 168889"/>
                <a:gd name="connsiteX29" fmla="*/ 80482 w 109259"/>
                <a:gd name="connsiteY29" fmla="*/ 122674 h 168889"/>
                <a:gd name="connsiteX30" fmla="*/ 76458 w 109259"/>
                <a:gd name="connsiteY30" fmla="*/ 114747 h 168889"/>
                <a:gd name="connsiteX31" fmla="*/ 78530 w 109259"/>
                <a:gd name="connsiteY31" fmla="*/ 106699 h 168889"/>
                <a:gd name="connsiteX32" fmla="*/ 93286 w 109259"/>
                <a:gd name="connsiteY32" fmla="*/ 106699 h 168889"/>
                <a:gd name="connsiteX33" fmla="*/ 101090 w 109259"/>
                <a:gd name="connsiteY33" fmla="*/ 109992 h 168889"/>
                <a:gd name="connsiteX34" fmla="*/ 103650 w 109259"/>
                <a:gd name="connsiteY34" fmla="*/ 88286 h 168889"/>
                <a:gd name="connsiteX35" fmla="*/ 109260 w 109259"/>
                <a:gd name="connsiteY35" fmla="*/ 79872 h 168889"/>
                <a:gd name="connsiteX36" fmla="*/ 109260 w 109259"/>
                <a:gd name="connsiteY36" fmla="*/ 67556 h 168889"/>
                <a:gd name="connsiteX37" fmla="*/ 101333 w 109259"/>
                <a:gd name="connsiteY37" fmla="*/ 69507 h 168889"/>
                <a:gd name="connsiteX38" fmla="*/ 95725 w 109259"/>
                <a:gd name="connsiteY38" fmla="*/ 79506 h 16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9259" h="168889">
                  <a:moveTo>
                    <a:pt x="95725" y="79506"/>
                  </a:moveTo>
                  <a:lnTo>
                    <a:pt x="78287" y="82676"/>
                  </a:lnTo>
                  <a:lnTo>
                    <a:pt x="62678" y="73287"/>
                  </a:lnTo>
                  <a:lnTo>
                    <a:pt x="58288" y="55972"/>
                  </a:lnTo>
                  <a:lnTo>
                    <a:pt x="54874" y="51947"/>
                  </a:lnTo>
                  <a:lnTo>
                    <a:pt x="55362" y="55484"/>
                  </a:lnTo>
                  <a:lnTo>
                    <a:pt x="50606" y="62556"/>
                  </a:lnTo>
                  <a:lnTo>
                    <a:pt x="41460" y="53289"/>
                  </a:lnTo>
                  <a:lnTo>
                    <a:pt x="32681" y="34144"/>
                  </a:lnTo>
                  <a:lnTo>
                    <a:pt x="32681" y="24632"/>
                  </a:lnTo>
                  <a:lnTo>
                    <a:pt x="23901" y="15975"/>
                  </a:lnTo>
                  <a:lnTo>
                    <a:pt x="18413" y="15975"/>
                  </a:lnTo>
                  <a:lnTo>
                    <a:pt x="0" y="0"/>
                  </a:lnTo>
                  <a:lnTo>
                    <a:pt x="0" y="4512"/>
                  </a:lnTo>
                  <a:lnTo>
                    <a:pt x="6707" y="12682"/>
                  </a:lnTo>
                  <a:lnTo>
                    <a:pt x="26705" y="42680"/>
                  </a:lnTo>
                  <a:lnTo>
                    <a:pt x="35363" y="60118"/>
                  </a:lnTo>
                  <a:lnTo>
                    <a:pt x="42558" y="89018"/>
                  </a:lnTo>
                  <a:lnTo>
                    <a:pt x="42558" y="89018"/>
                  </a:lnTo>
                  <a:lnTo>
                    <a:pt x="37924" y="107797"/>
                  </a:lnTo>
                  <a:lnTo>
                    <a:pt x="21218" y="111943"/>
                  </a:lnTo>
                  <a:lnTo>
                    <a:pt x="21218" y="118649"/>
                  </a:lnTo>
                  <a:lnTo>
                    <a:pt x="34510" y="122552"/>
                  </a:lnTo>
                  <a:lnTo>
                    <a:pt x="48289" y="137916"/>
                  </a:lnTo>
                  <a:lnTo>
                    <a:pt x="46704" y="155110"/>
                  </a:lnTo>
                  <a:lnTo>
                    <a:pt x="36949" y="164865"/>
                  </a:lnTo>
                  <a:lnTo>
                    <a:pt x="46216" y="168889"/>
                  </a:lnTo>
                  <a:lnTo>
                    <a:pt x="57313" y="165231"/>
                  </a:lnTo>
                  <a:lnTo>
                    <a:pt x="74263" y="130112"/>
                  </a:lnTo>
                  <a:lnTo>
                    <a:pt x="80482" y="122674"/>
                  </a:lnTo>
                  <a:lnTo>
                    <a:pt x="76458" y="114747"/>
                  </a:lnTo>
                  <a:lnTo>
                    <a:pt x="78530" y="106699"/>
                  </a:lnTo>
                  <a:lnTo>
                    <a:pt x="93286" y="106699"/>
                  </a:lnTo>
                  <a:lnTo>
                    <a:pt x="101090" y="109992"/>
                  </a:lnTo>
                  <a:lnTo>
                    <a:pt x="103650" y="88286"/>
                  </a:lnTo>
                  <a:lnTo>
                    <a:pt x="109260" y="79872"/>
                  </a:lnTo>
                  <a:lnTo>
                    <a:pt x="109260" y="67556"/>
                  </a:lnTo>
                  <a:lnTo>
                    <a:pt x="101333" y="69507"/>
                  </a:lnTo>
                  <a:lnTo>
                    <a:pt x="95725" y="7950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8" name="Freihandform: Form 487">
              <a:extLst>
                <a:ext uri="{FF2B5EF4-FFF2-40B4-BE49-F238E27FC236}">
                  <a16:creationId xmlns:a16="http://schemas.microsoft.com/office/drawing/2014/main" id="{C8526ABE-72D8-48CA-B69B-975BD20107B4}"/>
                </a:ext>
              </a:extLst>
            </p:cNvPr>
            <p:cNvSpPr/>
            <p:nvPr/>
          </p:nvSpPr>
          <p:spPr>
            <a:xfrm>
              <a:off x="4444692" y="3200993"/>
              <a:ext cx="48654" cy="110723"/>
            </a:xfrm>
            <a:custGeom>
              <a:avLst/>
              <a:gdLst>
                <a:gd name="connsiteX0" fmla="*/ 34266 w 48654"/>
                <a:gd name="connsiteY0" fmla="*/ 87798 h 110723"/>
                <a:gd name="connsiteX1" fmla="*/ 32680 w 48654"/>
                <a:gd name="connsiteY1" fmla="*/ 59629 h 110723"/>
                <a:gd name="connsiteX2" fmla="*/ 32559 w 48654"/>
                <a:gd name="connsiteY2" fmla="*/ 57069 h 110723"/>
                <a:gd name="connsiteX3" fmla="*/ 34266 w 48654"/>
                <a:gd name="connsiteY3" fmla="*/ 55240 h 110723"/>
                <a:gd name="connsiteX4" fmla="*/ 46948 w 48654"/>
                <a:gd name="connsiteY4" fmla="*/ 40851 h 110723"/>
                <a:gd name="connsiteX5" fmla="*/ 47923 w 48654"/>
                <a:gd name="connsiteY5" fmla="*/ 26218 h 110723"/>
                <a:gd name="connsiteX6" fmla="*/ 48655 w 48654"/>
                <a:gd name="connsiteY6" fmla="*/ 14877 h 110723"/>
                <a:gd name="connsiteX7" fmla="*/ 41582 w 48654"/>
                <a:gd name="connsiteY7" fmla="*/ 0 h 110723"/>
                <a:gd name="connsiteX8" fmla="*/ 33168 w 48654"/>
                <a:gd name="connsiteY8" fmla="*/ 1097 h 110723"/>
                <a:gd name="connsiteX9" fmla="*/ 34631 w 48654"/>
                <a:gd name="connsiteY9" fmla="*/ 4512 h 110723"/>
                <a:gd name="connsiteX10" fmla="*/ 29754 w 48654"/>
                <a:gd name="connsiteY10" fmla="*/ 7195 h 110723"/>
                <a:gd name="connsiteX11" fmla="*/ 0 w 48654"/>
                <a:gd name="connsiteY11" fmla="*/ 23291 h 110723"/>
                <a:gd name="connsiteX12" fmla="*/ 1585 w 48654"/>
                <a:gd name="connsiteY12" fmla="*/ 30120 h 110723"/>
                <a:gd name="connsiteX13" fmla="*/ 9146 w 48654"/>
                <a:gd name="connsiteY13" fmla="*/ 38655 h 110723"/>
                <a:gd name="connsiteX14" fmla="*/ 9633 w 48654"/>
                <a:gd name="connsiteY14" fmla="*/ 39143 h 110723"/>
                <a:gd name="connsiteX15" fmla="*/ 9999 w 48654"/>
                <a:gd name="connsiteY15" fmla="*/ 39753 h 110723"/>
                <a:gd name="connsiteX16" fmla="*/ 19023 w 48654"/>
                <a:gd name="connsiteY16" fmla="*/ 56093 h 110723"/>
                <a:gd name="connsiteX17" fmla="*/ 19877 w 48654"/>
                <a:gd name="connsiteY17" fmla="*/ 57435 h 110723"/>
                <a:gd name="connsiteX18" fmla="*/ 19754 w 48654"/>
                <a:gd name="connsiteY18" fmla="*/ 59142 h 110723"/>
                <a:gd name="connsiteX19" fmla="*/ 19389 w 48654"/>
                <a:gd name="connsiteY19" fmla="*/ 110723 h 110723"/>
                <a:gd name="connsiteX20" fmla="*/ 35363 w 48654"/>
                <a:gd name="connsiteY20" fmla="*/ 108772 h 110723"/>
                <a:gd name="connsiteX21" fmla="*/ 35363 w 48654"/>
                <a:gd name="connsiteY21" fmla="*/ 108650 h 110723"/>
                <a:gd name="connsiteX22" fmla="*/ 34266 w 48654"/>
                <a:gd name="connsiteY22" fmla="*/ 87798 h 11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654" h="110723">
                  <a:moveTo>
                    <a:pt x="34266" y="87798"/>
                  </a:moveTo>
                  <a:lnTo>
                    <a:pt x="32680" y="59629"/>
                  </a:lnTo>
                  <a:lnTo>
                    <a:pt x="32559" y="57069"/>
                  </a:lnTo>
                  <a:lnTo>
                    <a:pt x="34266" y="55240"/>
                  </a:lnTo>
                  <a:lnTo>
                    <a:pt x="46948" y="40851"/>
                  </a:lnTo>
                  <a:lnTo>
                    <a:pt x="47923" y="26218"/>
                  </a:lnTo>
                  <a:lnTo>
                    <a:pt x="48655" y="14877"/>
                  </a:lnTo>
                  <a:lnTo>
                    <a:pt x="41582" y="0"/>
                  </a:lnTo>
                  <a:lnTo>
                    <a:pt x="33168" y="1097"/>
                  </a:lnTo>
                  <a:lnTo>
                    <a:pt x="34631" y="4512"/>
                  </a:lnTo>
                  <a:lnTo>
                    <a:pt x="29754" y="7195"/>
                  </a:lnTo>
                  <a:lnTo>
                    <a:pt x="0" y="23291"/>
                  </a:lnTo>
                  <a:lnTo>
                    <a:pt x="1585" y="30120"/>
                  </a:lnTo>
                  <a:lnTo>
                    <a:pt x="9146" y="38655"/>
                  </a:lnTo>
                  <a:lnTo>
                    <a:pt x="9633" y="39143"/>
                  </a:lnTo>
                  <a:lnTo>
                    <a:pt x="9999" y="39753"/>
                  </a:lnTo>
                  <a:lnTo>
                    <a:pt x="19023" y="56093"/>
                  </a:lnTo>
                  <a:lnTo>
                    <a:pt x="19877" y="57435"/>
                  </a:lnTo>
                  <a:lnTo>
                    <a:pt x="19754" y="59142"/>
                  </a:lnTo>
                  <a:lnTo>
                    <a:pt x="19389" y="110723"/>
                  </a:lnTo>
                  <a:lnTo>
                    <a:pt x="35363" y="108772"/>
                  </a:lnTo>
                  <a:lnTo>
                    <a:pt x="35363" y="108650"/>
                  </a:lnTo>
                  <a:lnTo>
                    <a:pt x="34266" y="877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89" name="Freihandform: Form 488">
              <a:extLst>
                <a:ext uri="{FF2B5EF4-FFF2-40B4-BE49-F238E27FC236}">
                  <a16:creationId xmlns:a16="http://schemas.microsoft.com/office/drawing/2014/main" id="{7836B0C8-F1CE-4C49-B3C5-CDF42DCAC682}"/>
                </a:ext>
              </a:extLst>
            </p:cNvPr>
            <p:cNvSpPr/>
            <p:nvPr/>
          </p:nvSpPr>
          <p:spPr>
            <a:xfrm>
              <a:off x="4431645" y="3223553"/>
              <a:ext cx="24876" cy="94260"/>
            </a:xfrm>
            <a:custGeom>
              <a:avLst/>
              <a:gdLst>
                <a:gd name="connsiteX0" fmla="*/ 8292 w 24876"/>
                <a:gd name="connsiteY0" fmla="*/ 12560 h 94260"/>
                <a:gd name="connsiteX1" fmla="*/ 7195 w 24876"/>
                <a:gd name="connsiteY1" fmla="*/ 11340 h 94260"/>
                <a:gd name="connsiteX2" fmla="*/ 6951 w 24876"/>
                <a:gd name="connsiteY2" fmla="*/ 9755 h 94260"/>
                <a:gd name="connsiteX3" fmla="*/ 5122 w 24876"/>
                <a:gd name="connsiteY3" fmla="*/ 1707 h 94260"/>
                <a:gd name="connsiteX4" fmla="*/ 0 w 24876"/>
                <a:gd name="connsiteY4" fmla="*/ 0 h 94260"/>
                <a:gd name="connsiteX5" fmla="*/ 244 w 24876"/>
                <a:gd name="connsiteY5" fmla="*/ 5487 h 94260"/>
                <a:gd name="connsiteX6" fmla="*/ 732 w 24876"/>
                <a:gd name="connsiteY6" fmla="*/ 17803 h 94260"/>
                <a:gd name="connsiteX7" fmla="*/ 1707 w 24876"/>
                <a:gd name="connsiteY7" fmla="*/ 35973 h 94260"/>
                <a:gd name="connsiteX8" fmla="*/ 2561 w 24876"/>
                <a:gd name="connsiteY8" fmla="*/ 52679 h 94260"/>
                <a:gd name="connsiteX9" fmla="*/ 7439 w 24876"/>
                <a:gd name="connsiteY9" fmla="*/ 60849 h 94260"/>
                <a:gd name="connsiteX10" fmla="*/ 8292 w 24876"/>
                <a:gd name="connsiteY10" fmla="*/ 62190 h 94260"/>
                <a:gd name="connsiteX11" fmla="*/ 8292 w 24876"/>
                <a:gd name="connsiteY11" fmla="*/ 83530 h 94260"/>
                <a:gd name="connsiteX12" fmla="*/ 10731 w 24876"/>
                <a:gd name="connsiteY12" fmla="*/ 94261 h 94260"/>
                <a:gd name="connsiteX13" fmla="*/ 24388 w 24876"/>
                <a:gd name="connsiteY13" fmla="*/ 89871 h 94260"/>
                <a:gd name="connsiteX14" fmla="*/ 24388 w 24876"/>
                <a:gd name="connsiteY14" fmla="*/ 88286 h 94260"/>
                <a:gd name="connsiteX15" fmla="*/ 24876 w 24876"/>
                <a:gd name="connsiteY15" fmla="*/ 36948 h 94260"/>
                <a:gd name="connsiteX16" fmla="*/ 16218 w 24876"/>
                <a:gd name="connsiteY16" fmla="*/ 21462 h 94260"/>
                <a:gd name="connsiteX17" fmla="*/ 8292 w 24876"/>
                <a:gd name="connsiteY17" fmla="*/ 12560 h 9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76" h="94260">
                  <a:moveTo>
                    <a:pt x="8292" y="12560"/>
                  </a:moveTo>
                  <a:lnTo>
                    <a:pt x="7195" y="11340"/>
                  </a:lnTo>
                  <a:lnTo>
                    <a:pt x="6951" y="9755"/>
                  </a:lnTo>
                  <a:lnTo>
                    <a:pt x="5122" y="1707"/>
                  </a:lnTo>
                  <a:lnTo>
                    <a:pt x="0" y="0"/>
                  </a:lnTo>
                  <a:lnTo>
                    <a:pt x="244" y="5487"/>
                  </a:lnTo>
                  <a:lnTo>
                    <a:pt x="732" y="17803"/>
                  </a:lnTo>
                  <a:lnTo>
                    <a:pt x="1707" y="35973"/>
                  </a:lnTo>
                  <a:lnTo>
                    <a:pt x="2561" y="52679"/>
                  </a:lnTo>
                  <a:lnTo>
                    <a:pt x="7439" y="60849"/>
                  </a:lnTo>
                  <a:lnTo>
                    <a:pt x="8292" y="62190"/>
                  </a:lnTo>
                  <a:lnTo>
                    <a:pt x="8292" y="83530"/>
                  </a:lnTo>
                  <a:lnTo>
                    <a:pt x="10731" y="94261"/>
                  </a:lnTo>
                  <a:lnTo>
                    <a:pt x="24388" y="89871"/>
                  </a:lnTo>
                  <a:lnTo>
                    <a:pt x="24388" y="88286"/>
                  </a:lnTo>
                  <a:lnTo>
                    <a:pt x="24876" y="36948"/>
                  </a:lnTo>
                  <a:lnTo>
                    <a:pt x="16218" y="21462"/>
                  </a:lnTo>
                  <a:lnTo>
                    <a:pt x="8292" y="1256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0" name="Freihandform: Form 489">
              <a:extLst>
                <a:ext uri="{FF2B5EF4-FFF2-40B4-BE49-F238E27FC236}">
                  <a16:creationId xmlns:a16="http://schemas.microsoft.com/office/drawing/2014/main" id="{A7491CCD-215B-4874-B222-90EDB2B9A93A}"/>
                </a:ext>
              </a:extLst>
            </p:cNvPr>
            <p:cNvSpPr/>
            <p:nvPr/>
          </p:nvSpPr>
          <p:spPr>
            <a:xfrm>
              <a:off x="4367259" y="3213553"/>
              <a:ext cx="67433" cy="125478"/>
            </a:xfrm>
            <a:custGeom>
              <a:avLst/>
              <a:gdLst>
                <a:gd name="connsiteX0" fmla="*/ 66215 w 67433"/>
                <a:gd name="connsiteY0" fmla="*/ 101577 h 125478"/>
                <a:gd name="connsiteX1" fmla="*/ 64873 w 67433"/>
                <a:gd name="connsiteY1" fmla="*/ 95236 h 125478"/>
                <a:gd name="connsiteX2" fmla="*/ 64629 w 67433"/>
                <a:gd name="connsiteY2" fmla="*/ 94627 h 125478"/>
                <a:gd name="connsiteX3" fmla="*/ 64629 w 67433"/>
                <a:gd name="connsiteY3" fmla="*/ 74506 h 125478"/>
                <a:gd name="connsiteX4" fmla="*/ 59873 w 67433"/>
                <a:gd name="connsiteY4" fmla="*/ 66458 h 125478"/>
                <a:gd name="connsiteX5" fmla="*/ 59020 w 67433"/>
                <a:gd name="connsiteY5" fmla="*/ 65117 h 125478"/>
                <a:gd name="connsiteX6" fmla="*/ 59020 w 67433"/>
                <a:gd name="connsiteY6" fmla="*/ 63532 h 125478"/>
                <a:gd name="connsiteX7" fmla="*/ 58166 w 67433"/>
                <a:gd name="connsiteY7" fmla="*/ 47557 h 125478"/>
                <a:gd name="connsiteX8" fmla="*/ 57069 w 67433"/>
                <a:gd name="connsiteY8" fmla="*/ 28168 h 125478"/>
                <a:gd name="connsiteX9" fmla="*/ 56581 w 67433"/>
                <a:gd name="connsiteY9" fmla="*/ 15852 h 125478"/>
                <a:gd name="connsiteX10" fmla="*/ 56337 w 67433"/>
                <a:gd name="connsiteY10" fmla="*/ 7561 h 125478"/>
                <a:gd name="connsiteX11" fmla="*/ 56337 w 67433"/>
                <a:gd name="connsiteY11" fmla="*/ 7317 h 125478"/>
                <a:gd name="connsiteX12" fmla="*/ 47070 w 67433"/>
                <a:gd name="connsiteY12" fmla="*/ 4146 h 125478"/>
                <a:gd name="connsiteX13" fmla="*/ 38534 w 67433"/>
                <a:gd name="connsiteY13" fmla="*/ 5365 h 125478"/>
                <a:gd name="connsiteX14" fmla="*/ 36948 w 67433"/>
                <a:gd name="connsiteY14" fmla="*/ 5609 h 125478"/>
                <a:gd name="connsiteX15" fmla="*/ 35485 w 67433"/>
                <a:gd name="connsiteY15" fmla="*/ 5000 h 125478"/>
                <a:gd name="connsiteX16" fmla="*/ 23291 w 67433"/>
                <a:gd name="connsiteY16" fmla="*/ 122 h 125478"/>
                <a:gd name="connsiteX17" fmla="*/ 22925 w 67433"/>
                <a:gd name="connsiteY17" fmla="*/ 0 h 125478"/>
                <a:gd name="connsiteX18" fmla="*/ 13536 w 67433"/>
                <a:gd name="connsiteY18" fmla="*/ 2073 h 125478"/>
                <a:gd name="connsiteX19" fmla="*/ 4878 w 67433"/>
                <a:gd name="connsiteY19" fmla="*/ 25608 h 125478"/>
                <a:gd name="connsiteX20" fmla="*/ 15487 w 67433"/>
                <a:gd name="connsiteY20" fmla="*/ 53654 h 125478"/>
                <a:gd name="connsiteX21" fmla="*/ 15853 w 67433"/>
                <a:gd name="connsiteY21" fmla="*/ 54630 h 125478"/>
                <a:gd name="connsiteX22" fmla="*/ 15853 w 67433"/>
                <a:gd name="connsiteY22" fmla="*/ 64873 h 125478"/>
                <a:gd name="connsiteX23" fmla="*/ 15243 w 67433"/>
                <a:gd name="connsiteY23" fmla="*/ 66214 h 125478"/>
                <a:gd name="connsiteX24" fmla="*/ 11585 w 67433"/>
                <a:gd name="connsiteY24" fmla="*/ 73165 h 125478"/>
                <a:gd name="connsiteX25" fmla="*/ 0 w 67433"/>
                <a:gd name="connsiteY25" fmla="*/ 95602 h 125478"/>
                <a:gd name="connsiteX26" fmla="*/ 2439 w 67433"/>
                <a:gd name="connsiteY26" fmla="*/ 106699 h 125478"/>
                <a:gd name="connsiteX27" fmla="*/ 8292 w 67433"/>
                <a:gd name="connsiteY27" fmla="*/ 118649 h 125478"/>
                <a:gd name="connsiteX28" fmla="*/ 10487 w 67433"/>
                <a:gd name="connsiteY28" fmla="*/ 122917 h 125478"/>
                <a:gd name="connsiteX29" fmla="*/ 16218 w 67433"/>
                <a:gd name="connsiteY29" fmla="*/ 125478 h 125478"/>
                <a:gd name="connsiteX30" fmla="*/ 58044 w 67433"/>
                <a:gd name="connsiteY30" fmla="*/ 110113 h 125478"/>
                <a:gd name="connsiteX31" fmla="*/ 67434 w 67433"/>
                <a:gd name="connsiteY31" fmla="*/ 106821 h 125478"/>
                <a:gd name="connsiteX32" fmla="*/ 67312 w 67433"/>
                <a:gd name="connsiteY32" fmla="*/ 106211 h 125478"/>
                <a:gd name="connsiteX33" fmla="*/ 66215 w 67433"/>
                <a:gd name="connsiteY33" fmla="*/ 101577 h 12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7433" h="125478">
                  <a:moveTo>
                    <a:pt x="66215" y="101577"/>
                  </a:moveTo>
                  <a:lnTo>
                    <a:pt x="64873" y="95236"/>
                  </a:lnTo>
                  <a:lnTo>
                    <a:pt x="64629" y="94627"/>
                  </a:lnTo>
                  <a:lnTo>
                    <a:pt x="64629" y="74506"/>
                  </a:lnTo>
                  <a:lnTo>
                    <a:pt x="59873" y="66458"/>
                  </a:lnTo>
                  <a:lnTo>
                    <a:pt x="59020" y="65117"/>
                  </a:lnTo>
                  <a:lnTo>
                    <a:pt x="59020" y="63532"/>
                  </a:lnTo>
                  <a:lnTo>
                    <a:pt x="58166" y="47557"/>
                  </a:lnTo>
                  <a:lnTo>
                    <a:pt x="57069" y="28168"/>
                  </a:lnTo>
                  <a:lnTo>
                    <a:pt x="56581" y="15852"/>
                  </a:lnTo>
                  <a:lnTo>
                    <a:pt x="56337" y="7561"/>
                  </a:lnTo>
                  <a:lnTo>
                    <a:pt x="56337" y="7317"/>
                  </a:lnTo>
                  <a:lnTo>
                    <a:pt x="47070" y="4146"/>
                  </a:lnTo>
                  <a:lnTo>
                    <a:pt x="38534" y="5365"/>
                  </a:lnTo>
                  <a:lnTo>
                    <a:pt x="36948" y="5609"/>
                  </a:lnTo>
                  <a:lnTo>
                    <a:pt x="35485" y="5000"/>
                  </a:lnTo>
                  <a:lnTo>
                    <a:pt x="23291" y="122"/>
                  </a:lnTo>
                  <a:lnTo>
                    <a:pt x="22925" y="0"/>
                  </a:lnTo>
                  <a:lnTo>
                    <a:pt x="13536" y="2073"/>
                  </a:lnTo>
                  <a:lnTo>
                    <a:pt x="4878" y="25608"/>
                  </a:lnTo>
                  <a:lnTo>
                    <a:pt x="15487" y="53654"/>
                  </a:lnTo>
                  <a:lnTo>
                    <a:pt x="15853" y="54630"/>
                  </a:lnTo>
                  <a:lnTo>
                    <a:pt x="15853" y="64873"/>
                  </a:lnTo>
                  <a:lnTo>
                    <a:pt x="15243" y="66214"/>
                  </a:lnTo>
                  <a:lnTo>
                    <a:pt x="11585" y="73165"/>
                  </a:lnTo>
                  <a:lnTo>
                    <a:pt x="0" y="95602"/>
                  </a:lnTo>
                  <a:lnTo>
                    <a:pt x="2439" y="106699"/>
                  </a:lnTo>
                  <a:lnTo>
                    <a:pt x="8292" y="118649"/>
                  </a:lnTo>
                  <a:lnTo>
                    <a:pt x="10487" y="122917"/>
                  </a:lnTo>
                  <a:lnTo>
                    <a:pt x="16218" y="125478"/>
                  </a:lnTo>
                  <a:lnTo>
                    <a:pt x="58044" y="110113"/>
                  </a:lnTo>
                  <a:lnTo>
                    <a:pt x="67434" y="106821"/>
                  </a:lnTo>
                  <a:lnTo>
                    <a:pt x="67312" y="106211"/>
                  </a:lnTo>
                  <a:lnTo>
                    <a:pt x="66215" y="10157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1" name="Freihandform: Form 490">
              <a:extLst>
                <a:ext uri="{FF2B5EF4-FFF2-40B4-BE49-F238E27FC236}">
                  <a16:creationId xmlns:a16="http://schemas.microsoft.com/office/drawing/2014/main" id="{506BF2CC-C589-408B-BEBF-F0F7ED9CCED2}"/>
                </a:ext>
              </a:extLst>
            </p:cNvPr>
            <p:cNvSpPr/>
            <p:nvPr/>
          </p:nvSpPr>
          <p:spPr>
            <a:xfrm>
              <a:off x="4597363" y="3176117"/>
              <a:ext cx="133160" cy="218763"/>
            </a:xfrm>
            <a:custGeom>
              <a:avLst/>
              <a:gdLst>
                <a:gd name="connsiteX0" fmla="*/ 16341 w 133160"/>
                <a:gd name="connsiteY0" fmla="*/ 187546 h 218763"/>
                <a:gd name="connsiteX1" fmla="*/ 17560 w 133160"/>
                <a:gd name="connsiteY1" fmla="*/ 187912 h 218763"/>
                <a:gd name="connsiteX2" fmla="*/ 16950 w 133160"/>
                <a:gd name="connsiteY2" fmla="*/ 188278 h 218763"/>
                <a:gd name="connsiteX3" fmla="*/ 24998 w 133160"/>
                <a:gd name="connsiteY3" fmla="*/ 198399 h 218763"/>
                <a:gd name="connsiteX4" fmla="*/ 24998 w 133160"/>
                <a:gd name="connsiteY4" fmla="*/ 213642 h 218763"/>
                <a:gd name="connsiteX5" fmla="*/ 51703 w 133160"/>
                <a:gd name="connsiteY5" fmla="*/ 213398 h 218763"/>
                <a:gd name="connsiteX6" fmla="*/ 51947 w 133160"/>
                <a:gd name="connsiteY6" fmla="*/ 213398 h 218763"/>
                <a:gd name="connsiteX7" fmla="*/ 55849 w 133160"/>
                <a:gd name="connsiteY7" fmla="*/ 213398 h 218763"/>
                <a:gd name="connsiteX8" fmla="*/ 80360 w 133160"/>
                <a:gd name="connsiteY8" fmla="*/ 213032 h 218763"/>
                <a:gd name="connsiteX9" fmla="*/ 80604 w 133160"/>
                <a:gd name="connsiteY9" fmla="*/ 213032 h 218763"/>
                <a:gd name="connsiteX10" fmla="*/ 80604 w 133160"/>
                <a:gd name="connsiteY10" fmla="*/ 213032 h 218763"/>
                <a:gd name="connsiteX11" fmla="*/ 82676 w 133160"/>
                <a:gd name="connsiteY11" fmla="*/ 212910 h 218763"/>
                <a:gd name="connsiteX12" fmla="*/ 89018 w 133160"/>
                <a:gd name="connsiteY12" fmla="*/ 212910 h 218763"/>
                <a:gd name="connsiteX13" fmla="*/ 89018 w 133160"/>
                <a:gd name="connsiteY13" fmla="*/ 212910 h 218763"/>
                <a:gd name="connsiteX14" fmla="*/ 112064 w 133160"/>
                <a:gd name="connsiteY14" fmla="*/ 212666 h 218763"/>
                <a:gd name="connsiteX15" fmla="*/ 114015 w 133160"/>
                <a:gd name="connsiteY15" fmla="*/ 212666 h 218763"/>
                <a:gd name="connsiteX16" fmla="*/ 115723 w 133160"/>
                <a:gd name="connsiteY16" fmla="*/ 213764 h 218763"/>
                <a:gd name="connsiteX17" fmla="*/ 117796 w 133160"/>
                <a:gd name="connsiteY17" fmla="*/ 215349 h 218763"/>
                <a:gd name="connsiteX18" fmla="*/ 122429 w 133160"/>
                <a:gd name="connsiteY18" fmla="*/ 218763 h 218763"/>
                <a:gd name="connsiteX19" fmla="*/ 132673 w 133160"/>
                <a:gd name="connsiteY19" fmla="*/ 206325 h 218763"/>
                <a:gd name="connsiteX20" fmla="*/ 133160 w 133160"/>
                <a:gd name="connsiteY20" fmla="*/ 205715 h 218763"/>
                <a:gd name="connsiteX21" fmla="*/ 132673 w 133160"/>
                <a:gd name="connsiteY21" fmla="*/ 204740 h 218763"/>
                <a:gd name="connsiteX22" fmla="*/ 119137 w 133160"/>
                <a:gd name="connsiteY22" fmla="*/ 176815 h 218763"/>
                <a:gd name="connsiteX23" fmla="*/ 111821 w 133160"/>
                <a:gd name="connsiteY23" fmla="*/ 161573 h 218763"/>
                <a:gd name="connsiteX24" fmla="*/ 111089 w 133160"/>
                <a:gd name="connsiteY24" fmla="*/ 160353 h 218763"/>
                <a:gd name="connsiteX25" fmla="*/ 111089 w 133160"/>
                <a:gd name="connsiteY25" fmla="*/ 145476 h 218763"/>
                <a:gd name="connsiteX26" fmla="*/ 112064 w 133160"/>
                <a:gd name="connsiteY26" fmla="*/ 144013 h 218763"/>
                <a:gd name="connsiteX27" fmla="*/ 116820 w 133160"/>
                <a:gd name="connsiteY27" fmla="*/ 136696 h 218763"/>
                <a:gd name="connsiteX28" fmla="*/ 133160 w 133160"/>
                <a:gd name="connsiteY28" fmla="*/ 111089 h 218763"/>
                <a:gd name="connsiteX29" fmla="*/ 126454 w 133160"/>
                <a:gd name="connsiteY29" fmla="*/ 99138 h 218763"/>
                <a:gd name="connsiteX30" fmla="*/ 122064 w 133160"/>
                <a:gd name="connsiteY30" fmla="*/ 91334 h 218763"/>
                <a:gd name="connsiteX31" fmla="*/ 116698 w 133160"/>
                <a:gd name="connsiteY31" fmla="*/ 87676 h 218763"/>
                <a:gd name="connsiteX32" fmla="*/ 105480 w 133160"/>
                <a:gd name="connsiteY32" fmla="*/ 79872 h 218763"/>
                <a:gd name="connsiteX33" fmla="*/ 102187 w 133160"/>
                <a:gd name="connsiteY33" fmla="*/ 77555 h 218763"/>
                <a:gd name="connsiteX34" fmla="*/ 103041 w 133160"/>
                <a:gd name="connsiteY34" fmla="*/ 73531 h 218763"/>
                <a:gd name="connsiteX35" fmla="*/ 104504 w 133160"/>
                <a:gd name="connsiteY35" fmla="*/ 66946 h 218763"/>
                <a:gd name="connsiteX36" fmla="*/ 105236 w 133160"/>
                <a:gd name="connsiteY36" fmla="*/ 63410 h 218763"/>
                <a:gd name="connsiteX37" fmla="*/ 106089 w 133160"/>
                <a:gd name="connsiteY37" fmla="*/ 59873 h 218763"/>
                <a:gd name="connsiteX38" fmla="*/ 109626 w 133160"/>
                <a:gd name="connsiteY38" fmla="*/ 58898 h 218763"/>
                <a:gd name="connsiteX39" fmla="*/ 115113 w 133160"/>
                <a:gd name="connsiteY39" fmla="*/ 57434 h 218763"/>
                <a:gd name="connsiteX40" fmla="*/ 126820 w 133160"/>
                <a:gd name="connsiteY40" fmla="*/ 54264 h 218763"/>
                <a:gd name="connsiteX41" fmla="*/ 128161 w 133160"/>
                <a:gd name="connsiteY41" fmla="*/ 21827 h 218763"/>
                <a:gd name="connsiteX42" fmla="*/ 118161 w 133160"/>
                <a:gd name="connsiteY42" fmla="*/ 8780 h 218763"/>
                <a:gd name="connsiteX43" fmla="*/ 111455 w 133160"/>
                <a:gd name="connsiteY43" fmla="*/ 0 h 218763"/>
                <a:gd name="connsiteX44" fmla="*/ 111333 w 133160"/>
                <a:gd name="connsiteY44" fmla="*/ 0 h 218763"/>
                <a:gd name="connsiteX45" fmla="*/ 111699 w 133160"/>
                <a:gd name="connsiteY45" fmla="*/ 2317 h 218763"/>
                <a:gd name="connsiteX46" fmla="*/ 112064 w 133160"/>
                <a:gd name="connsiteY46" fmla="*/ 4634 h 218763"/>
                <a:gd name="connsiteX47" fmla="*/ 114747 w 133160"/>
                <a:gd name="connsiteY47" fmla="*/ 34387 h 218763"/>
                <a:gd name="connsiteX48" fmla="*/ 115113 w 133160"/>
                <a:gd name="connsiteY48" fmla="*/ 38290 h 218763"/>
                <a:gd name="connsiteX49" fmla="*/ 111699 w 133160"/>
                <a:gd name="connsiteY49" fmla="*/ 40241 h 218763"/>
                <a:gd name="connsiteX50" fmla="*/ 103894 w 133160"/>
                <a:gd name="connsiteY50" fmla="*/ 44753 h 218763"/>
                <a:gd name="connsiteX51" fmla="*/ 92432 w 133160"/>
                <a:gd name="connsiteY51" fmla="*/ 65604 h 218763"/>
                <a:gd name="connsiteX52" fmla="*/ 89018 w 133160"/>
                <a:gd name="connsiteY52" fmla="*/ 71824 h 218763"/>
                <a:gd name="connsiteX53" fmla="*/ 88530 w 133160"/>
                <a:gd name="connsiteY53" fmla="*/ 72555 h 218763"/>
                <a:gd name="connsiteX54" fmla="*/ 87920 w 133160"/>
                <a:gd name="connsiteY54" fmla="*/ 73165 h 218763"/>
                <a:gd name="connsiteX55" fmla="*/ 85359 w 133160"/>
                <a:gd name="connsiteY55" fmla="*/ 75726 h 218763"/>
                <a:gd name="connsiteX56" fmla="*/ 76214 w 133160"/>
                <a:gd name="connsiteY56" fmla="*/ 84871 h 218763"/>
                <a:gd name="connsiteX57" fmla="*/ 69507 w 133160"/>
                <a:gd name="connsiteY57" fmla="*/ 114015 h 218763"/>
                <a:gd name="connsiteX58" fmla="*/ 68044 w 133160"/>
                <a:gd name="connsiteY58" fmla="*/ 120112 h 218763"/>
                <a:gd name="connsiteX59" fmla="*/ 67678 w 133160"/>
                <a:gd name="connsiteY59" fmla="*/ 121820 h 218763"/>
                <a:gd name="connsiteX60" fmla="*/ 66458 w 133160"/>
                <a:gd name="connsiteY60" fmla="*/ 123039 h 218763"/>
                <a:gd name="connsiteX61" fmla="*/ 64995 w 133160"/>
                <a:gd name="connsiteY61" fmla="*/ 124502 h 218763"/>
                <a:gd name="connsiteX62" fmla="*/ 57191 w 133160"/>
                <a:gd name="connsiteY62" fmla="*/ 132307 h 218763"/>
                <a:gd name="connsiteX63" fmla="*/ 52557 w 133160"/>
                <a:gd name="connsiteY63" fmla="*/ 136940 h 218763"/>
                <a:gd name="connsiteX64" fmla="*/ 48289 w 133160"/>
                <a:gd name="connsiteY64" fmla="*/ 132063 h 218763"/>
                <a:gd name="connsiteX65" fmla="*/ 39631 w 133160"/>
                <a:gd name="connsiteY65" fmla="*/ 122307 h 218763"/>
                <a:gd name="connsiteX66" fmla="*/ 29144 w 133160"/>
                <a:gd name="connsiteY66" fmla="*/ 122307 h 218763"/>
                <a:gd name="connsiteX67" fmla="*/ 6707 w 133160"/>
                <a:gd name="connsiteY67" fmla="*/ 149988 h 218763"/>
                <a:gd name="connsiteX68" fmla="*/ 244 w 133160"/>
                <a:gd name="connsiteY68" fmla="*/ 173157 h 218763"/>
                <a:gd name="connsiteX69" fmla="*/ 0 w 133160"/>
                <a:gd name="connsiteY69" fmla="*/ 174011 h 218763"/>
                <a:gd name="connsiteX70" fmla="*/ 6585 w 133160"/>
                <a:gd name="connsiteY70" fmla="*/ 178766 h 218763"/>
                <a:gd name="connsiteX71" fmla="*/ 13292 w 133160"/>
                <a:gd name="connsiteY71" fmla="*/ 183644 h 218763"/>
                <a:gd name="connsiteX72" fmla="*/ 16341 w 133160"/>
                <a:gd name="connsiteY72" fmla="*/ 187546 h 21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33160" h="218763">
                  <a:moveTo>
                    <a:pt x="16341" y="187546"/>
                  </a:moveTo>
                  <a:lnTo>
                    <a:pt x="17560" y="187912"/>
                  </a:lnTo>
                  <a:lnTo>
                    <a:pt x="16950" y="188278"/>
                  </a:lnTo>
                  <a:lnTo>
                    <a:pt x="24998" y="198399"/>
                  </a:lnTo>
                  <a:lnTo>
                    <a:pt x="24998" y="213642"/>
                  </a:lnTo>
                  <a:lnTo>
                    <a:pt x="51703" y="213398"/>
                  </a:lnTo>
                  <a:lnTo>
                    <a:pt x="51947" y="213398"/>
                  </a:lnTo>
                  <a:lnTo>
                    <a:pt x="55849" y="213398"/>
                  </a:lnTo>
                  <a:lnTo>
                    <a:pt x="80360" y="213032"/>
                  </a:lnTo>
                  <a:lnTo>
                    <a:pt x="80604" y="213032"/>
                  </a:lnTo>
                  <a:lnTo>
                    <a:pt x="80604" y="213032"/>
                  </a:lnTo>
                  <a:lnTo>
                    <a:pt x="82676" y="212910"/>
                  </a:lnTo>
                  <a:lnTo>
                    <a:pt x="89018" y="212910"/>
                  </a:lnTo>
                  <a:lnTo>
                    <a:pt x="89018" y="212910"/>
                  </a:lnTo>
                  <a:lnTo>
                    <a:pt x="112064" y="212666"/>
                  </a:lnTo>
                  <a:lnTo>
                    <a:pt x="114015" y="212666"/>
                  </a:lnTo>
                  <a:lnTo>
                    <a:pt x="115723" y="213764"/>
                  </a:lnTo>
                  <a:lnTo>
                    <a:pt x="117796" y="215349"/>
                  </a:lnTo>
                  <a:lnTo>
                    <a:pt x="122429" y="218763"/>
                  </a:lnTo>
                  <a:lnTo>
                    <a:pt x="132673" y="206325"/>
                  </a:lnTo>
                  <a:lnTo>
                    <a:pt x="133160" y="205715"/>
                  </a:lnTo>
                  <a:lnTo>
                    <a:pt x="132673" y="204740"/>
                  </a:lnTo>
                  <a:lnTo>
                    <a:pt x="119137" y="176815"/>
                  </a:lnTo>
                  <a:lnTo>
                    <a:pt x="111821" y="161573"/>
                  </a:lnTo>
                  <a:lnTo>
                    <a:pt x="111089" y="160353"/>
                  </a:lnTo>
                  <a:lnTo>
                    <a:pt x="111089" y="145476"/>
                  </a:lnTo>
                  <a:lnTo>
                    <a:pt x="112064" y="144013"/>
                  </a:lnTo>
                  <a:lnTo>
                    <a:pt x="116820" y="136696"/>
                  </a:lnTo>
                  <a:lnTo>
                    <a:pt x="133160" y="111089"/>
                  </a:lnTo>
                  <a:lnTo>
                    <a:pt x="126454" y="99138"/>
                  </a:lnTo>
                  <a:lnTo>
                    <a:pt x="122064" y="91334"/>
                  </a:lnTo>
                  <a:lnTo>
                    <a:pt x="116698" y="87676"/>
                  </a:lnTo>
                  <a:lnTo>
                    <a:pt x="105480" y="79872"/>
                  </a:lnTo>
                  <a:lnTo>
                    <a:pt x="102187" y="77555"/>
                  </a:lnTo>
                  <a:lnTo>
                    <a:pt x="103041" y="73531"/>
                  </a:lnTo>
                  <a:lnTo>
                    <a:pt x="104504" y="66946"/>
                  </a:lnTo>
                  <a:lnTo>
                    <a:pt x="105236" y="63410"/>
                  </a:lnTo>
                  <a:lnTo>
                    <a:pt x="106089" y="59873"/>
                  </a:lnTo>
                  <a:lnTo>
                    <a:pt x="109626" y="58898"/>
                  </a:lnTo>
                  <a:lnTo>
                    <a:pt x="115113" y="57434"/>
                  </a:lnTo>
                  <a:lnTo>
                    <a:pt x="126820" y="54264"/>
                  </a:lnTo>
                  <a:lnTo>
                    <a:pt x="128161" y="21827"/>
                  </a:lnTo>
                  <a:lnTo>
                    <a:pt x="118161" y="8780"/>
                  </a:lnTo>
                  <a:lnTo>
                    <a:pt x="111455" y="0"/>
                  </a:lnTo>
                  <a:lnTo>
                    <a:pt x="111333" y="0"/>
                  </a:lnTo>
                  <a:lnTo>
                    <a:pt x="111699" y="2317"/>
                  </a:lnTo>
                  <a:lnTo>
                    <a:pt x="112064" y="4634"/>
                  </a:lnTo>
                  <a:lnTo>
                    <a:pt x="114747" y="34387"/>
                  </a:lnTo>
                  <a:lnTo>
                    <a:pt x="115113" y="38290"/>
                  </a:lnTo>
                  <a:lnTo>
                    <a:pt x="111699" y="40241"/>
                  </a:lnTo>
                  <a:lnTo>
                    <a:pt x="103894" y="44753"/>
                  </a:lnTo>
                  <a:lnTo>
                    <a:pt x="92432" y="65604"/>
                  </a:lnTo>
                  <a:lnTo>
                    <a:pt x="89018" y="71824"/>
                  </a:lnTo>
                  <a:lnTo>
                    <a:pt x="88530" y="72555"/>
                  </a:lnTo>
                  <a:lnTo>
                    <a:pt x="87920" y="73165"/>
                  </a:lnTo>
                  <a:lnTo>
                    <a:pt x="85359" y="75726"/>
                  </a:lnTo>
                  <a:lnTo>
                    <a:pt x="76214" y="84871"/>
                  </a:lnTo>
                  <a:lnTo>
                    <a:pt x="69507" y="114015"/>
                  </a:lnTo>
                  <a:lnTo>
                    <a:pt x="68044" y="120112"/>
                  </a:lnTo>
                  <a:lnTo>
                    <a:pt x="67678" y="121820"/>
                  </a:lnTo>
                  <a:lnTo>
                    <a:pt x="66458" y="123039"/>
                  </a:lnTo>
                  <a:lnTo>
                    <a:pt x="64995" y="124502"/>
                  </a:lnTo>
                  <a:lnTo>
                    <a:pt x="57191" y="132307"/>
                  </a:lnTo>
                  <a:lnTo>
                    <a:pt x="52557" y="136940"/>
                  </a:lnTo>
                  <a:lnTo>
                    <a:pt x="48289" y="132063"/>
                  </a:lnTo>
                  <a:lnTo>
                    <a:pt x="39631" y="122307"/>
                  </a:lnTo>
                  <a:lnTo>
                    <a:pt x="29144" y="122307"/>
                  </a:lnTo>
                  <a:lnTo>
                    <a:pt x="6707" y="149988"/>
                  </a:lnTo>
                  <a:lnTo>
                    <a:pt x="244" y="173157"/>
                  </a:lnTo>
                  <a:lnTo>
                    <a:pt x="0" y="174011"/>
                  </a:lnTo>
                  <a:lnTo>
                    <a:pt x="6585" y="178766"/>
                  </a:lnTo>
                  <a:lnTo>
                    <a:pt x="13292" y="183644"/>
                  </a:lnTo>
                  <a:lnTo>
                    <a:pt x="16341" y="18754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2" name="Freihandform: Form 491">
              <a:extLst>
                <a:ext uri="{FF2B5EF4-FFF2-40B4-BE49-F238E27FC236}">
                  <a16:creationId xmlns:a16="http://schemas.microsoft.com/office/drawing/2014/main" id="{C027E617-1235-425E-B8FA-DF73FF3F2D6F}"/>
                </a:ext>
              </a:extLst>
            </p:cNvPr>
            <p:cNvSpPr/>
            <p:nvPr/>
          </p:nvSpPr>
          <p:spPr>
            <a:xfrm>
              <a:off x="4485421" y="3162460"/>
              <a:ext cx="218641" cy="185107"/>
            </a:xfrm>
            <a:custGeom>
              <a:avLst/>
              <a:gdLst>
                <a:gd name="connsiteX0" fmla="*/ 135355 w 218641"/>
                <a:gd name="connsiteY0" fmla="*/ 130234 h 185107"/>
                <a:gd name="connsiteX1" fmla="*/ 137184 w 218641"/>
                <a:gd name="connsiteY1" fmla="*/ 128039 h 185107"/>
                <a:gd name="connsiteX2" fmla="*/ 155110 w 218641"/>
                <a:gd name="connsiteY2" fmla="*/ 128039 h 185107"/>
                <a:gd name="connsiteX3" fmla="*/ 156939 w 218641"/>
                <a:gd name="connsiteY3" fmla="*/ 130112 h 185107"/>
                <a:gd name="connsiteX4" fmla="*/ 164865 w 218641"/>
                <a:gd name="connsiteY4" fmla="*/ 139014 h 185107"/>
                <a:gd name="connsiteX5" fmla="*/ 170962 w 218641"/>
                <a:gd name="connsiteY5" fmla="*/ 132794 h 185107"/>
                <a:gd name="connsiteX6" fmla="*/ 172426 w 218641"/>
                <a:gd name="connsiteY6" fmla="*/ 131453 h 185107"/>
                <a:gd name="connsiteX7" fmla="*/ 173767 w 218641"/>
                <a:gd name="connsiteY7" fmla="*/ 125722 h 185107"/>
                <a:gd name="connsiteX8" fmla="*/ 180474 w 218641"/>
                <a:gd name="connsiteY8" fmla="*/ 96212 h 185107"/>
                <a:gd name="connsiteX9" fmla="*/ 180961 w 218641"/>
                <a:gd name="connsiteY9" fmla="*/ 94505 h 185107"/>
                <a:gd name="connsiteX10" fmla="*/ 182181 w 218641"/>
                <a:gd name="connsiteY10" fmla="*/ 93285 h 185107"/>
                <a:gd name="connsiteX11" fmla="*/ 191083 w 218641"/>
                <a:gd name="connsiteY11" fmla="*/ 84384 h 185107"/>
                <a:gd name="connsiteX12" fmla="*/ 193887 w 218641"/>
                <a:gd name="connsiteY12" fmla="*/ 81579 h 185107"/>
                <a:gd name="connsiteX13" fmla="*/ 196936 w 218641"/>
                <a:gd name="connsiteY13" fmla="*/ 76092 h 185107"/>
                <a:gd name="connsiteX14" fmla="*/ 209130 w 218641"/>
                <a:gd name="connsiteY14" fmla="*/ 54020 h 185107"/>
                <a:gd name="connsiteX15" fmla="*/ 209983 w 218641"/>
                <a:gd name="connsiteY15" fmla="*/ 52557 h 185107"/>
                <a:gd name="connsiteX16" fmla="*/ 211447 w 218641"/>
                <a:gd name="connsiteY16" fmla="*/ 51703 h 185107"/>
                <a:gd name="connsiteX17" fmla="*/ 218641 w 218641"/>
                <a:gd name="connsiteY17" fmla="*/ 47557 h 185107"/>
                <a:gd name="connsiteX18" fmla="*/ 216081 w 218641"/>
                <a:gd name="connsiteY18" fmla="*/ 19145 h 185107"/>
                <a:gd name="connsiteX19" fmla="*/ 215837 w 218641"/>
                <a:gd name="connsiteY19" fmla="*/ 17438 h 185107"/>
                <a:gd name="connsiteX20" fmla="*/ 215105 w 218641"/>
                <a:gd name="connsiteY20" fmla="*/ 12194 h 185107"/>
                <a:gd name="connsiteX21" fmla="*/ 214861 w 218641"/>
                <a:gd name="connsiteY21" fmla="*/ 10609 h 185107"/>
                <a:gd name="connsiteX22" fmla="*/ 209008 w 218641"/>
                <a:gd name="connsiteY22" fmla="*/ 4756 h 185107"/>
                <a:gd name="connsiteX23" fmla="*/ 189010 w 218641"/>
                <a:gd name="connsiteY23" fmla="*/ 12438 h 185107"/>
                <a:gd name="connsiteX24" fmla="*/ 182303 w 218641"/>
                <a:gd name="connsiteY24" fmla="*/ 14999 h 185107"/>
                <a:gd name="connsiteX25" fmla="*/ 180595 w 218641"/>
                <a:gd name="connsiteY25" fmla="*/ 15609 h 185107"/>
                <a:gd name="connsiteX26" fmla="*/ 179010 w 218641"/>
                <a:gd name="connsiteY26" fmla="*/ 15365 h 185107"/>
                <a:gd name="connsiteX27" fmla="*/ 143647 w 218641"/>
                <a:gd name="connsiteY27" fmla="*/ 8780 h 185107"/>
                <a:gd name="connsiteX28" fmla="*/ 135721 w 218641"/>
                <a:gd name="connsiteY28" fmla="*/ 19023 h 185107"/>
                <a:gd name="connsiteX29" fmla="*/ 134258 w 218641"/>
                <a:gd name="connsiteY29" fmla="*/ 20852 h 185107"/>
                <a:gd name="connsiteX30" fmla="*/ 132063 w 218641"/>
                <a:gd name="connsiteY30" fmla="*/ 21218 h 185107"/>
                <a:gd name="connsiteX31" fmla="*/ 119137 w 218641"/>
                <a:gd name="connsiteY31" fmla="*/ 23901 h 185107"/>
                <a:gd name="connsiteX32" fmla="*/ 117796 w 218641"/>
                <a:gd name="connsiteY32" fmla="*/ 24145 h 185107"/>
                <a:gd name="connsiteX33" fmla="*/ 116454 w 218641"/>
                <a:gd name="connsiteY33" fmla="*/ 23779 h 185107"/>
                <a:gd name="connsiteX34" fmla="*/ 100602 w 218641"/>
                <a:gd name="connsiteY34" fmla="*/ 19755 h 185107"/>
                <a:gd name="connsiteX35" fmla="*/ 81945 w 218641"/>
                <a:gd name="connsiteY35" fmla="*/ 19755 h 185107"/>
                <a:gd name="connsiteX36" fmla="*/ 79262 w 218641"/>
                <a:gd name="connsiteY36" fmla="*/ 19755 h 185107"/>
                <a:gd name="connsiteX37" fmla="*/ 77433 w 218641"/>
                <a:gd name="connsiteY37" fmla="*/ 17804 h 185107"/>
                <a:gd name="connsiteX38" fmla="*/ 63531 w 218641"/>
                <a:gd name="connsiteY38" fmla="*/ 2561 h 185107"/>
                <a:gd name="connsiteX39" fmla="*/ 35485 w 218641"/>
                <a:gd name="connsiteY39" fmla="*/ 0 h 185107"/>
                <a:gd name="connsiteX40" fmla="*/ 28656 w 218641"/>
                <a:gd name="connsiteY40" fmla="*/ 5365 h 185107"/>
                <a:gd name="connsiteX41" fmla="*/ 23291 w 218641"/>
                <a:gd name="connsiteY41" fmla="*/ 9755 h 185107"/>
                <a:gd name="connsiteX42" fmla="*/ 19145 w 218641"/>
                <a:gd name="connsiteY42" fmla="*/ 20364 h 185107"/>
                <a:gd name="connsiteX43" fmla="*/ 14145 w 218641"/>
                <a:gd name="connsiteY43" fmla="*/ 33168 h 185107"/>
                <a:gd name="connsiteX44" fmla="*/ 13048 w 218641"/>
                <a:gd name="connsiteY44" fmla="*/ 36217 h 185107"/>
                <a:gd name="connsiteX45" fmla="*/ 9756 w 218641"/>
                <a:gd name="connsiteY45" fmla="*/ 36948 h 185107"/>
                <a:gd name="connsiteX46" fmla="*/ 8902 w 218641"/>
                <a:gd name="connsiteY46" fmla="*/ 37070 h 185107"/>
                <a:gd name="connsiteX47" fmla="*/ 15365 w 218641"/>
                <a:gd name="connsiteY47" fmla="*/ 50362 h 185107"/>
                <a:gd name="connsiteX48" fmla="*/ 15974 w 218641"/>
                <a:gd name="connsiteY48" fmla="*/ 51825 h 185107"/>
                <a:gd name="connsiteX49" fmla="*/ 15853 w 218641"/>
                <a:gd name="connsiteY49" fmla="*/ 53410 h 185107"/>
                <a:gd name="connsiteX50" fmla="*/ 15243 w 218641"/>
                <a:gd name="connsiteY50" fmla="*/ 63654 h 185107"/>
                <a:gd name="connsiteX51" fmla="*/ 14145 w 218641"/>
                <a:gd name="connsiteY51" fmla="*/ 80482 h 185107"/>
                <a:gd name="connsiteX52" fmla="*/ 14023 w 218641"/>
                <a:gd name="connsiteY52" fmla="*/ 82555 h 185107"/>
                <a:gd name="connsiteX53" fmla="*/ 12560 w 218641"/>
                <a:gd name="connsiteY53" fmla="*/ 84140 h 185107"/>
                <a:gd name="connsiteX54" fmla="*/ 0 w 218641"/>
                <a:gd name="connsiteY54" fmla="*/ 98407 h 185107"/>
                <a:gd name="connsiteX55" fmla="*/ 1585 w 218641"/>
                <a:gd name="connsiteY55" fmla="*/ 129136 h 185107"/>
                <a:gd name="connsiteX56" fmla="*/ 2561 w 218641"/>
                <a:gd name="connsiteY56" fmla="*/ 146818 h 185107"/>
                <a:gd name="connsiteX57" fmla="*/ 2561 w 218641"/>
                <a:gd name="connsiteY57" fmla="*/ 146940 h 185107"/>
                <a:gd name="connsiteX58" fmla="*/ 22193 w 218641"/>
                <a:gd name="connsiteY58" fmla="*/ 146940 h 185107"/>
                <a:gd name="connsiteX59" fmla="*/ 48655 w 218641"/>
                <a:gd name="connsiteY59" fmla="*/ 169011 h 185107"/>
                <a:gd name="connsiteX60" fmla="*/ 54142 w 218641"/>
                <a:gd name="connsiteY60" fmla="*/ 181205 h 185107"/>
                <a:gd name="connsiteX61" fmla="*/ 64263 w 218641"/>
                <a:gd name="connsiteY61" fmla="*/ 183766 h 185107"/>
                <a:gd name="connsiteX62" fmla="*/ 104382 w 218641"/>
                <a:gd name="connsiteY62" fmla="*/ 185107 h 185107"/>
                <a:gd name="connsiteX63" fmla="*/ 104504 w 218641"/>
                <a:gd name="connsiteY63" fmla="*/ 184864 h 185107"/>
                <a:gd name="connsiteX64" fmla="*/ 111089 w 218641"/>
                <a:gd name="connsiteY64" fmla="*/ 161085 h 185107"/>
                <a:gd name="connsiteX65" fmla="*/ 111455 w 218641"/>
                <a:gd name="connsiteY65" fmla="*/ 159865 h 185107"/>
                <a:gd name="connsiteX66" fmla="*/ 112186 w 218641"/>
                <a:gd name="connsiteY66" fmla="*/ 158890 h 185107"/>
                <a:gd name="connsiteX67" fmla="*/ 135355 w 218641"/>
                <a:gd name="connsiteY67" fmla="*/ 130234 h 18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18641" h="185107">
                  <a:moveTo>
                    <a:pt x="135355" y="130234"/>
                  </a:moveTo>
                  <a:lnTo>
                    <a:pt x="137184" y="128039"/>
                  </a:lnTo>
                  <a:lnTo>
                    <a:pt x="155110" y="128039"/>
                  </a:lnTo>
                  <a:lnTo>
                    <a:pt x="156939" y="130112"/>
                  </a:lnTo>
                  <a:lnTo>
                    <a:pt x="164865" y="139014"/>
                  </a:lnTo>
                  <a:lnTo>
                    <a:pt x="170962" y="132794"/>
                  </a:lnTo>
                  <a:lnTo>
                    <a:pt x="172426" y="131453"/>
                  </a:lnTo>
                  <a:lnTo>
                    <a:pt x="173767" y="125722"/>
                  </a:lnTo>
                  <a:lnTo>
                    <a:pt x="180474" y="96212"/>
                  </a:lnTo>
                  <a:lnTo>
                    <a:pt x="180961" y="94505"/>
                  </a:lnTo>
                  <a:lnTo>
                    <a:pt x="182181" y="93285"/>
                  </a:lnTo>
                  <a:lnTo>
                    <a:pt x="191083" y="84384"/>
                  </a:lnTo>
                  <a:lnTo>
                    <a:pt x="193887" y="81579"/>
                  </a:lnTo>
                  <a:lnTo>
                    <a:pt x="196936" y="76092"/>
                  </a:lnTo>
                  <a:lnTo>
                    <a:pt x="209130" y="54020"/>
                  </a:lnTo>
                  <a:lnTo>
                    <a:pt x="209983" y="52557"/>
                  </a:lnTo>
                  <a:lnTo>
                    <a:pt x="211447" y="51703"/>
                  </a:lnTo>
                  <a:lnTo>
                    <a:pt x="218641" y="47557"/>
                  </a:lnTo>
                  <a:lnTo>
                    <a:pt x="216081" y="19145"/>
                  </a:lnTo>
                  <a:lnTo>
                    <a:pt x="215837" y="17438"/>
                  </a:lnTo>
                  <a:lnTo>
                    <a:pt x="215105" y="12194"/>
                  </a:lnTo>
                  <a:lnTo>
                    <a:pt x="214861" y="10609"/>
                  </a:lnTo>
                  <a:lnTo>
                    <a:pt x="209008" y="4756"/>
                  </a:lnTo>
                  <a:lnTo>
                    <a:pt x="189010" y="12438"/>
                  </a:lnTo>
                  <a:lnTo>
                    <a:pt x="182303" y="14999"/>
                  </a:lnTo>
                  <a:lnTo>
                    <a:pt x="180595" y="15609"/>
                  </a:lnTo>
                  <a:lnTo>
                    <a:pt x="179010" y="15365"/>
                  </a:lnTo>
                  <a:lnTo>
                    <a:pt x="143647" y="8780"/>
                  </a:lnTo>
                  <a:lnTo>
                    <a:pt x="135721" y="19023"/>
                  </a:lnTo>
                  <a:lnTo>
                    <a:pt x="134258" y="20852"/>
                  </a:lnTo>
                  <a:lnTo>
                    <a:pt x="132063" y="21218"/>
                  </a:lnTo>
                  <a:lnTo>
                    <a:pt x="119137" y="23901"/>
                  </a:lnTo>
                  <a:lnTo>
                    <a:pt x="117796" y="24145"/>
                  </a:lnTo>
                  <a:lnTo>
                    <a:pt x="116454" y="23779"/>
                  </a:lnTo>
                  <a:lnTo>
                    <a:pt x="100602" y="19755"/>
                  </a:lnTo>
                  <a:lnTo>
                    <a:pt x="81945" y="19755"/>
                  </a:lnTo>
                  <a:lnTo>
                    <a:pt x="79262" y="19755"/>
                  </a:lnTo>
                  <a:lnTo>
                    <a:pt x="77433" y="17804"/>
                  </a:lnTo>
                  <a:lnTo>
                    <a:pt x="63531" y="2561"/>
                  </a:lnTo>
                  <a:lnTo>
                    <a:pt x="35485" y="0"/>
                  </a:lnTo>
                  <a:lnTo>
                    <a:pt x="28656" y="5365"/>
                  </a:lnTo>
                  <a:lnTo>
                    <a:pt x="23291" y="9755"/>
                  </a:lnTo>
                  <a:lnTo>
                    <a:pt x="19145" y="20364"/>
                  </a:lnTo>
                  <a:lnTo>
                    <a:pt x="14145" y="33168"/>
                  </a:lnTo>
                  <a:lnTo>
                    <a:pt x="13048" y="36217"/>
                  </a:lnTo>
                  <a:lnTo>
                    <a:pt x="9756" y="36948"/>
                  </a:lnTo>
                  <a:lnTo>
                    <a:pt x="8902" y="37070"/>
                  </a:lnTo>
                  <a:lnTo>
                    <a:pt x="15365" y="50362"/>
                  </a:lnTo>
                  <a:lnTo>
                    <a:pt x="15974" y="51825"/>
                  </a:lnTo>
                  <a:lnTo>
                    <a:pt x="15853" y="53410"/>
                  </a:lnTo>
                  <a:lnTo>
                    <a:pt x="15243" y="63654"/>
                  </a:lnTo>
                  <a:lnTo>
                    <a:pt x="14145" y="80482"/>
                  </a:lnTo>
                  <a:lnTo>
                    <a:pt x="14023" y="82555"/>
                  </a:lnTo>
                  <a:lnTo>
                    <a:pt x="12560" y="84140"/>
                  </a:lnTo>
                  <a:lnTo>
                    <a:pt x="0" y="98407"/>
                  </a:lnTo>
                  <a:lnTo>
                    <a:pt x="1585" y="129136"/>
                  </a:lnTo>
                  <a:lnTo>
                    <a:pt x="2561" y="146818"/>
                  </a:lnTo>
                  <a:lnTo>
                    <a:pt x="2561" y="146940"/>
                  </a:lnTo>
                  <a:lnTo>
                    <a:pt x="22193" y="146940"/>
                  </a:lnTo>
                  <a:lnTo>
                    <a:pt x="48655" y="169011"/>
                  </a:lnTo>
                  <a:lnTo>
                    <a:pt x="54142" y="181205"/>
                  </a:lnTo>
                  <a:lnTo>
                    <a:pt x="64263" y="183766"/>
                  </a:lnTo>
                  <a:lnTo>
                    <a:pt x="104382" y="185107"/>
                  </a:lnTo>
                  <a:lnTo>
                    <a:pt x="104504" y="184864"/>
                  </a:lnTo>
                  <a:lnTo>
                    <a:pt x="111089" y="161085"/>
                  </a:lnTo>
                  <a:lnTo>
                    <a:pt x="111455" y="159865"/>
                  </a:lnTo>
                  <a:lnTo>
                    <a:pt x="112186" y="158890"/>
                  </a:lnTo>
                  <a:lnTo>
                    <a:pt x="135355" y="13023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3" name="Freihandform: Form 492">
              <a:extLst>
                <a:ext uri="{FF2B5EF4-FFF2-40B4-BE49-F238E27FC236}">
                  <a16:creationId xmlns:a16="http://schemas.microsoft.com/office/drawing/2014/main" id="{C0C794AD-B68B-499E-904C-F8F939FDFE20}"/>
                </a:ext>
              </a:extLst>
            </p:cNvPr>
            <p:cNvSpPr/>
            <p:nvPr/>
          </p:nvSpPr>
          <p:spPr>
            <a:xfrm>
              <a:off x="4128498" y="3192214"/>
              <a:ext cx="137428" cy="94870"/>
            </a:xfrm>
            <a:custGeom>
              <a:avLst/>
              <a:gdLst>
                <a:gd name="connsiteX0" fmla="*/ 45850 w 137428"/>
                <a:gd name="connsiteY0" fmla="*/ 49142 h 94870"/>
                <a:gd name="connsiteX1" fmla="*/ 46826 w 137428"/>
                <a:gd name="connsiteY1" fmla="*/ 48655 h 94870"/>
                <a:gd name="connsiteX2" fmla="*/ 47923 w 137428"/>
                <a:gd name="connsiteY2" fmla="*/ 48655 h 94870"/>
                <a:gd name="connsiteX3" fmla="*/ 66824 w 137428"/>
                <a:gd name="connsiteY3" fmla="*/ 47313 h 94870"/>
                <a:gd name="connsiteX4" fmla="*/ 68653 w 137428"/>
                <a:gd name="connsiteY4" fmla="*/ 47192 h 94870"/>
                <a:gd name="connsiteX5" fmla="*/ 70238 w 137428"/>
                <a:gd name="connsiteY5" fmla="*/ 48045 h 94870"/>
                <a:gd name="connsiteX6" fmla="*/ 72799 w 137428"/>
                <a:gd name="connsiteY6" fmla="*/ 49508 h 94870"/>
                <a:gd name="connsiteX7" fmla="*/ 78286 w 137428"/>
                <a:gd name="connsiteY7" fmla="*/ 52679 h 94870"/>
                <a:gd name="connsiteX8" fmla="*/ 82189 w 137428"/>
                <a:gd name="connsiteY8" fmla="*/ 54874 h 94870"/>
                <a:gd name="connsiteX9" fmla="*/ 81213 w 137428"/>
                <a:gd name="connsiteY9" fmla="*/ 59264 h 94870"/>
                <a:gd name="connsiteX10" fmla="*/ 79994 w 137428"/>
                <a:gd name="connsiteY10" fmla="*/ 65117 h 94870"/>
                <a:gd name="connsiteX11" fmla="*/ 79018 w 137428"/>
                <a:gd name="connsiteY11" fmla="*/ 69141 h 94870"/>
                <a:gd name="connsiteX12" fmla="*/ 79872 w 137428"/>
                <a:gd name="connsiteY12" fmla="*/ 70848 h 94870"/>
                <a:gd name="connsiteX13" fmla="*/ 81213 w 137428"/>
                <a:gd name="connsiteY13" fmla="*/ 73409 h 94870"/>
                <a:gd name="connsiteX14" fmla="*/ 86091 w 137428"/>
                <a:gd name="connsiteY14" fmla="*/ 71946 h 94870"/>
                <a:gd name="connsiteX15" fmla="*/ 91334 w 137428"/>
                <a:gd name="connsiteY15" fmla="*/ 70482 h 94870"/>
                <a:gd name="connsiteX16" fmla="*/ 93407 w 137428"/>
                <a:gd name="connsiteY16" fmla="*/ 75604 h 94870"/>
                <a:gd name="connsiteX17" fmla="*/ 94505 w 137428"/>
                <a:gd name="connsiteY17" fmla="*/ 78409 h 94870"/>
                <a:gd name="connsiteX18" fmla="*/ 94993 w 137428"/>
                <a:gd name="connsiteY18" fmla="*/ 79506 h 94870"/>
                <a:gd name="connsiteX19" fmla="*/ 107553 w 137428"/>
                <a:gd name="connsiteY19" fmla="*/ 85725 h 94870"/>
                <a:gd name="connsiteX20" fmla="*/ 108406 w 137428"/>
                <a:gd name="connsiteY20" fmla="*/ 86213 h 94870"/>
                <a:gd name="connsiteX21" fmla="*/ 109016 w 137428"/>
                <a:gd name="connsiteY21" fmla="*/ 86944 h 94870"/>
                <a:gd name="connsiteX22" fmla="*/ 109625 w 137428"/>
                <a:gd name="connsiteY22" fmla="*/ 87432 h 94870"/>
                <a:gd name="connsiteX23" fmla="*/ 113650 w 137428"/>
                <a:gd name="connsiteY23" fmla="*/ 91578 h 94870"/>
                <a:gd name="connsiteX24" fmla="*/ 128405 w 137428"/>
                <a:gd name="connsiteY24" fmla="*/ 94871 h 94870"/>
                <a:gd name="connsiteX25" fmla="*/ 132185 w 137428"/>
                <a:gd name="connsiteY25" fmla="*/ 89261 h 94870"/>
                <a:gd name="connsiteX26" fmla="*/ 137428 w 137428"/>
                <a:gd name="connsiteY26" fmla="*/ 69507 h 94870"/>
                <a:gd name="connsiteX27" fmla="*/ 133648 w 137428"/>
                <a:gd name="connsiteY27" fmla="*/ 46826 h 94870"/>
                <a:gd name="connsiteX28" fmla="*/ 133404 w 137428"/>
                <a:gd name="connsiteY28" fmla="*/ 45362 h 94870"/>
                <a:gd name="connsiteX29" fmla="*/ 132916 w 137428"/>
                <a:gd name="connsiteY29" fmla="*/ 44387 h 94870"/>
                <a:gd name="connsiteX30" fmla="*/ 119747 w 137428"/>
                <a:gd name="connsiteY30" fmla="*/ 16706 h 94870"/>
                <a:gd name="connsiteX31" fmla="*/ 113406 w 137428"/>
                <a:gd name="connsiteY31" fmla="*/ 10365 h 94870"/>
                <a:gd name="connsiteX32" fmla="*/ 111089 w 137428"/>
                <a:gd name="connsiteY32" fmla="*/ 13292 h 94870"/>
                <a:gd name="connsiteX33" fmla="*/ 109503 w 137428"/>
                <a:gd name="connsiteY33" fmla="*/ 15365 h 94870"/>
                <a:gd name="connsiteX34" fmla="*/ 106943 w 137428"/>
                <a:gd name="connsiteY34" fmla="*/ 15609 h 94870"/>
                <a:gd name="connsiteX35" fmla="*/ 94261 w 137428"/>
                <a:gd name="connsiteY35" fmla="*/ 16828 h 94870"/>
                <a:gd name="connsiteX36" fmla="*/ 92554 w 137428"/>
                <a:gd name="connsiteY36" fmla="*/ 16950 h 94870"/>
                <a:gd name="connsiteX37" fmla="*/ 91090 w 137428"/>
                <a:gd name="connsiteY37" fmla="*/ 16340 h 94870"/>
                <a:gd name="connsiteX38" fmla="*/ 86091 w 137428"/>
                <a:gd name="connsiteY38" fmla="*/ 14023 h 94870"/>
                <a:gd name="connsiteX39" fmla="*/ 71580 w 137428"/>
                <a:gd name="connsiteY39" fmla="*/ 7195 h 94870"/>
                <a:gd name="connsiteX40" fmla="*/ 70726 w 137428"/>
                <a:gd name="connsiteY40" fmla="*/ 6829 h 94870"/>
                <a:gd name="connsiteX41" fmla="*/ 68409 w 137428"/>
                <a:gd name="connsiteY41" fmla="*/ 6219 h 94870"/>
                <a:gd name="connsiteX42" fmla="*/ 41948 w 137428"/>
                <a:gd name="connsiteY42" fmla="*/ 0 h 94870"/>
                <a:gd name="connsiteX43" fmla="*/ 27437 w 137428"/>
                <a:gd name="connsiteY43" fmla="*/ 1097 h 94870"/>
                <a:gd name="connsiteX44" fmla="*/ 26461 w 137428"/>
                <a:gd name="connsiteY44" fmla="*/ 14511 h 94870"/>
                <a:gd name="connsiteX45" fmla="*/ 26095 w 137428"/>
                <a:gd name="connsiteY45" fmla="*/ 19145 h 94870"/>
                <a:gd name="connsiteX46" fmla="*/ 21584 w 137428"/>
                <a:gd name="connsiteY46" fmla="*/ 19998 h 94870"/>
                <a:gd name="connsiteX47" fmla="*/ 9268 w 137428"/>
                <a:gd name="connsiteY47" fmla="*/ 22437 h 94870"/>
                <a:gd name="connsiteX48" fmla="*/ 0 w 137428"/>
                <a:gd name="connsiteY48" fmla="*/ 25486 h 94870"/>
                <a:gd name="connsiteX49" fmla="*/ 1341 w 137428"/>
                <a:gd name="connsiteY49" fmla="*/ 27315 h 94870"/>
                <a:gd name="connsiteX50" fmla="*/ 28656 w 137428"/>
                <a:gd name="connsiteY50" fmla="*/ 57069 h 94870"/>
                <a:gd name="connsiteX51" fmla="*/ 29754 w 137428"/>
                <a:gd name="connsiteY51" fmla="*/ 56581 h 94870"/>
                <a:gd name="connsiteX52" fmla="*/ 39631 w 137428"/>
                <a:gd name="connsiteY52" fmla="*/ 52069 h 94870"/>
                <a:gd name="connsiteX53" fmla="*/ 45850 w 137428"/>
                <a:gd name="connsiteY53" fmla="*/ 49142 h 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37428" h="94870">
                  <a:moveTo>
                    <a:pt x="45850" y="49142"/>
                  </a:moveTo>
                  <a:lnTo>
                    <a:pt x="46826" y="48655"/>
                  </a:lnTo>
                  <a:lnTo>
                    <a:pt x="47923" y="48655"/>
                  </a:lnTo>
                  <a:lnTo>
                    <a:pt x="66824" y="47313"/>
                  </a:lnTo>
                  <a:lnTo>
                    <a:pt x="68653" y="47192"/>
                  </a:lnTo>
                  <a:lnTo>
                    <a:pt x="70238" y="48045"/>
                  </a:lnTo>
                  <a:lnTo>
                    <a:pt x="72799" y="49508"/>
                  </a:lnTo>
                  <a:lnTo>
                    <a:pt x="78286" y="52679"/>
                  </a:lnTo>
                  <a:lnTo>
                    <a:pt x="82189" y="54874"/>
                  </a:lnTo>
                  <a:lnTo>
                    <a:pt x="81213" y="59264"/>
                  </a:lnTo>
                  <a:lnTo>
                    <a:pt x="79994" y="65117"/>
                  </a:lnTo>
                  <a:lnTo>
                    <a:pt x="79018" y="69141"/>
                  </a:lnTo>
                  <a:lnTo>
                    <a:pt x="79872" y="70848"/>
                  </a:lnTo>
                  <a:lnTo>
                    <a:pt x="81213" y="73409"/>
                  </a:lnTo>
                  <a:lnTo>
                    <a:pt x="86091" y="71946"/>
                  </a:lnTo>
                  <a:lnTo>
                    <a:pt x="91334" y="70482"/>
                  </a:lnTo>
                  <a:lnTo>
                    <a:pt x="93407" y="75604"/>
                  </a:lnTo>
                  <a:lnTo>
                    <a:pt x="94505" y="78409"/>
                  </a:lnTo>
                  <a:lnTo>
                    <a:pt x="94993" y="79506"/>
                  </a:lnTo>
                  <a:lnTo>
                    <a:pt x="107553" y="85725"/>
                  </a:lnTo>
                  <a:lnTo>
                    <a:pt x="108406" y="86213"/>
                  </a:lnTo>
                  <a:lnTo>
                    <a:pt x="109016" y="86944"/>
                  </a:lnTo>
                  <a:lnTo>
                    <a:pt x="109625" y="87432"/>
                  </a:lnTo>
                  <a:lnTo>
                    <a:pt x="113650" y="91578"/>
                  </a:lnTo>
                  <a:lnTo>
                    <a:pt x="128405" y="94871"/>
                  </a:lnTo>
                  <a:lnTo>
                    <a:pt x="132185" y="89261"/>
                  </a:lnTo>
                  <a:lnTo>
                    <a:pt x="137428" y="69507"/>
                  </a:lnTo>
                  <a:lnTo>
                    <a:pt x="133648" y="46826"/>
                  </a:lnTo>
                  <a:lnTo>
                    <a:pt x="133404" y="45362"/>
                  </a:lnTo>
                  <a:lnTo>
                    <a:pt x="132916" y="44387"/>
                  </a:lnTo>
                  <a:lnTo>
                    <a:pt x="119747" y="16706"/>
                  </a:lnTo>
                  <a:lnTo>
                    <a:pt x="113406" y="10365"/>
                  </a:lnTo>
                  <a:lnTo>
                    <a:pt x="111089" y="13292"/>
                  </a:lnTo>
                  <a:lnTo>
                    <a:pt x="109503" y="15365"/>
                  </a:lnTo>
                  <a:lnTo>
                    <a:pt x="106943" y="15609"/>
                  </a:lnTo>
                  <a:lnTo>
                    <a:pt x="94261" y="16828"/>
                  </a:lnTo>
                  <a:lnTo>
                    <a:pt x="92554" y="16950"/>
                  </a:lnTo>
                  <a:lnTo>
                    <a:pt x="91090" y="16340"/>
                  </a:lnTo>
                  <a:lnTo>
                    <a:pt x="86091" y="14023"/>
                  </a:lnTo>
                  <a:lnTo>
                    <a:pt x="71580" y="7195"/>
                  </a:lnTo>
                  <a:lnTo>
                    <a:pt x="70726" y="6829"/>
                  </a:lnTo>
                  <a:lnTo>
                    <a:pt x="68409" y="6219"/>
                  </a:lnTo>
                  <a:lnTo>
                    <a:pt x="41948" y="0"/>
                  </a:lnTo>
                  <a:lnTo>
                    <a:pt x="27437" y="1097"/>
                  </a:lnTo>
                  <a:lnTo>
                    <a:pt x="26461" y="14511"/>
                  </a:lnTo>
                  <a:lnTo>
                    <a:pt x="26095" y="19145"/>
                  </a:lnTo>
                  <a:lnTo>
                    <a:pt x="21584" y="19998"/>
                  </a:lnTo>
                  <a:lnTo>
                    <a:pt x="9268" y="22437"/>
                  </a:lnTo>
                  <a:lnTo>
                    <a:pt x="0" y="25486"/>
                  </a:lnTo>
                  <a:lnTo>
                    <a:pt x="1341" y="27315"/>
                  </a:lnTo>
                  <a:lnTo>
                    <a:pt x="28656" y="57069"/>
                  </a:lnTo>
                  <a:lnTo>
                    <a:pt x="29754" y="56581"/>
                  </a:lnTo>
                  <a:lnTo>
                    <a:pt x="39631" y="52069"/>
                  </a:lnTo>
                  <a:lnTo>
                    <a:pt x="45850" y="4914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4" name="Freihandform: Form 493">
              <a:extLst>
                <a:ext uri="{FF2B5EF4-FFF2-40B4-BE49-F238E27FC236}">
                  <a16:creationId xmlns:a16="http://schemas.microsoft.com/office/drawing/2014/main" id="{E3AAF678-9926-4B31-B63C-F53B2A5880CF}"/>
                </a:ext>
              </a:extLst>
            </p:cNvPr>
            <p:cNvSpPr/>
            <p:nvPr/>
          </p:nvSpPr>
          <p:spPr>
            <a:xfrm>
              <a:off x="4262634" y="3227577"/>
              <a:ext cx="112551" cy="120844"/>
            </a:xfrm>
            <a:custGeom>
              <a:avLst/>
              <a:gdLst>
                <a:gd name="connsiteX0" fmla="*/ 99870 w 112551"/>
                <a:gd name="connsiteY0" fmla="*/ 96334 h 120844"/>
                <a:gd name="connsiteX1" fmla="*/ 99504 w 112551"/>
                <a:gd name="connsiteY1" fmla="*/ 95602 h 120844"/>
                <a:gd name="connsiteX2" fmla="*/ 99382 w 112551"/>
                <a:gd name="connsiteY2" fmla="*/ 94871 h 120844"/>
                <a:gd name="connsiteX3" fmla="*/ 96700 w 112551"/>
                <a:gd name="connsiteY3" fmla="*/ 82676 h 120844"/>
                <a:gd name="connsiteX4" fmla="*/ 96334 w 112551"/>
                <a:gd name="connsiteY4" fmla="*/ 80481 h 120844"/>
                <a:gd name="connsiteX5" fmla="*/ 97309 w 112551"/>
                <a:gd name="connsiteY5" fmla="*/ 78530 h 120844"/>
                <a:gd name="connsiteX6" fmla="*/ 108894 w 112551"/>
                <a:gd name="connsiteY6" fmla="*/ 55971 h 120844"/>
                <a:gd name="connsiteX7" fmla="*/ 112552 w 112551"/>
                <a:gd name="connsiteY7" fmla="*/ 48899 h 120844"/>
                <a:gd name="connsiteX8" fmla="*/ 112552 w 112551"/>
                <a:gd name="connsiteY8" fmla="*/ 42070 h 120844"/>
                <a:gd name="connsiteX9" fmla="*/ 102431 w 112551"/>
                <a:gd name="connsiteY9" fmla="*/ 15609 h 120844"/>
                <a:gd name="connsiteX10" fmla="*/ 85237 w 112551"/>
                <a:gd name="connsiteY10" fmla="*/ 15609 h 120844"/>
                <a:gd name="connsiteX11" fmla="*/ 76336 w 112551"/>
                <a:gd name="connsiteY11" fmla="*/ 22193 h 120844"/>
                <a:gd name="connsiteX12" fmla="*/ 72311 w 112551"/>
                <a:gd name="connsiteY12" fmla="*/ 25242 h 120844"/>
                <a:gd name="connsiteX13" fmla="*/ 68653 w 112551"/>
                <a:gd name="connsiteY13" fmla="*/ 21949 h 120844"/>
                <a:gd name="connsiteX14" fmla="*/ 55240 w 112551"/>
                <a:gd name="connsiteY14" fmla="*/ 9755 h 120844"/>
                <a:gd name="connsiteX15" fmla="*/ 54508 w 112551"/>
                <a:gd name="connsiteY15" fmla="*/ 9633 h 120844"/>
                <a:gd name="connsiteX16" fmla="*/ 44387 w 112551"/>
                <a:gd name="connsiteY16" fmla="*/ 8536 h 120844"/>
                <a:gd name="connsiteX17" fmla="*/ 42558 w 112551"/>
                <a:gd name="connsiteY17" fmla="*/ 8292 h 120844"/>
                <a:gd name="connsiteX18" fmla="*/ 41094 w 112551"/>
                <a:gd name="connsiteY18" fmla="*/ 7072 h 120844"/>
                <a:gd name="connsiteX19" fmla="*/ 33046 w 112551"/>
                <a:gd name="connsiteY19" fmla="*/ 0 h 120844"/>
                <a:gd name="connsiteX20" fmla="*/ 23413 w 112551"/>
                <a:gd name="connsiteY20" fmla="*/ 9633 h 120844"/>
                <a:gd name="connsiteX21" fmla="*/ 21462 w 112551"/>
                <a:gd name="connsiteY21" fmla="*/ 9999 h 120844"/>
                <a:gd name="connsiteX22" fmla="*/ 7682 w 112551"/>
                <a:gd name="connsiteY22" fmla="*/ 12072 h 120844"/>
                <a:gd name="connsiteX23" fmla="*/ 11218 w 112551"/>
                <a:gd name="connsiteY23" fmla="*/ 33168 h 120844"/>
                <a:gd name="connsiteX24" fmla="*/ 11463 w 112551"/>
                <a:gd name="connsiteY24" fmla="*/ 34509 h 120844"/>
                <a:gd name="connsiteX25" fmla="*/ 11097 w 112551"/>
                <a:gd name="connsiteY25" fmla="*/ 35729 h 120844"/>
                <a:gd name="connsiteX26" fmla="*/ 5609 w 112551"/>
                <a:gd name="connsiteY26" fmla="*/ 56215 h 120844"/>
                <a:gd name="connsiteX27" fmla="*/ 5365 w 112551"/>
                <a:gd name="connsiteY27" fmla="*/ 57190 h 120844"/>
                <a:gd name="connsiteX28" fmla="*/ 4756 w 112551"/>
                <a:gd name="connsiteY28" fmla="*/ 58044 h 120844"/>
                <a:gd name="connsiteX29" fmla="*/ 488 w 112551"/>
                <a:gd name="connsiteY29" fmla="*/ 64507 h 120844"/>
                <a:gd name="connsiteX30" fmla="*/ 122 w 112551"/>
                <a:gd name="connsiteY30" fmla="*/ 64995 h 120844"/>
                <a:gd name="connsiteX31" fmla="*/ 0 w 112551"/>
                <a:gd name="connsiteY31" fmla="*/ 65239 h 120844"/>
                <a:gd name="connsiteX32" fmla="*/ 0 w 112551"/>
                <a:gd name="connsiteY32" fmla="*/ 84262 h 120844"/>
                <a:gd name="connsiteX33" fmla="*/ 13779 w 112551"/>
                <a:gd name="connsiteY33" fmla="*/ 91212 h 120844"/>
                <a:gd name="connsiteX34" fmla="*/ 16706 w 112551"/>
                <a:gd name="connsiteY34" fmla="*/ 92676 h 120844"/>
                <a:gd name="connsiteX35" fmla="*/ 17072 w 112551"/>
                <a:gd name="connsiteY35" fmla="*/ 95846 h 120844"/>
                <a:gd name="connsiteX36" fmla="*/ 18291 w 112551"/>
                <a:gd name="connsiteY36" fmla="*/ 105601 h 120844"/>
                <a:gd name="connsiteX37" fmla="*/ 18535 w 112551"/>
                <a:gd name="connsiteY37" fmla="*/ 106943 h 120844"/>
                <a:gd name="connsiteX38" fmla="*/ 18047 w 112551"/>
                <a:gd name="connsiteY38" fmla="*/ 108284 h 120844"/>
                <a:gd name="connsiteX39" fmla="*/ 14389 w 112551"/>
                <a:gd name="connsiteY39" fmla="*/ 119259 h 120844"/>
                <a:gd name="connsiteX40" fmla="*/ 13901 w 112551"/>
                <a:gd name="connsiteY40" fmla="*/ 120844 h 120844"/>
                <a:gd name="connsiteX41" fmla="*/ 31095 w 112551"/>
                <a:gd name="connsiteY41" fmla="*/ 118649 h 120844"/>
                <a:gd name="connsiteX42" fmla="*/ 57922 w 112551"/>
                <a:gd name="connsiteY42" fmla="*/ 111577 h 120844"/>
                <a:gd name="connsiteX43" fmla="*/ 82554 w 112551"/>
                <a:gd name="connsiteY43" fmla="*/ 107308 h 120844"/>
                <a:gd name="connsiteX44" fmla="*/ 105357 w 112551"/>
                <a:gd name="connsiteY44" fmla="*/ 107308 h 120844"/>
                <a:gd name="connsiteX45" fmla="*/ 104870 w 112551"/>
                <a:gd name="connsiteY45" fmla="*/ 106333 h 120844"/>
                <a:gd name="connsiteX46" fmla="*/ 99870 w 112551"/>
                <a:gd name="connsiteY46" fmla="*/ 96334 h 120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12551" h="120844">
                  <a:moveTo>
                    <a:pt x="99870" y="96334"/>
                  </a:moveTo>
                  <a:lnTo>
                    <a:pt x="99504" y="95602"/>
                  </a:lnTo>
                  <a:lnTo>
                    <a:pt x="99382" y="94871"/>
                  </a:lnTo>
                  <a:lnTo>
                    <a:pt x="96700" y="82676"/>
                  </a:lnTo>
                  <a:lnTo>
                    <a:pt x="96334" y="80481"/>
                  </a:lnTo>
                  <a:lnTo>
                    <a:pt x="97309" y="78530"/>
                  </a:lnTo>
                  <a:lnTo>
                    <a:pt x="108894" y="55971"/>
                  </a:lnTo>
                  <a:lnTo>
                    <a:pt x="112552" y="48899"/>
                  </a:lnTo>
                  <a:lnTo>
                    <a:pt x="112552" y="42070"/>
                  </a:lnTo>
                  <a:lnTo>
                    <a:pt x="102431" y="15609"/>
                  </a:lnTo>
                  <a:lnTo>
                    <a:pt x="85237" y="15609"/>
                  </a:lnTo>
                  <a:lnTo>
                    <a:pt x="76336" y="22193"/>
                  </a:lnTo>
                  <a:lnTo>
                    <a:pt x="72311" y="25242"/>
                  </a:lnTo>
                  <a:lnTo>
                    <a:pt x="68653" y="21949"/>
                  </a:lnTo>
                  <a:lnTo>
                    <a:pt x="55240" y="9755"/>
                  </a:lnTo>
                  <a:lnTo>
                    <a:pt x="54508" y="9633"/>
                  </a:lnTo>
                  <a:lnTo>
                    <a:pt x="44387" y="8536"/>
                  </a:lnTo>
                  <a:lnTo>
                    <a:pt x="42558" y="8292"/>
                  </a:lnTo>
                  <a:lnTo>
                    <a:pt x="41094" y="7072"/>
                  </a:lnTo>
                  <a:lnTo>
                    <a:pt x="33046" y="0"/>
                  </a:lnTo>
                  <a:lnTo>
                    <a:pt x="23413" y="9633"/>
                  </a:lnTo>
                  <a:lnTo>
                    <a:pt x="21462" y="9999"/>
                  </a:lnTo>
                  <a:lnTo>
                    <a:pt x="7682" y="12072"/>
                  </a:lnTo>
                  <a:lnTo>
                    <a:pt x="11218" y="33168"/>
                  </a:lnTo>
                  <a:lnTo>
                    <a:pt x="11463" y="34509"/>
                  </a:lnTo>
                  <a:lnTo>
                    <a:pt x="11097" y="35729"/>
                  </a:lnTo>
                  <a:lnTo>
                    <a:pt x="5609" y="56215"/>
                  </a:lnTo>
                  <a:lnTo>
                    <a:pt x="5365" y="57190"/>
                  </a:lnTo>
                  <a:lnTo>
                    <a:pt x="4756" y="58044"/>
                  </a:lnTo>
                  <a:lnTo>
                    <a:pt x="488" y="64507"/>
                  </a:lnTo>
                  <a:lnTo>
                    <a:pt x="122" y="64995"/>
                  </a:lnTo>
                  <a:lnTo>
                    <a:pt x="0" y="65239"/>
                  </a:lnTo>
                  <a:lnTo>
                    <a:pt x="0" y="84262"/>
                  </a:lnTo>
                  <a:lnTo>
                    <a:pt x="13779" y="91212"/>
                  </a:lnTo>
                  <a:lnTo>
                    <a:pt x="16706" y="92676"/>
                  </a:lnTo>
                  <a:lnTo>
                    <a:pt x="17072" y="95846"/>
                  </a:lnTo>
                  <a:lnTo>
                    <a:pt x="18291" y="105601"/>
                  </a:lnTo>
                  <a:lnTo>
                    <a:pt x="18535" y="106943"/>
                  </a:lnTo>
                  <a:lnTo>
                    <a:pt x="18047" y="108284"/>
                  </a:lnTo>
                  <a:lnTo>
                    <a:pt x="14389" y="119259"/>
                  </a:lnTo>
                  <a:lnTo>
                    <a:pt x="13901" y="120844"/>
                  </a:lnTo>
                  <a:lnTo>
                    <a:pt x="31095" y="118649"/>
                  </a:lnTo>
                  <a:lnTo>
                    <a:pt x="57922" y="111577"/>
                  </a:lnTo>
                  <a:lnTo>
                    <a:pt x="82554" y="107308"/>
                  </a:lnTo>
                  <a:lnTo>
                    <a:pt x="105357" y="107308"/>
                  </a:lnTo>
                  <a:lnTo>
                    <a:pt x="104870" y="106333"/>
                  </a:lnTo>
                  <a:lnTo>
                    <a:pt x="99870" y="9633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5" name="Freihandform: Form 494">
              <a:extLst>
                <a:ext uri="{FF2B5EF4-FFF2-40B4-BE49-F238E27FC236}">
                  <a16:creationId xmlns:a16="http://schemas.microsoft.com/office/drawing/2014/main" id="{06216FEA-FE73-4366-97D6-4012A8DD0731}"/>
                </a:ext>
              </a:extLst>
            </p:cNvPr>
            <p:cNvSpPr/>
            <p:nvPr/>
          </p:nvSpPr>
          <p:spPr>
            <a:xfrm>
              <a:off x="4161666" y="3247453"/>
              <a:ext cx="54142" cy="50849"/>
            </a:xfrm>
            <a:custGeom>
              <a:avLst/>
              <a:gdLst>
                <a:gd name="connsiteX0" fmla="*/ 53898 w 54142"/>
                <a:gd name="connsiteY0" fmla="*/ 25974 h 50849"/>
                <a:gd name="connsiteX1" fmla="*/ 53532 w 54142"/>
                <a:gd name="connsiteY1" fmla="*/ 24876 h 50849"/>
                <a:gd name="connsiteX2" fmla="*/ 48655 w 54142"/>
                <a:gd name="connsiteY2" fmla="*/ 26218 h 50849"/>
                <a:gd name="connsiteX3" fmla="*/ 43777 w 54142"/>
                <a:gd name="connsiteY3" fmla="*/ 27681 h 50849"/>
                <a:gd name="connsiteX4" fmla="*/ 41582 w 54142"/>
                <a:gd name="connsiteY4" fmla="*/ 23169 h 50849"/>
                <a:gd name="connsiteX5" fmla="*/ 39387 w 54142"/>
                <a:gd name="connsiteY5" fmla="*/ 18901 h 50849"/>
                <a:gd name="connsiteX6" fmla="*/ 38412 w 54142"/>
                <a:gd name="connsiteY6" fmla="*/ 16828 h 50849"/>
                <a:gd name="connsiteX7" fmla="*/ 37436 w 54142"/>
                <a:gd name="connsiteY7" fmla="*/ 14877 h 50849"/>
                <a:gd name="connsiteX8" fmla="*/ 37924 w 54142"/>
                <a:gd name="connsiteY8" fmla="*/ 12804 h 50849"/>
                <a:gd name="connsiteX9" fmla="*/ 38777 w 54142"/>
                <a:gd name="connsiteY9" fmla="*/ 8780 h 50849"/>
                <a:gd name="connsiteX10" fmla="*/ 39997 w 54142"/>
                <a:gd name="connsiteY10" fmla="*/ 3658 h 50849"/>
                <a:gd name="connsiteX11" fmla="*/ 35363 w 54142"/>
                <a:gd name="connsiteY11" fmla="*/ 1098 h 50849"/>
                <a:gd name="connsiteX12" fmla="*/ 33656 w 54142"/>
                <a:gd name="connsiteY12" fmla="*/ 0 h 50849"/>
                <a:gd name="connsiteX13" fmla="*/ 15731 w 54142"/>
                <a:gd name="connsiteY13" fmla="*/ 1341 h 50849"/>
                <a:gd name="connsiteX14" fmla="*/ 9389 w 54142"/>
                <a:gd name="connsiteY14" fmla="*/ 4146 h 50849"/>
                <a:gd name="connsiteX15" fmla="*/ 0 w 54142"/>
                <a:gd name="connsiteY15" fmla="*/ 8536 h 50849"/>
                <a:gd name="connsiteX16" fmla="*/ 6829 w 54142"/>
                <a:gd name="connsiteY16" fmla="*/ 22315 h 50849"/>
                <a:gd name="connsiteX17" fmla="*/ 12194 w 54142"/>
                <a:gd name="connsiteY17" fmla="*/ 41094 h 50849"/>
                <a:gd name="connsiteX18" fmla="*/ 37680 w 54142"/>
                <a:gd name="connsiteY18" fmla="*/ 50850 h 50849"/>
                <a:gd name="connsiteX19" fmla="*/ 37924 w 54142"/>
                <a:gd name="connsiteY19" fmla="*/ 50362 h 50849"/>
                <a:gd name="connsiteX20" fmla="*/ 54142 w 54142"/>
                <a:gd name="connsiteY20" fmla="*/ 26705 h 50849"/>
                <a:gd name="connsiteX21" fmla="*/ 53898 w 54142"/>
                <a:gd name="connsiteY21" fmla="*/ 25974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4142" h="50849">
                  <a:moveTo>
                    <a:pt x="53898" y="25974"/>
                  </a:moveTo>
                  <a:lnTo>
                    <a:pt x="53532" y="24876"/>
                  </a:lnTo>
                  <a:lnTo>
                    <a:pt x="48655" y="26218"/>
                  </a:lnTo>
                  <a:lnTo>
                    <a:pt x="43777" y="27681"/>
                  </a:lnTo>
                  <a:lnTo>
                    <a:pt x="41582" y="23169"/>
                  </a:lnTo>
                  <a:lnTo>
                    <a:pt x="39387" y="18901"/>
                  </a:lnTo>
                  <a:lnTo>
                    <a:pt x="38412" y="16828"/>
                  </a:lnTo>
                  <a:lnTo>
                    <a:pt x="37436" y="14877"/>
                  </a:lnTo>
                  <a:lnTo>
                    <a:pt x="37924" y="12804"/>
                  </a:lnTo>
                  <a:lnTo>
                    <a:pt x="38777" y="8780"/>
                  </a:lnTo>
                  <a:lnTo>
                    <a:pt x="39997" y="3658"/>
                  </a:lnTo>
                  <a:lnTo>
                    <a:pt x="35363" y="1098"/>
                  </a:lnTo>
                  <a:lnTo>
                    <a:pt x="33656" y="0"/>
                  </a:lnTo>
                  <a:lnTo>
                    <a:pt x="15731" y="1341"/>
                  </a:lnTo>
                  <a:lnTo>
                    <a:pt x="9389" y="4146"/>
                  </a:lnTo>
                  <a:lnTo>
                    <a:pt x="0" y="8536"/>
                  </a:lnTo>
                  <a:lnTo>
                    <a:pt x="6829" y="22315"/>
                  </a:lnTo>
                  <a:lnTo>
                    <a:pt x="12194" y="41094"/>
                  </a:lnTo>
                  <a:lnTo>
                    <a:pt x="37680" y="50850"/>
                  </a:lnTo>
                  <a:lnTo>
                    <a:pt x="37924" y="50362"/>
                  </a:lnTo>
                  <a:lnTo>
                    <a:pt x="54142" y="26705"/>
                  </a:lnTo>
                  <a:lnTo>
                    <a:pt x="53898" y="2597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6" name="Freihandform: Form 495">
              <a:extLst>
                <a:ext uri="{FF2B5EF4-FFF2-40B4-BE49-F238E27FC236}">
                  <a16:creationId xmlns:a16="http://schemas.microsoft.com/office/drawing/2014/main" id="{C54FF9B4-0488-4C7B-A23D-50B01ACD00AE}"/>
                </a:ext>
              </a:extLst>
            </p:cNvPr>
            <p:cNvSpPr/>
            <p:nvPr/>
          </p:nvSpPr>
          <p:spPr>
            <a:xfrm>
              <a:off x="4206053" y="3279768"/>
              <a:ext cx="66946" cy="68043"/>
            </a:xfrm>
            <a:custGeom>
              <a:avLst/>
              <a:gdLst>
                <a:gd name="connsiteX0" fmla="*/ 51947 w 66946"/>
                <a:gd name="connsiteY0" fmla="*/ 38655 h 68043"/>
                <a:gd name="connsiteX1" fmla="*/ 48655 w 66946"/>
                <a:gd name="connsiteY1" fmla="*/ 36948 h 68043"/>
                <a:gd name="connsiteX2" fmla="*/ 48655 w 66946"/>
                <a:gd name="connsiteY2" fmla="*/ 14999 h 68043"/>
                <a:gd name="connsiteX3" fmla="*/ 33900 w 66946"/>
                <a:gd name="connsiteY3" fmla="*/ 11584 h 68043"/>
                <a:gd name="connsiteX4" fmla="*/ 32193 w 66946"/>
                <a:gd name="connsiteY4" fmla="*/ 11219 h 68043"/>
                <a:gd name="connsiteX5" fmla="*/ 30851 w 66946"/>
                <a:gd name="connsiteY5" fmla="*/ 9999 h 68043"/>
                <a:gd name="connsiteX6" fmla="*/ 26461 w 66946"/>
                <a:gd name="connsiteY6" fmla="*/ 5487 h 68043"/>
                <a:gd name="connsiteX7" fmla="*/ 26096 w 66946"/>
                <a:gd name="connsiteY7" fmla="*/ 5243 h 68043"/>
                <a:gd name="connsiteX8" fmla="*/ 15609 w 66946"/>
                <a:gd name="connsiteY8" fmla="*/ 0 h 68043"/>
                <a:gd name="connsiteX9" fmla="*/ 122 w 66946"/>
                <a:gd name="connsiteY9" fmla="*/ 22681 h 68043"/>
                <a:gd name="connsiteX10" fmla="*/ 0 w 66946"/>
                <a:gd name="connsiteY10" fmla="*/ 22803 h 68043"/>
                <a:gd name="connsiteX11" fmla="*/ 17194 w 66946"/>
                <a:gd name="connsiteY11" fmla="*/ 38655 h 68043"/>
                <a:gd name="connsiteX12" fmla="*/ 39509 w 66946"/>
                <a:gd name="connsiteY12" fmla="*/ 59629 h 68043"/>
                <a:gd name="connsiteX13" fmla="*/ 62312 w 66946"/>
                <a:gd name="connsiteY13" fmla="*/ 68043 h 68043"/>
                <a:gd name="connsiteX14" fmla="*/ 62678 w 66946"/>
                <a:gd name="connsiteY14" fmla="*/ 66946 h 68043"/>
                <a:gd name="connsiteX15" fmla="*/ 63044 w 66946"/>
                <a:gd name="connsiteY15" fmla="*/ 65604 h 68043"/>
                <a:gd name="connsiteX16" fmla="*/ 66946 w 66946"/>
                <a:gd name="connsiteY16" fmla="*/ 54020 h 68043"/>
                <a:gd name="connsiteX17" fmla="*/ 65970 w 66946"/>
                <a:gd name="connsiteY17" fmla="*/ 45606 h 68043"/>
                <a:gd name="connsiteX18" fmla="*/ 51947 w 66946"/>
                <a:gd name="connsiteY18" fmla="*/ 38655 h 6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946" h="68043">
                  <a:moveTo>
                    <a:pt x="51947" y="38655"/>
                  </a:moveTo>
                  <a:lnTo>
                    <a:pt x="48655" y="36948"/>
                  </a:lnTo>
                  <a:lnTo>
                    <a:pt x="48655" y="14999"/>
                  </a:lnTo>
                  <a:lnTo>
                    <a:pt x="33900" y="11584"/>
                  </a:lnTo>
                  <a:lnTo>
                    <a:pt x="32193" y="11219"/>
                  </a:lnTo>
                  <a:lnTo>
                    <a:pt x="30851" y="9999"/>
                  </a:lnTo>
                  <a:lnTo>
                    <a:pt x="26461" y="5487"/>
                  </a:lnTo>
                  <a:lnTo>
                    <a:pt x="26096" y="5243"/>
                  </a:lnTo>
                  <a:lnTo>
                    <a:pt x="15609" y="0"/>
                  </a:lnTo>
                  <a:lnTo>
                    <a:pt x="122" y="22681"/>
                  </a:lnTo>
                  <a:lnTo>
                    <a:pt x="0" y="22803"/>
                  </a:lnTo>
                  <a:lnTo>
                    <a:pt x="17194" y="38655"/>
                  </a:lnTo>
                  <a:lnTo>
                    <a:pt x="39509" y="59629"/>
                  </a:lnTo>
                  <a:lnTo>
                    <a:pt x="62312" y="68043"/>
                  </a:lnTo>
                  <a:lnTo>
                    <a:pt x="62678" y="66946"/>
                  </a:lnTo>
                  <a:lnTo>
                    <a:pt x="63044" y="65604"/>
                  </a:lnTo>
                  <a:lnTo>
                    <a:pt x="66946" y="54020"/>
                  </a:lnTo>
                  <a:lnTo>
                    <a:pt x="65970" y="45606"/>
                  </a:lnTo>
                  <a:lnTo>
                    <a:pt x="51947" y="3865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7" name="Freihandform: Form 496">
              <a:extLst>
                <a:ext uri="{FF2B5EF4-FFF2-40B4-BE49-F238E27FC236}">
                  <a16:creationId xmlns:a16="http://schemas.microsoft.com/office/drawing/2014/main" id="{0DB814F3-ED60-43BC-9C4F-E3B18758F447}"/>
                </a:ext>
              </a:extLst>
            </p:cNvPr>
            <p:cNvSpPr/>
            <p:nvPr/>
          </p:nvSpPr>
          <p:spPr>
            <a:xfrm>
              <a:off x="4662724" y="3783265"/>
              <a:ext cx="256077" cy="245590"/>
            </a:xfrm>
            <a:custGeom>
              <a:avLst/>
              <a:gdLst>
                <a:gd name="connsiteX0" fmla="*/ 96456 w 256077"/>
                <a:gd name="connsiteY0" fmla="*/ 230104 h 245590"/>
                <a:gd name="connsiteX1" fmla="*/ 106699 w 256077"/>
                <a:gd name="connsiteY1" fmla="*/ 230104 h 245590"/>
                <a:gd name="connsiteX2" fmla="*/ 108528 w 256077"/>
                <a:gd name="connsiteY2" fmla="*/ 231933 h 245590"/>
                <a:gd name="connsiteX3" fmla="*/ 113040 w 256077"/>
                <a:gd name="connsiteY3" fmla="*/ 236445 h 245590"/>
                <a:gd name="connsiteX4" fmla="*/ 122064 w 256077"/>
                <a:gd name="connsiteY4" fmla="*/ 241688 h 245590"/>
                <a:gd name="connsiteX5" fmla="*/ 134989 w 256077"/>
                <a:gd name="connsiteY5" fmla="*/ 245590 h 245590"/>
                <a:gd name="connsiteX6" fmla="*/ 153647 w 256077"/>
                <a:gd name="connsiteY6" fmla="*/ 240957 h 245590"/>
                <a:gd name="connsiteX7" fmla="*/ 156085 w 256077"/>
                <a:gd name="connsiteY7" fmla="*/ 158402 h 245590"/>
                <a:gd name="connsiteX8" fmla="*/ 156451 w 256077"/>
                <a:gd name="connsiteY8" fmla="*/ 143403 h 245590"/>
                <a:gd name="connsiteX9" fmla="*/ 156451 w 256077"/>
                <a:gd name="connsiteY9" fmla="*/ 143403 h 245590"/>
                <a:gd name="connsiteX10" fmla="*/ 157792 w 256077"/>
                <a:gd name="connsiteY10" fmla="*/ 98285 h 245590"/>
                <a:gd name="connsiteX11" fmla="*/ 157915 w 256077"/>
                <a:gd name="connsiteY11" fmla="*/ 93163 h 245590"/>
                <a:gd name="connsiteX12" fmla="*/ 163036 w 256077"/>
                <a:gd name="connsiteY12" fmla="*/ 92432 h 245590"/>
                <a:gd name="connsiteX13" fmla="*/ 166328 w 256077"/>
                <a:gd name="connsiteY13" fmla="*/ 91944 h 245590"/>
                <a:gd name="connsiteX14" fmla="*/ 177791 w 256077"/>
                <a:gd name="connsiteY14" fmla="*/ 90359 h 245590"/>
                <a:gd name="connsiteX15" fmla="*/ 179132 w 256077"/>
                <a:gd name="connsiteY15" fmla="*/ 29998 h 245590"/>
                <a:gd name="connsiteX16" fmla="*/ 179132 w 256077"/>
                <a:gd name="connsiteY16" fmla="*/ 25730 h 245590"/>
                <a:gd name="connsiteX17" fmla="*/ 183156 w 256077"/>
                <a:gd name="connsiteY17" fmla="*/ 24388 h 245590"/>
                <a:gd name="connsiteX18" fmla="*/ 187180 w 256077"/>
                <a:gd name="connsiteY18" fmla="*/ 22925 h 245590"/>
                <a:gd name="connsiteX19" fmla="*/ 217910 w 256077"/>
                <a:gd name="connsiteY19" fmla="*/ 12316 h 245590"/>
                <a:gd name="connsiteX20" fmla="*/ 219983 w 256077"/>
                <a:gd name="connsiteY20" fmla="*/ 11584 h 245590"/>
                <a:gd name="connsiteX21" fmla="*/ 222056 w 256077"/>
                <a:gd name="connsiteY21" fmla="*/ 12316 h 245590"/>
                <a:gd name="connsiteX22" fmla="*/ 235469 w 256077"/>
                <a:gd name="connsiteY22" fmla="*/ 17316 h 245590"/>
                <a:gd name="connsiteX23" fmla="*/ 250712 w 256077"/>
                <a:gd name="connsiteY23" fmla="*/ 11219 h 245590"/>
                <a:gd name="connsiteX24" fmla="*/ 254858 w 256077"/>
                <a:gd name="connsiteY24" fmla="*/ 9511 h 245590"/>
                <a:gd name="connsiteX25" fmla="*/ 256077 w 256077"/>
                <a:gd name="connsiteY25" fmla="*/ 9024 h 245590"/>
                <a:gd name="connsiteX26" fmla="*/ 253638 w 256077"/>
                <a:gd name="connsiteY26" fmla="*/ 8536 h 245590"/>
                <a:gd name="connsiteX27" fmla="*/ 231445 w 256077"/>
                <a:gd name="connsiteY27" fmla="*/ 7073 h 245590"/>
                <a:gd name="connsiteX28" fmla="*/ 230348 w 256077"/>
                <a:gd name="connsiteY28" fmla="*/ 7073 h 245590"/>
                <a:gd name="connsiteX29" fmla="*/ 229494 w 256077"/>
                <a:gd name="connsiteY29" fmla="*/ 6707 h 245590"/>
                <a:gd name="connsiteX30" fmla="*/ 219007 w 256077"/>
                <a:gd name="connsiteY30" fmla="*/ 2439 h 245590"/>
                <a:gd name="connsiteX31" fmla="*/ 218763 w 256077"/>
                <a:gd name="connsiteY31" fmla="*/ 2683 h 245590"/>
                <a:gd name="connsiteX32" fmla="*/ 214495 w 256077"/>
                <a:gd name="connsiteY32" fmla="*/ 5609 h 245590"/>
                <a:gd name="connsiteX33" fmla="*/ 205228 w 256077"/>
                <a:gd name="connsiteY33" fmla="*/ 12072 h 245590"/>
                <a:gd name="connsiteX34" fmla="*/ 203764 w 256077"/>
                <a:gd name="connsiteY34" fmla="*/ 13170 h 245590"/>
                <a:gd name="connsiteX35" fmla="*/ 202057 w 256077"/>
                <a:gd name="connsiteY35" fmla="*/ 13292 h 245590"/>
                <a:gd name="connsiteX36" fmla="*/ 184254 w 256077"/>
                <a:gd name="connsiteY36" fmla="*/ 14023 h 245590"/>
                <a:gd name="connsiteX37" fmla="*/ 181449 w 256077"/>
                <a:gd name="connsiteY37" fmla="*/ 14145 h 245590"/>
                <a:gd name="connsiteX38" fmla="*/ 179376 w 256077"/>
                <a:gd name="connsiteY38" fmla="*/ 14633 h 245590"/>
                <a:gd name="connsiteX39" fmla="*/ 160353 w 256077"/>
                <a:gd name="connsiteY39" fmla="*/ 18657 h 245590"/>
                <a:gd name="connsiteX40" fmla="*/ 158768 w 256077"/>
                <a:gd name="connsiteY40" fmla="*/ 19023 h 245590"/>
                <a:gd name="connsiteX41" fmla="*/ 157183 w 256077"/>
                <a:gd name="connsiteY41" fmla="*/ 18535 h 245590"/>
                <a:gd name="connsiteX42" fmla="*/ 140111 w 256077"/>
                <a:gd name="connsiteY42" fmla="*/ 13170 h 245590"/>
                <a:gd name="connsiteX43" fmla="*/ 139257 w 256077"/>
                <a:gd name="connsiteY43" fmla="*/ 12926 h 245590"/>
                <a:gd name="connsiteX44" fmla="*/ 138648 w 256077"/>
                <a:gd name="connsiteY44" fmla="*/ 12438 h 245590"/>
                <a:gd name="connsiteX45" fmla="*/ 125112 w 256077"/>
                <a:gd name="connsiteY45" fmla="*/ 3902 h 245590"/>
                <a:gd name="connsiteX46" fmla="*/ 121942 w 256077"/>
                <a:gd name="connsiteY46" fmla="*/ 1829 h 245590"/>
                <a:gd name="connsiteX47" fmla="*/ 117796 w 256077"/>
                <a:gd name="connsiteY47" fmla="*/ 1829 h 245590"/>
                <a:gd name="connsiteX48" fmla="*/ 64141 w 256077"/>
                <a:gd name="connsiteY48" fmla="*/ 976 h 245590"/>
                <a:gd name="connsiteX49" fmla="*/ 50362 w 256077"/>
                <a:gd name="connsiteY49" fmla="*/ 5975 h 245590"/>
                <a:gd name="connsiteX50" fmla="*/ 45240 w 256077"/>
                <a:gd name="connsiteY50" fmla="*/ 7804 h 245590"/>
                <a:gd name="connsiteX51" fmla="*/ 41704 w 256077"/>
                <a:gd name="connsiteY51" fmla="*/ 9146 h 245590"/>
                <a:gd name="connsiteX52" fmla="*/ 38899 w 256077"/>
                <a:gd name="connsiteY52" fmla="*/ 6341 h 245590"/>
                <a:gd name="connsiteX53" fmla="*/ 33778 w 256077"/>
                <a:gd name="connsiteY53" fmla="*/ 1341 h 245590"/>
                <a:gd name="connsiteX54" fmla="*/ 32558 w 256077"/>
                <a:gd name="connsiteY54" fmla="*/ 0 h 245590"/>
                <a:gd name="connsiteX55" fmla="*/ 13292 w 256077"/>
                <a:gd name="connsiteY55" fmla="*/ 0 h 245590"/>
                <a:gd name="connsiteX56" fmla="*/ 1707 w 256077"/>
                <a:gd name="connsiteY56" fmla="*/ 5365 h 245590"/>
                <a:gd name="connsiteX57" fmla="*/ 0 w 256077"/>
                <a:gd name="connsiteY57" fmla="*/ 6219 h 245590"/>
                <a:gd name="connsiteX58" fmla="*/ 854 w 256077"/>
                <a:gd name="connsiteY58" fmla="*/ 11341 h 245590"/>
                <a:gd name="connsiteX59" fmla="*/ 3536 w 256077"/>
                <a:gd name="connsiteY59" fmla="*/ 26339 h 245590"/>
                <a:gd name="connsiteX60" fmla="*/ 12072 w 256077"/>
                <a:gd name="connsiteY60" fmla="*/ 39143 h 245590"/>
                <a:gd name="connsiteX61" fmla="*/ 13535 w 256077"/>
                <a:gd name="connsiteY61" fmla="*/ 47801 h 245590"/>
                <a:gd name="connsiteX62" fmla="*/ 43289 w 256077"/>
                <a:gd name="connsiteY62" fmla="*/ 101577 h 245590"/>
                <a:gd name="connsiteX63" fmla="*/ 46216 w 256077"/>
                <a:gd name="connsiteY63" fmla="*/ 116088 h 245590"/>
                <a:gd name="connsiteX64" fmla="*/ 53288 w 256077"/>
                <a:gd name="connsiteY64" fmla="*/ 155841 h 245590"/>
                <a:gd name="connsiteX65" fmla="*/ 60239 w 256077"/>
                <a:gd name="connsiteY65" fmla="*/ 181205 h 245590"/>
                <a:gd name="connsiteX66" fmla="*/ 70116 w 256077"/>
                <a:gd name="connsiteY66" fmla="*/ 210715 h 245590"/>
                <a:gd name="connsiteX67" fmla="*/ 78530 w 256077"/>
                <a:gd name="connsiteY67" fmla="*/ 228884 h 245590"/>
                <a:gd name="connsiteX68" fmla="*/ 85969 w 256077"/>
                <a:gd name="connsiteY68" fmla="*/ 239371 h 245590"/>
                <a:gd name="connsiteX69" fmla="*/ 94748 w 256077"/>
                <a:gd name="connsiteY69" fmla="*/ 231689 h 245590"/>
                <a:gd name="connsiteX70" fmla="*/ 96456 w 256077"/>
                <a:gd name="connsiteY70" fmla="*/ 230104 h 24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256077" h="245590">
                  <a:moveTo>
                    <a:pt x="96456" y="230104"/>
                  </a:moveTo>
                  <a:lnTo>
                    <a:pt x="106699" y="230104"/>
                  </a:lnTo>
                  <a:lnTo>
                    <a:pt x="108528" y="231933"/>
                  </a:lnTo>
                  <a:lnTo>
                    <a:pt x="113040" y="236445"/>
                  </a:lnTo>
                  <a:lnTo>
                    <a:pt x="122064" y="241688"/>
                  </a:lnTo>
                  <a:lnTo>
                    <a:pt x="134989" y="245590"/>
                  </a:lnTo>
                  <a:lnTo>
                    <a:pt x="153647" y="240957"/>
                  </a:lnTo>
                  <a:lnTo>
                    <a:pt x="156085" y="158402"/>
                  </a:lnTo>
                  <a:lnTo>
                    <a:pt x="156451" y="143403"/>
                  </a:lnTo>
                  <a:lnTo>
                    <a:pt x="156451" y="143403"/>
                  </a:lnTo>
                  <a:lnTo>
                    <a:pt x="157792" y="98285"/>
                  </a:lnTo>
                  <a:lnTo>
                    <a:pt x="157915" y="93163"/>
                  </a:lnTo>
                  <a:lnTo>
                    <a:pt x="163036" y="92432"/>
                  </a:lnTo>
                  <a:lnTo>
                    <a:pt x="166328" y="91944"/>
                  </a:lnTo>
                  <a:lnTo>
                    <a:pt x="177791" y="90359"/>
                  </a:lnTo>
                  <a:lnTo>
                    <a:pt x="179132" y="29998"/>
                  </a:lnTo>
                  <a:lnTo>
                    <a:pt x="179132" y="25730"/>
                  </a:lnTo>
                  <a:lnTo>
                    <a:pt x="183156" y="24388"/>
                  </a:lnTo>
                  <a:lnTo>
                    <a:pt x="187180" y="22925"/>
                  </a:lnTo>
                  <a:lnTo>
                    <a:pt x="217910" y="12316"/>
                  </a:lnTo>
                  <a:lnTo>
                    <a:pt x="219983" y="11584"/>
                  </a:lnTo>
                  <a:lnTo>
                    <a:pt x="222056" y="12316"/>
                  </a:lnTo>
                  <a:lnTo>
                    <a:pt x="235469" y="17316"/>
                  </a:lnTo>
                  <a:lnTo>
                    <a:pt x="250712" y="11219"/>
                  </a:lnTo>
                  <a:lnTo>
                    <a:pt x="254858" y="9511"/>
                  </a:lnTo>
                  <a:lnTo>
                    <a:pt x="256077" y="9024"/>
                  </a:lnTo>
                  <a:lnTo>
                    <a:pt x="253638" y="8536"/>
                  </a:lnTo>
                  <a:lnTo>
                    <a:pt x="231445" y="7073"/>
                  </a:lnTo>
                  <a:lnTo>
                    <a:pt x="230348" y="7073"/>
                  </a:lnTo>
                  <a:lnTo>
                    <a:pt x="229494" y="6707"/>
                  </a:lnTo>
                  <a:lnTo>
                    <a:pt x="219007" y="2439"/>
                  </a:lnTo>
                  <a:lnTo>
                    <a:pt x="218763" y="2683"/>
                  </a:lnTo>
                  <a:lnTo>
                    <a:pt x="214495" y="5609"/>
                  </a:lnTo>
                  <a:lnTo>
                    <a:pt x="205228" y="12072"/>
                  </a:lnTo>
                  <a:lnTo>
                    <a:pt x="203764" y="13170"/>
                  </a:lnTo>
                  <a:lnTo>
                    <a:pt x="202057" y="13292"/>
                  </a:lnTo>
                  <a:lnTo>
                    <a:pt x="184254" y="14023"/>
                  </a:lnTo>
                  <a:lnTo>
                    <a:pt x="181449" y="14145"/>
                  </a:lnTo>
                  <a:lnTo>
                    <a:pt x="179376" y="14633"/>
                  </a:lnTo>
                  <a:lnTo>
                    <a:pt x="160353" y="18657"/>
                  </a:lnTo>
                  <a:lnTo>
                    <a:pt x="158768" y="19023"/>
                  </a:lnTo>
                  <a:lnTo>
                    <a:pt x="157183" y="18535"/>
                  </a:lnTo>
                  <a:lnTo>
                    <a:pt x="140111" y="13170"/>
                  </a:lnTo>
                  <a:lnTo>
                    <a:pt x="139257" y="12926"/>
                  </a:lnTo>
                  <a:lnTo>
                    <a:pt x="138648" y="12438"/>
                  </a:lnTo>
                  <a:lnTo>
                    <a:pt x="125112" y="3902"/>
                  </a:lnTo>
                  <a:lnTo>
                    <a:pt x="121942" y="1829"/>
                  </a:lnTo>
                  <a:lnTo>
                    <a:pt x="117796" y="1829"/>
                  </a:lnTo>
                  <a:lnTo>
                    <a:pt x="64141" y="976"/>
                  </a:lnTo>
                  <a:lnTo>
                    <a:pt x="50362" y="5975"/>
                  </a:lnTo>
                  <a:lnTo>
                    <a:pt x="45240" y="7804"/>
                  </a:lnTo>
                  <a:lnTo>
                    <a:pt x="41704" y="9146"/>
                  </a:lnTo>
                  <a:lnTo>
                    <a:pt x="38899" y="6341"/>
                  </a:lnTo>
                  <a:lnTo>
                    <a:pt x="33778" y="1341"/>
                  </a:lnTo>
                  <a:lnTo>
                    <a:pt x="32558" y="0"/>
                  </a:lnTo>
                  <a:lnTo>
                    <a:pt x="13292" y="0"/>
                  </a:lnTo>
                  <a:lnTo>
                    <a:pt x="1707" y="5365"/>
                  </a:lnTo>
                  <a:lnTo>
                    <a:pt x="0" y="6219"/>
                  </a:lnTo>
                  <a:lnTo>
                    <a:pt x="854" y="11341"/>
                  </a:lnTo>
                  <a:lnTo>
                    <a:pt x="3536" y="26339"/>
                  </a:lnTo>
                  <a:lnTo>
                    <a:pt x="12072" y="39143"/>
                  </a:lnTo>
                  <a:lnTo>
                    <a:pt x="13535" y="47801"/>
                  </a:lnTo>
                  <a:lnTo>
                    <a:pt x="43289" y="101577"/>
                  </a:lnTo>
                  <a:lnTo>
                    <a:pt x="46216" y="116088"/>
                  </a:lnTo>
                  <a:lnTo>
                    <a:pt x="53288" y="155841"/>
                  </a:lnTo>
                  <a:lnTo>
                    <a:pt x="60239" y="181205"/>
                  </a:lnTo>
                  <a:lnTo>
                    <a:pt x="70116" y="210715"/>
                  </a:lnTo>
                  <a:lnTo>
                    <a:pt x="78530" y="228884"/>
                  </a:lnTo>
                  <a:lnTo>
                    <a:pt x="85969" y="239371"/>
                  </a:lnTo>
                  <a:lnTo>
                    <a:pt x="94748" y="231689"/>
                  </a:lnTo>
                  <a:lnTo>
                    <a:pt x="96456" y="23010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8" name="Freihandform: Form 497">
              <a:extLst>
                <a:ext uri="{FF2B5EF4-FFF2-40B4-BE49-F238E27FC236}">
                  <a16:creationId xmlns:a16="http://schemas.microsoft.com/office/drawing/2014/main" id="{57714A1A-0F4E-455F-AB8A-2E2958BA75D9}"/>
                </a:ext>
              </a:extLst>
            </p:cNvPr>
            <p:cNvSpPr/>
            <p:nvPr/>
          </p:nvSpPr>
          <p:spPr>
            <a:xfrm>
              <a:off x="4752595" y="3884476"/>
              <a:ext cx="314731" cy="288636"/>
            </a:xfrm>
            <a:custGeom>
              <a:avLst/>
              <a:gdLst>
                <a:gd name="connsiteX0" fmla="*/ 304488 w 314731"/>
                <a:gd name="connsiteY0" fmla="*/ 104992 h 288636"/>
                <a:gd name="connsiteX1" fmla="*/ 300342 w 314731"/>
                <a:gd name="connsiteY1" fmla="*/ 117186 h 288636"/>
                <a:gd name="connsiteX2" fmla="*/ 298879 w 314731"/>
                <a:gd name="connsiteY2" fmla="*/ 121210 h 288636"/>
                <a:gd name="connsiteX3" fmla="*/ 277539 w 314731"/>
                <a:gd name="connsiteY3" fmla="*/ 121210 h 288636"/>
                <a:gd name="connsiteX4" fmla="*/ 275832 w 314731"/>
                <a:gd name="connsiteY4" fmla="*/ 118039 h 288636"/>
                <a:gd name="connsiteX5" fmla="*/ 271076 w 314731"/>
                <a:gd name="connsiteY5" fmla="*/ 109382 h 288636"/>
                <a:gd name="connsiteX6" fmla="*/ 270223 w 314731"/>
                <a:gd name="connsiteY6" fmla="*/ 107674 h 288636"/>
                <a:gd name="connsiteX7" fmla="*/ 270223 w 314731"/>
                <a:gd name="connsiteY7" fmla="*/ 105723 h 288636"/>
                <a:gd name="connsiteX8" fmla="*/ 273759 w 314731"/>
                <a:gd name="connsiteY8" fmla="*/ 75726 h 288636"/>
                <a:gd name="connsiteX9" fmla="*/ 273759 w 314731"/>
                <a:gd name="connsiteY9" fmla="*/ 71458 h 288636"/>
                <a:gd name="connsiteX10" fmla="*/ 277783 w 314731"/>
                <a:gd name="connsiteY10" fmla="*/ 70482 h 288636"/>
                <a:gd name="connsiteX11" fmla="*/ 283514 w 314731"/>
                <a:gd name="connsiteY11" fmla="*/ 69019 h 288636"/>
                <a:gd name="connsiteX12" fmla="*/ 284734 w 314731"/>
                <a:gd name="connsiteY12" fmla="*/ 69019 h 288636"/>
                <a:gd name="connsiteX13" fmla="*/ 285953 w 314731"/>
                <a:gd name="connsiteY13" fmla="*/ 69019 h 288636"/>
                <a:gd name="connsiteX14" fmla="*/ 292782 w 314731"/>
                <a:gd name="connsiteY14" fmla="*/ 70116 h 288636"/>
                <a:gd name="connsiteX15" fmla="*/ 295099 w 314731"/>
                <a:gd name="connsiteY15" fmla="*/ 53045 h 288636"/>
                <a:gd name="connsiteX16" fmla="*/ 287051 w 314731"/>
                <a:gd name="connsiteY16" fmla="*/ 6219 h 288636"/>
                <a:gd name="connsiteX17" fmla="*/ 261687 w 314731"/>
                <a:gd name="connsiteY17" fmla="*/ 0 h 288636"/>
                <a:gd name="connsiteX18" fmla="*/ 257906 w 314731"/>
                <a:gd name="connsiteY18" fmla="*/ 1951 h 288636"/>
                <a:gd name="connsiteX19" fmla="*/ 252175 w 314731"/>
                <a:gd name="connsiteY19" fmla="*/ 4878 h 288636"/>
                <a:gd name="connsiteX20" fmla="*/ 250834 w 314731"/>
                <a:gd name="connsiteY20" fmla="*/ 4878 h 288636"/>
                <a:gd name="connsiteX21" fmla="*/ 237177 w 314731"/>
                <a:gd name="connsiteY21" fmla="*/ 4878 h 288636"/>
                <a:gd name="connsiteX22" fmla="*/ 237177 w 314731"/>
                <a:gd name="connsiteY22" fmla="*/ 4878 h 288636"/>
                <a:gd name="connsiteX23" fmla="*/ 216446 w 314731"/>
                <a:gd name="connsiteY23" fmla="*/ 22925 h 288636"/>
                <a:gd name="connsiteX24" fmla="*/ 211325 w 314731"/>
                <a:gd name="connsiteY24" fmla="*/ 30607 h 288636"/>
                <a:gd name="connsiteX25" fmla="*/ 210106 w 314731"/>
                <a:gd name="connsiteY25" fmla="*/ 32314 h 288636"/>
                <a:gd name="connsiteX26" fmla="*/ 208276 w 314731"/>
                <a:gd name="connsiteY26" fmla="*/ 32924 h 288636"/>
                <a:gd name="connsiteX27" fmla="*/ 203155 w 314731"/>
                <a:gd name="connsiteY27" fmla="*/ 34753 h 288636"/>
                <a:gd name="connsiteX28" fmla="*/ 190961 w 314731"/>
                <a:gd name="connsiteY28" fmla="*/ 39021 h 288636"/>
                <a:gd name="connsiteX29" fmla="*/ 188522 w 314731"/>
                <a:gd name="connsiteY29" fmla="*/ 59995 h 288636"/>
                <a:gd name="connsiteX30" fmla="*/ 188522 w 314731"/>
                <a:gd name="connsiteY30" fmla="*/ 61946 h 288636"/>
                <a:gd name="connsiteX31" fmla="*/ 187180 w 314731"/>
                <a:gd name="connsiteY31" fmla="*/ 63410 h 288636"/>
                <a:gd name="connsiteX32" fmla="*/ 179132 w 314731"/>
                <a:gd name="connsiteY32" fmla="*/ 72189 h 288636"/>
                <a:gd name="connsiteX33" fmla="*/ 174011 w 314731"/>
                <a:gd name="connsiteY33" fmla="*/ 77799 h 288636"/>
                <a:gd name="connsiteX34" fmla="*/ 172426 w 314731"/>
                <a:gd name="connsiteY34" fmla="*/ 79628 h 288636"/>
                <a:gd name="connsiteX35" fmla="*/ 169987 w 314731"/>
                <a:gd name="connsiteY35" fmla="*/ 79628 h 288636"/>
                <a:gd name="connsiteX36" fmla="*/ 154622 w 314731"/>
                <a:gd name="connsiteY36" fmla="*/ 80969 h 288636"/>
                <a:gd name="connsiteX37" fmla="*/ 152305 w 314731"/>
                <a:gd name="connsiteY37" fmla="*/ 80969 h 288636"/>
                <a:gd name="connsiteX38" fmla="*/ 150476 w 314731"/>
                <a:gd name="connsiteY38" fmla="*/ 79750 h 288636"/>
                <a:gd name="connsiteX39" fmla="*/ 142428 w 314731"/>
                <a:gd name="connsiteY39" fmla="*/ 74018 h 288636"/>
                <a:gd name="connsiteX40" fmla="*/ 135599 w 314731"/>
                <a:gd name="connsiteY40" fmla="*/ 74872 h 288636"/>
                <a:gd name="connsiteX41" fmla="*/ 134258 w 314731"/>
                <a:gd name="connsiteY41" fmla="*/ 74872 h 288636"/>
                <a:gd name="connsiteX42" fmla="*/ 118527 w 314731"/>
                <a:gd name="connsiteY42" fmla="*/ 93407 h 288636"/>
                <a:gd name="connsiteX43" fmla="*/ 111699 w 314731"/>
                <a:gd name="connsiteY43" fmla="*/ 101333 h 288636"/>
                <a:gd name="connsiteX44" fmla="*/ 109870 w 314731"/>
                <a:gd name="connsiteY44" fmla="*/ 103529 h 288636"/>
                <a:gd name="connsiteX45" fmla="*/ 86457 w 314731"/>
                <a:gd name="connsiteY45" fmla="*/ 103529 h 288636"/>
                <a:gd name="connsiteX46" fmla="*/ 85359 w 314731"/>
                <a:gd name="connsiteY46" fmla="*/ 98651 h 288636"/>
                <a:gd name="connsiteX47" fmla="*/ 78896 w 314731"/>
                <a:gd name="connsiteY47" fmla="*/ 67312 h 288636"/>
                <a:gd name="connsiteX48" fmla="*/ 74262 w 314731"/>
                <a:gd name="connsiteY48" fmla="*/ 62312 h 288636"/>
                <a:gd name="connsiteX49" fmla="*/ 73287 w 314731"/>
                <a:gd name="connsiteY49" fmla="*/ 61215 h 288636"/>
                <a:gd name="connsiteX50" fmla="*/ 70970 w 314731"/>
                <a:gd name="connsiteY50" fmla="*/ 140477 h 288636"/>
                <a:gd name="connsiteX51" fmla="*/ 70970 w 314731"/>
                <a:gd name="connsiteY51" fmla="*/ 145110 h 288636"/>
                <a:gd name="connsiteX52" fmla="*/ 66458 w 314731"/>
                <a:gd name="connsiteY52" fmla="*/ 146208 h 288636"/>
                <a:gd name="connsiteX53" fmla="*/ 45850 w 314731"/>
                <a:gd name="connsiteY53" fmla="*/ 151451 h 288636"/>
                <a:gd name="connsiteX54" fmla="*/ 44265 w 314731"/>
                <a:gd name="connsiteY54" fmla="*/ 151451 h 288636"/>
                <a:gd name="connsiteX55" fmla="*/ 42680 w 314731"/>
                <a:gd name="connsiteY55" fmla="*/ 151451 h 288636"/>
                <a:gd name="connsiteX56" fmla="*/ 29266 w 314731"/>
                <a:gd name="connsiteY56" fmla="*/ 147427 h 288636"/>
                <a:gd name="connsiteX57" fmla="*/ 28656 w 314731"/>
                <a:gd name="connsiteY57" fmla="*/ 147427 h 288636"/>
                <a:gd name="connsiteX58" fmla="*/ 28656 w 314731"/>
                <a:gd name="connsiteY58" fmla="*/ 147427 h 288636"/>
                <a:gd name="connsiteX59" fmla="*/ 19145 w 314731"/>
                <a:gd name="connsiteY59" fmla="*/ 141940 h 288636"/>
                <a:gd name="connsiteX60" fmla="*/ 18413 w 314731"/>
                <a:gd name="connsiteY60" fmla="*/ 141940 h 288636"/>
                <a:gd name="connsiteX61" fmla="*/ 17803 w 314731"/>
                <a:gd name="connsiteY61" fmla="*/ 141940 h 288636"/>
                <a:gd name="connsiteX62" fmla="*/ 13536 w 314731"/>
                <a:gd name="connsiteY62" fmla="*/ 137672 h 288636"/>
                <a:gd name="connsiteX63" fmla="*/ 9633 w 314731"/>
                <a:gd name="connsiteY63" fmla="*/ 137672 h 288636"/>
                <a:gd name="connsiteX64" fmla="*/ 1219 w 314731"/>
                <a:gd name="connsiteY64" fmla="*/ 144989 h 288636"/>
                <a:gd name="connsiteX65" fmla="*/ 0 w 314731"/>
                <a:gd name="connsiteY65" fmla="*/ 146086 h 288636"/>
                <a:gd name="connsiteX66" fmla="*/ 3049 w 314731"/>
                <a:gd name="connsiteY66" fmla="*/ 154256 h 288636"/>
                <a:gd name="connsiteX67" fmla="*/ 12804 w 314731"/>
                <a:gd name="connsiteY67" fmla="*/ 175108 h 288636"/>
                <a:gd name="connsiteX68" fmla="*/ 29998 w 314731"/>
                <a:gd name="connsiteY68" fmla="*/ 199496 h 288636"/>
                <a:gd name="connsiteX69" fmla="*/ 39997 w 314731"/>
                <a:gd name="connsiteY69" fmla="*/ 228275 h 288636"/>
                <a:gd name="connsiteX70" fmla="*/ 38534 w 314731"/>
                <a:gd name="connsiteY70" fmla="*/ 244737 h 288636"/>
                <a:gd name="connsiteX71" fmla="*/ 34388 w 314731"/>
                <a:gd name="connsiteY71" fmla="*/ 251687 h 288636"/>
                <a:gd name="connsiteX72" fmla="*/ 35607 w 314731"/>
                <a:gd name="connsiteY72" fmla="*/ 260101 h 288636"/>
                <a:gd name="connsiteX73" fmla="*/ 66824 w 314731"/>
                <a:gd name="connsiteY73" fmla="*/ 288636 h 288636"/>
                <a:gd name="connsiteX74" fmla="*/ 78043 w 314731"/>
                <a:gd name="connsiteY74" fmla="*/ 286075 h 288636"/>
                <a:gd name="connsiteX75" fmla="*/ 88042 w 314731"/>
                <a:gd name="connsiteY75" fmla="*/ 277539 h 288636"/>
                <a:gd name="connsiteX76" fmla="*/ 112430 w 314731"/>
                <a:gd name="connsiteY76" fmla="*/ 273271 h 288636"/>
                <a:gd name="connsiteX77" fmla="*/ 132550 w 314731"/>
                <a:gd name="connsiteY77" fmla="*/ 270345 h 288636"/>
                <a:gd name="connsiteX78" fmla="*/ 132550 w 314731"/>
                <a:gd name="connsiteY78" fmla="*/ 270345 h 288636"/>
                <a:gd name="connsiteX79" fmla="*/ 170230 w 314731"/>
                <a:gd name="connsiteY79" fmla="*/ 271808 h 288636"/>
                <a:gd name="connsiteX80" fmla="*/ 177059 w 314731"/>
                <a:gd name="connsiteY80" fmla="*/ 267662 h 288636"/>
                <a:gd name="connsiteX81" fmla="*/ 192546 w 314731"/>
                <a:gd name="connsiteY81" fmla="*/ 264857 h 288636"/>
                <a:gd name="connsiteX82" fmla="*/ 240103 w 314731"/>
                <a:gd name="connsiteY82" fmla="*/ 229860 h 288636"/>
                <a:gd name="connsiteX83" fmla="*/ 249858 w 314731"/>
                <a:gd name="connsiteY83" fmla="*/ 217666 h 288636"/>
                <a:gd name="connsiteX84" fmla="*/ 269491 w 314731"/>
                <a:gd name="connsiteY84" fmla="*/ 195229 h 288636"/>
                <a:gd name="connsiteX85" fmla="*/ 273759 w 314731"/>
                <a:gd name="connsiteY85" fmla="*/ 178401 h 288636"/>
                <a:gd name="connsiteX86" fmla="*/ 295221 w 314731"/>
                <a:gd name="connsiteY86" fmla="*/ 149622 h 288636"/>
                <a:gd name="connsiteX87" fmla="*/ 309000 w 314731"/>
                <a:gd name="connsiteY87" fmla="*/ 134502 h 288636"/>
                <a:gd name="connsiteX88" fmla="*/ 309000 w 314731"/>
                <a:gd name="connsiteY88" fmla="*/ 120600 h 288636"/>
                <a:gd name="connsiteX89" fmla="*/ 314731 w 314731"/>
                <a:gd name="connsiteY89" fmla="*/ 110601 h 288636"/>
                <a:gd name="connsiteX90" fmla="*/ 314731 w 314731"/>
                <a:gd name="connsiteY90" fmla="*/ 106577 h 288636"/>
                <a:gd name="connsiteX91" fmla="*/ 306317 w 314731"/>
                <a:gd name="connsiteY91" fmla="*/ 106577 h 288636"/>
                <a:gd name="connsiteX92" fmla="*/ 262418 w 314731"/>
                <a:gd name="connsiteY92" fmla="*/ 167913 h 288636"/>
                <a:gd name="connsiteX93" fmla="*/ 247176 w 314731"/>
                <a:gd name="connsiteY93" fmla="*/ 180108 h 288636"/>
                <a:gd name="connsiteX94" fmla="*/ 244737 w 314731"/>
                <a:gd name="connsiteY94" fmla="*/ 186571 h 288636"/>
                <a:gd name="connsiteX95" fmla="*/ 243761 w 314731"/>
                <a:gd name="connsiteY95" fmla="*/ 189253 h 288636"/>
                <a:gd name="connsiteX96" fmla="*/ 241078 w 314731"/>
                <a:gd name="connsiteY96" fmla="*/ 190229 h 288636"/>
                <a:gd name="connsiteX97" fmla="*/ 219861 w 314731"/>
                <a:gd name="connsiteY97" fmla="*/ 197667 h 288636"/>
                <a:gd name="connsiteX98" fmla="*/ 215837 w 314731"/>
                <a:gd name="connsiteY98" fmla="*/ 199009 h 288636"/>
                <a:gd name="connsiteX99" fmla="*/ 213154 w 314731"/>
                <a:gd name="connsiteY99" fmla="*/ 195838 h 288636"/>
                <a:gd name="connsiteX100" fmla="*/ 197546 w 314731"/>
                <a:gd name="connsiteY100" fmla="*/ 177181 h 288636"/>
                <a:gd name="connsiteX101" fmla="*/ 196082 w 314731"/>
                <a:gd name="connsiteY101" fmla="*/ 175474 h 288636"/>
                <a:gd name="connsiteX102" fmla="*/ 196082 w 314731"/>
                <a:gd name="connsiteY102" fmla="*/ 159499 h 288636"/>
                <a:gd name="connsiteX103" fmla="*/ 198033 w 314731"/>
                <a:gd name="connsiteY103" fmla="*/ 157793 h 288636"/>
                <a:gd name="connsiteX104" fmla="*/ 221080 w 314731"/>
                <a:gd name="connsiteY104" fmla="*/ 135721 h 288636"/>
                <a:gd name="connsiteX105" fmla="*/ 223153 w 314731"/>
                <a:gd name="connsiteY105" fmla="*/ 133770 h 288636"/>
                <a:gd name="connsiteX106" fmla="*/ 225958 w 314731"/>
                <a:gd name="connsiteY106" fmla="*/ 133770 h 288636"/>
                <a:gd name="connsiteX107" fmla="*/ 256931 w 314731"/>
                <a:gd name="connsiteY107" fmla="*/ 136819 h 288636"/>
                <a:gd name="connsiteX108" fmla="*/ 261809 w 314731"/>
                <a:gd name="connsiteY108" fmla="*/ 136819 h 288636"/>
                <a:gd name="connsiteX109" fmla="*/ 262418 w 314731"/>
                <a:gd name="connsiteY109" fmla="*/ 141818 h 288636"/>
                <a:gd name="connsiteX110" fmla="*/ 264613 w 314731"/>
                <a:gd name="connsiteY110" fmla="*/ 161573 h 288636"/>
                <a:gd name="connsiteX111" fmla="*/ 264613 w 314731"/>
                <a:gd name="connsiteY111" fmla="*/ 164865 h 28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314731" h="288636">
                  <a:moveTo>
                    <a:pt x="304488" y="104992"/>
                  </a:moveTo>
                  <a:lnTo>
                    <a:pt x="300342" y="117186"/>
                  </a:lnTo>
                  <a:lnTo>
                    <a:pt x="298879" y="121210"/>
                  </a:lnTo>
                  <a:lnTo>
                    <a:pt x="277539" y="121210"/>
                  </a:lnTo>
                  <a:lnTo>
                    <a:pt x="275832" y="118039"/>
                  </a:lnTo>
                  <a:lnTo>
                    <a:pt x="271076" y="109382"/>
                  </a:lnTo>
                  <a:lnTo>
                    <a:pt x="270223" y="107674"/>
                  </a:lnTo>
                  <a:lnTo>
                    <a:pt x="270223" y="105723"/>
                  </a:lnTo>
                  <a:lnTo>
                    <a:pt x="273759" y="75726"/>
                  </a:lnTo>
                  <a:lnTo>
                    <a:pt x="273759" y="71458"/>
                  </a:lnTo>
                  <a:lnTo>
                    <a:pt x="277783" y="70482"/>
                  </a:lnTo>
                  <a:lnTo>
                    <a:pt x="283514" y="69019"/>
                  </a:lnTo>
                  <a:lnTo>
                    <a:pt x="284734" y="69019"/>
                  </a:lnTo>
                  <a:lnTo>
                    <a:pt x="285953" y="69019"/>
                  </a:lnTo>
                  <a:lnTo>
                    <a:pt x="292782" y="70116"/>
                  </a:lnTo>
                  <a:lnTo>
                    <a:pt x="295099" y="53045"/>
                  </a:lnTo>
                  <a:lnTo>
                    <a:pt x="287051" y="6219"/>
                  </a:lnTo>
                  <a:lnTo>
                    <a:pt x="261687" y="0"/>
                  </a:lnTo>
                  <a:lnTo>
                    <a:pt x="257906" y="1951"/>
                  </a:lnTo>
                  <a:lnTo>
                    <a:pt x="252175" y="4878"/>
                  </a:lnTo>
                  <a:lnTo>
                    <a:pt x="250834" y="4878"/>
                  </a:lnTo>
                  <a:lnTo>
                    <a:pt x="237177" y="4878"/>
                  </a:lnTo>
                  <a:lnTo>
                    <a:pt x="237177" y="4878"/>
                  </a:lnTo>
                  <a:lnTo>
                    <a:pt x="216446" y="22925"/>
                  </a:lnTo>
                  <a:lnTo>
                    <a:pt x="211325" y="30607"/>
                  </a:lnTo>
                  <a:lnTo>
                    <a:pt x="210106" y="32314"/>
                  </a:lnTo>
                  <a:lnTo>
                    <a:pt x="208276" y="32924"/>
                  </a:lnTo>
                  <a:lnTo>
                    <a:pt x="203155" y="34753"/>
                  </a:lnTo>
                  <a:lnTo>
                    <a:pt x="190961" y="39021"/>
                  </a:lnTo>
                  <a:lnTo>
                    <a:pt x="188522" y="59995"/>
                  </a:lnTo>
                  <a:lnTo>
                    <a:pt x="188522" y="61946"/>
                  </a:lnTo>
                  <a:lnTo>
                    <a:pt x="187180" y="63410"/>
                  </a:lnTo>
                  <a:lnTo>
                    <a:pt x="179132" y="72189"/>
                  </a:lnTo>
                  <a:lnTo>
                    <a:pt x="174011" y="77799"/>
                  </a:lnTo>
                  <a:lnTo>
                    <a:pt x="172426" y="79628"/>
                  </a:lnTo>
                  <a:lnTo>
                    <a:pt x="169987" y="79628"/>
                  </a:lnTo>
                  <a:lnTo>
                    <a:pt x="154622" y="80969"/>
                  </a:lnTo>
                  <a:lnTo>
                    <a:pt x="152305" y="80969"/>
                  </a:lnTo>
                  <a:lnTo>
                    <a:pt x="150476" y="79750"/>
                  </a:lnTo>
                  <a:lnTo>
                    <a:pt x="142428" y="74018"/>
                  </a:lnTo>
                  <a:lnTo>
                    <a:pt x="135599" y="74872"/>
                  </a:lnTo>
                  <a:lnTo>
                    <a:pt x="134258" y="74872"/>
                  </a:lnTo>
                  <a:lnTo>
                    <a:pt x="118527" y="93407"/>
                  </a:lnTo>
                  <a:lnTo>
                    <a:pt x="111699" y="101333"/>
                  </a:lnTo>
                  <a:lnTo>
                    <a:pt x="109870" y="103529"/>
                  </a:lnTo>
                  <a:lnTo>
                    <a:pt x="86457" y="103529"/>
                  </a:lnTo>
                  <a:lnTo>
                    <a:pt x="85359" y="98651"/>
                  </a:lnTo>
                  <a:lnTo>
                    <a:pt x="78896" y="67312"/>
                  </a:lnTo>
                  <a:lnTo>
                    <a:pt x="74262" y="62312"/>
                  </a:lnTo>
                  <a:lnTo>
                    <a:pt x="73287" y="61215"/>
                  </a:lnTo>
                  <a:lnTo>
                    <a:pt x="70970" y="140477"/>
                  </a:lnTo>
                  <a:lnTo>
                    <a:pt x="70970" y="145110"/>
                  </a:lnTo>
                  <a:lnTo>
                    <a:pt x="66458" y="146208"/>
                  </a:lnTo>
                  <a:lnTo>
                    <a:pt x="45850" y="151451"/>
                  </a:lnTo>
                  <a:lnTo>
                    <a:pt x="44265" y="151451"/>
                  </a:lnTo>
                  <a:lnTo>
                    <a:pt x="42680" y="151451"/>
                  </a:lnTo>
                  <a:lnTo>
                    <a:pt x="29266" y="147427"/>
                  </a:lnTo>
                  <a:lnTo>
                    <a:pt x="28656" y="147427"/>
                  </a:lnTo>
                  <a:lnTo>
                    <a:pt x="28656" y="147427"/>
                  </a:lnTo>
                  <a:lnTo>
                    <a:pt x="19145" y="141940"/>
                  </a:lnTo>
                  <a:lnTo>
                    <a:pt x="18413" y="141940"/>
                  </a:lnTo>
                  <a:lnTo>
                    <a:pt x="17803" y="141940"/>
                  </a:lnTo>
                  <a:lnTo>
                    <a:pt x="13536" y="137672"/>
                  </a:lnTo>
                  <a:lnTo>
                    <a:pt x="9633" y="137672"/>
                  </a:lnTo>
                  <a:lnTo>
                    <a:pt x="1219" y="144989"/>
                  </a:lnTo>
                  <a:lnTo>
                    <a:pt x="0" y="146086"/>
                  </a:lnTo>
                  <a:lnTo>
                    <a:pt x="3049" y="154256"/>
                  </a:lnTo>
                  <a:lnTo>
                    <a:pt x="12804" y="175108"/>
                  </a:lnTo>
                  <a:lnTo>
                    <a:pt x="29998" y="199496"/>
                  </a:lnTo>
                  <a:lnTo>
                    <a:pt x="39997" y="228275"/>
                  </a:lnTo>
                  <a:lnTo>
                    <a:pt x="38534" y="244737"/>
                  </a:lnTo>
                  <a:lnTo>
                    <a:pt x="34388" y="251687"/>
                  </a:lnTo>
                  <a:lnTo>
                    <a:pt x="35607" y="260101"/>
                  </a:lnTo>
                  <a:lnTo>
                    <a:pt x="66824" y="288636"/>
                  </a:lnTo>
                  <a:lnTo>
                    <a:pt x="78043" y="286075"/>
                  </a:lnTo>
                  <a:lnTo>
                    <a:pt x="88042" y="277539"/>
                  </a:lnTo>
                  <a:lnTo>
                    <a:pt x="112430" y="273271"/>
                  </a:lnTo>
                  <a:lnTo>
                    <a:pt x="132550" y="270345"/>
                  </a:lnTo>
                  <a:lnTo>
                    <a:pt x="132550" y="270345"/>
                  </a:lnTo>
                  <a:lnTo>
                    <a:pt x="170230" y="271808"/>
                  </a:lnTo>
                  <a:lnTo>
                    <a:pt x="177059" y="267662"/>
                  </a:lnTo>
                  <a:lnTo>
                    <a:pt x="192546" y="264857"/>
                  </a:lnTo>
                  <a:lnTo>
                    <a:pt x="240103" y="229860"/>
                  </a:lnTo>
                  <a:lnTo>
                    <a:pt x="249858" y="217666"/>
                  </a:lnTo>
                  <a:lnTo>
                    <a:pt x="269491" y="195229"/>
                  </a:lnTo>
                  <a:lnTo>
                    <a:pt x="273759" y="178401"/>
                  </a:lnTo>
                  <a:lnTo>
                    <a:pt x="295221" y="149622"/>
                  </a:lnTo>
                  <a:lnTo>
                    <a:pt x="309000" y="134502"/>
                  </a:lnTo>
                  <a:lnTo>
                    <a:pt x="309000" y="120600"/>
                  </a:lnTo>
                  <a:lnTo>
                    <a:pt x="314731" y="110601"/>
                  </a:lnTo>
                  <a:lnTo>
                    <a:pt x="314731" y="106577"/>
                  </a:lnTo>
                  <a:lnTo>
                    <a:pt x="306317" y="106577"/>
                  </a:lnTo>
                  <a:close/>
                  <a:moveTo>
                    <a:pt x="262418" y="167913"/>
                  </a:moveTo>
                  <a:lnTo>
                    <a:pt x="247176" y="180108"/>
                  </a:lnTo>
                  <a:lnTo>
                    <a:pt x="244737" y="186571"/>
                  </a:lnTo>
                  <a:lnTo>
                    <a:pt x="243761" y="189253"/>
                  </a:lnTo>
                  <a:lnTo>
                    <a:pt x="241078" y="190229"/>
                  </a:lnTo>
                  <a:lnTo>
                    <a:pt x="219861" y="197667"/>
                  </a:lnTo>
                  <a:lnTo>
                    <a:pt x="215837" y="199009"/>
                  </a:lnTo>
                  <a:lnTo>
                    <a:pt x="213154" y="195838"/>
                  </a:lnTo>
                  <a:lnTo>
                    <a:pt x="197546" y="177181"/>
                  </a:lnTo>
                  <a:lnTo>
                    <a:pt x="196082" y="175474"/>
                  </a:lnTo>
                  <a:lnTo>
                    <a:pt x="196082" y="159499"/>
                  </a:lnTo>
                  <a:lnTo>
                    <a:pt x="198033" y="157793"/>
                  </a:lnTo>
                  <a:lnTo>
                    <a:pt x="221080" y="135721"/>
                  </a:lnTo>
                  <a:lnTo>
                    <a:pt x="223153" y="133770"/>
                  </a:lnTo>
                  <a:lnTo>
                    <a:pt x="225958" y="133770"/>
                  </a:lnTo>
                  <a:lnTo>
                    <a:pt x="256931" y="136819"/>
                  </a:lnTo>
                  <a:lnTo>
                    <a:pt x="261809" y="136819"/>
                  </a:lnTo>
                  <a:lnTo>
                    <a:pt x="262418" y="141818"/>
                  </a:lnTo>
                  <a:lnTo>
                    <a:pt x="264613" y="161573"/>
                  </a:lnTo>
                  <a:lnTo>
                    <a:pt x="264613" y="1648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499" name="Freihandform: Form 498">
              <a:extLst>
                <a:ext uri="{FF2B5EF4-FFF2-40B4-BE49-F238E27FC236}">
                  <a16:creationId xmlns:a16="http://schemas.microsoft.com/office/drawing/2014/main" id="{252A9417-E346-4645-9FA6-CF94D51AD784}"/>
                </a:ext>
              </a:extLst>
            </p:cNvPr>
            <p:cNvSpPr/>
            <p:nvPr/>
          </p:nvSpPr>
          <p:spPr>
            <a:xfrm>
              <a:off x="5030988" y="3961056"/>
              <a:ext cx="19144" cy="36338"/>
            </a:xfrm>
            <a:custGeom>
              <a:avLst/>
              <a:gdLst>
                <a:gd name="connsiteX0" fmla="*/ 7438 w 19144"/>
                <a:gd name="connsiteY0" fmla="*/ 0 h 36338"/>
                <a:gd name="connsiteX1" fmla="*/ 3292 w 19144"/>
                <a:gd name="connsiteY1" fmla="*/ 976 h 36338"/>
                <a:gd name="connsiteX2" fmla="*/ 0 w 19144"/>
                <a:gd name="connsiteY2" fmla="*/ 29144 h 36338"/>
                <a:gd name="connsiteX3" fmla="*/ 3902 w 19144"/>
                <a:gd name="connsiteY3" fmla="*/ 36339 h 36338"/>
                <a:gd name="connsiteX4" fmla="*/ 14877 w 19144"/>
                <a:gd name="connsiteY4" fmla="*/ 36339 h 36338"/>
                <a:gd name="connsiteX5" fmla="*/ 19023 w 19144"/>
                <a:gd name="connsiteY5" fmla="*/ 24388 h 36338"/>
                <a:gd name="connsiteX6" fmla="*/ 19145 w 19144"/>
                <a:gd name="connsiteY6" fmla="*/ 23901 h 36338"/>
                <a:gd name="connsiteX7" fmla="*/ 19145 w 19144"/>
                <a:gd name="connsiteY7" fmla="*/ 23291 h 36338"/>
                <a:gd name="connsiteX8" fmla="*/ 17072 w 19144"/>
                <a:gd name="connsiteY8" fmla="*/ 12072 h 36338"/>
                <a:gd name="connsiteX9" fmla="*/ 15121 w 19144"/>
                <a:gd name="connsiteY9" fmla="*/ 1219 h 36338"/>
                <a:gd name="connsiteX10" fmla="*/ 7438 w 19144"/>
                <a:gd name="connsiteY10" fmla="*/ 0 h 3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144" h="36338">
                  <a:moveTo>
                    <a:pt x="7438" y="0"/>
                  </a:moveTo>
                  <a:lnTo>
                    <a:pt x="3292" y="976"/>
                  </a:lnTo>
                  <a:lnTo>
                    <a:pt x="0" y="29144"/>
                  </a:lnTo>
                  <a:lnTo>
                    <a:pt x="3902" y="36339"/>
                  </a:lnTo>
                  <a:lnTo>
                    <a:pt x="14877" y="36339"/>
                  </a:lnTo>
                  <a:lnTo>
                    <a:pt x="19023" y="24388"/>
                  </a:lnTo>
                  <a:lnTo>
                    <a:pt x="19145" y="23901"/>
                  </a:lnTo>
                  <a:lnTo>
                    <a:pt x="19145" y="23291"/>
                  </a:lnTo>
                  <a:lnTo>
                    <a:pt x="17072" y="12072"/>
                  </a:lnTo>
                  <a:lnTo>
                    <a:pt x="15121" y="1219"/>
                  </a:lnTo>
                  <a:lnTo>
                    <a:pt x="743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0" name="Freihandform: Form 499">
              <a:extLst>
                <a:ext uri="{FF2B5EF4-FFF2-40B4-BE49-F238E27FC236}">
                  <a16:creationId xmlns:a16="http://schemas.microsoft.com/office/drawing/2014/main" id="{8C3BFB61-BF4E-4C53-B183-ECDA90589E09}"/>
                </a:ext>
              </a:extLst>
            </p:cNvPr>
            <p:cNvSpPr/>
            <p:nvPr/>
          </p:nvSpPr>
          <p:spPr>
            <a:xfrm>
              <a:off x="5022940" y="3645471"/>
              <a:ext cx="202301" cy="336680"/>
            </a:xfrm>
            <a:custGeom>
              <a:avLst/>
              <a:gdLst>
                <a:gd name="connsiteX0" fmla="*/ 196814 w 202301"/>
                <a:gd name="connsiteY0" fmla="*/ 0 h 336680"/>
                <a:gd name="connsiteX1" fmla="*/ 190716 w 202301"/>
                <a:gd name="connsiteY1" fmla="*/ 2561 h 336680"/>
                <a:gd name="connsiteX2" fmla="*/ 189863 w 202301"/>
                <a:gd name="connsiteY2" fmla="*/ 2805 h 336680"/>
                <a:gd name="connsiteX3" fmla="*/ 185229 w 202301"/>
                <a:gd name="connsiteY3" fmla="*/ 9146 h 336680"/>
                <a:gd name="connsiteX4" fmla="*/ 184254 w 202301"/>
                <a:gd name="connsiteY4" fmla="*/ 10365 h 336680"/>
                <a:gd name="connsiteX5" fmla="*/ 182912 w 202301"/>
                <a:gd name="connsiteY5" fmla="*/ 10975 h 336680"/>
                <a:gd name="connsiteX6" fmla="*/ 171694 w 202301"/>
                <a:gd name="connsiteY6" fmla="*/ 16096 h 336680"/>
                <a:gd name="connsiteX7" fmla="*/ 161938 w 202301"/>
                <a:gd name="connsiteY7" fmla="*/ 24145 h 336680"/>
                <a:gd name="connsiteX8" fmla="*/ 160719 w 202301"/>
                <a:gd name="connsiteY8" fmla="*/ 25120 h 336680"/>
                <a:gd name="connsiteX9" fmla="*/ 159134 w 202301"/>
                <a:gd name="connsiteY9" fmla="*/ 25364 h 336680"/>
                <a:gd name="connsiteX10" fmla="*/ 154256 w 202301"/>
                <a:gd name="connsiteY10" fmla="*/ 26218 h 336680"/>
                <a:gd name="connsiteX11" fmla="*/ 143037 w 202301"/>
                <a:gd name="connsiteY11" fmla="*/ 28047 h 336680"/>
                <a:gd name="connsiteX12" fmla="*/ 132794 w 202301"/>
                <a:gd name="connsiteY12" fmla="*/ 30973 h 336680"/>
                <a:gd name="connsiteX13" fmla="*/ 130477 w 202301"/>
                <a:gd name="connsiteY13" fmla="*/ 31583 h 336680"/>
                <a:gd name="connsiteX14" fmla="*/ 128648 w 202301"/>
                <a:gd name="connsiteY14" fmla="*/ 32071 h 336680"/>
                <a:gd name="connsiteX15" fmla="*/ 126819 w 202301"/>
                <a:gd name="connsiteY15" fmla="*/ 31461 h 336680"/>
                <a:gd name="connsiteX16" fmla="*/ 123893 w 202301"/>
                <a:gd name="connsiteY16" fmla="*/ 30485 h 336680"/>
                <a:gd name="connsiteX17" fmla="*/ 114991 w 202301"/>
                <a:gd name="connsiteY17" fmla="*/ 27315 h 336680"/>
                <a:gd name="connsiteX18" fmla="*/ 105357 w 202301"/>
                <a:gd name="connsiteY18" fmla="*/ 26583 h 336680"/>
                <a:gd name="connsiteX19" fmla="*/ 90725 w 202301"/>
                <a:gd name="connsiteY19" fmla="*/ 25608 h 336680"/>
                <a:gd name="connsiteX20" fmla="*/ 88408 w 202301"/>
                <a:gd name="connsiteY20" fmla="*/ 46582 h 336680"/>
                <a:gd name="connsiteX21" fmla="*/ 99382 w 202301"/>
                <a:gd name="connsiteY21" fmla="*/ 59142 h 336680"/>
                <a:gd name="connsiteX22" fmla="*/ 99992 w 202301"/>
                <a:gd name="connsiteY22" fmla="*/ 59752 h 336680"/>
                <a:gd name="connsiteX23" fmla="*/ 100358 w 202301"/>
                <a:gd name="connsiteY23" fmla="*/ 60605 h 336680"/>
                <a:gd name="connsiteX24" fmla="*/ 102553 w 202301"/>
                <a:gd name="connsiteY24" fmla="*/ 65361 h 336680"/>
                <a:gd name="connsiteX25" fmla="*/ 107552 w 202301"/>
                <a:gd name="connsiteY25" fmla="*/ 75970 h 336680"/>
                <a:gd name="connsiteX26" fmla="*/ 108162 w 202301"/>
                <a:gd name="connsiteY26" fmla="*/ 77189 h 336680"/>
                <a:gd name="connsiteX27" fmla="*/ 108162 w 202301"/>
                <a:gd name="connsiteY27" fmla="*/ 101821 h 336680"/>
                <a:gd name="connsiteX28" fmla="*/ 107308 w 202301"/>
                <a:gd name="connsiteY28" fmla="*/ 103163 h 336680"/>
                <a:gd name="connsiteX29" fmla="*/ 99870 w 202301"/>
                <a:gd name="connsiteY29" fmla="*/ 116454 h 336680"/>
                <a:gd name="connsiteX30" fmla="*/ 102919 w 202301"/>
                <a:gd name="connsiteY30" fmla="*/ 130234 h 336680"/>
                <a:gd name="connsiteX31" fmla="*/ 104016 w 202301"/>
                <a:gd name="connsiteY31" fmla="*/ 135233 h 336680"/>
                <a:gd name="connsiteX32" fmla="*/ 99260 w 202301"/>
                <a:gd name="connsiteY32" fmla="*/ 137184 h 336680"/>
                <a:gd name="connsiteX33" fmla="*/ 97309 w 202301"/>
                <a:gd name="connsiteY33" fmla="*/ 138038 h 336680"/>
                <a:gd name="connsiteX34" fmla="*/ 94139 w 202301"/>
                <a:gd name="connsiteY34" fmla="*/ 139257 h 336680"/>
                <a:gd name="connsiteX35" fmla="*/ 91456 w 202301"/>
                <a:gd name="connsiteY35" fmla="*/ 137306 h 336680"/>
                <a:gd name="connsiteX36" fmla="*/ 79872 w 202301"/>
                <a:gd name="connsiteY36" fmla="*/ 129014 h 336680"/>
                <a:gd name="connsiteX37" fmla="*/ 77798 w 202301"/>
                <a:gd name="connsiteY37" fmla="*/ 127551 h 336680"/>
                <a:gd name="connsiteX38" fmla="*/ 77433 w 202301"/>
                <a:gd name="connsiteY38" fmla="*/ 124990 h 336680"/>
                <a:gd name="connsiteX39" fmla="*/ 77189 w 202301"/>
                <a:gd name="connsiteY39" fmla="*/ 123405 h 336680"/>
                <a:gd name="connsiteX40" fmla="*/ 75726 w 202301"/>
                <a:gd name="connsiteY40" fmla="*/ 113772 h 336680"/>
                <a:gd name="connsiteX41" fmla="*/ 75604 w 202301"/>
                <a:gd name="connsiteY41" fmla="*/ 113284 h 336680"/>
                <a:gd name="connsiteX42" fmla="*/ 75604 w 202301"/>
                <a:gd name="connsiteY42" fmla="*/ 112918 h 336680"/>
                <a:gd name="connsiteX43" fmla="*/ 75604 w 202301"/>
                <a:gd name="connsiteY43" fmla="*/ 97187 h 336680"/>
                <a:gd name="connsiteX44" fmla="*/ 74872 w 202301"/>
                <a:gd name="connsiteY44" fmla="*/ 84384 h 336680"/>
                <a:gd name="connsiteX45" fmla="*/ 74872 w 202301"/>
                <a:gd name="connsiteY45" fmla="*/ 84262 h 336680"/>
                <a:gd name="connsiteX46" fmla="*/ 67434 w 202301"/>
                <a:gd name="connsiteY46" fmla="*/ 83042 h 336680"/>
                <a:gd name="connsiteX47" fmla="*/ 65238 w 202301"/>
                <a:gd name="connsiteY47" fmla="*/ 82676 h 336680"/>
                <a:gd name="connsiteX48" fmla="*/ 63775 w 202301"/>
                <a:gd name="connsiteY48" fmla="*/ 81091 h 336680"/>
                <a:gd name="connsiteX49" fmla="*/ 58654 w 202301"/>
                <a:gd name="connsiteY49" fmla="*/ 75238 h 336680"/>
                <a:gd name="connsiteX50" fmla="*/ 58166 w 202301"/>
                <a:gd name="connsiteY50" fmla="*/ 75238 h 336680"/>
                <a:gd name="connsiteX51" fmla="*/ 52923 w 202301"/>
                <a:gd name="connsiteY51" fmla="*/ 74628 h 336680"/>
                <a:gd name="connsiteX52" fmla="*/ 51947 w 202301"/>
                <a:gd name="connsiteY52" fmla="*/ 74628 h 336680"/>
                <a:gd name="connsiteX53" fmla="*/ 51825 w 202301"/>
                <a:gd name="connsiteY53" fmla="*/ 74628 h 336680"/>
                <a:gd name="connsiteX54" fmla="*/ 37314 w 202301"/>
                <a:gd name="connsiteY54" fmla="*/ 81457 h 336680"/>
                <a:gd name="connsiteX55" fmla="*/ 35851 w 202301"/>
                <a:gd name="connsiteY55" fmla="*/ 82067 h 336680"/>
                <a:gd name="connsiteX56" fmla="*/ 34266 w 202301"/>
                <a:gd name="connsiteY56" fmla="*/ 81945 h 336680"/>
                <a:gd name="connsiteX57" fmla="*/ 24266 w 202301"/>
                <a:gd name="connsiteY57" fmla="*/ 81213 h 336680"/>
                <a:gd name="connsiteX58" fmla="*/ 22925 w 202301"/>
                <a:gd name="connsiteY58" fmla="*/ 81213 h 336680"/>
                <a:gd name="connsiteX59" fmla="*/ 9877 w 202301"/>
                <a:gd name="connsiteY59" fmla="*/ 88896 h 336680"/>
                <a:gd name="connsiteX60" fmla="*/ 9511 w 202301"/>
                <a:gd name="connsiteY60" fmla="*/ 89139 h 336680"/>
                <a:gd name="connsiteX61" fmla="*/ 9024 w 202301"/>
                <a:gd name="connsiteY61" fmla="*/ 89383 h 336680"/>
                <a:gd name="connsiteX62" fmla="*/ 1707 w 202301"/>
                <a:gd name="connsiteY62" fmla="*/ 92310 h 336680"/>
                <a:gd name="connsiteX63" fmla="*/ 0 w 202301"/>
                <a:gd name="connsiteY63" fmla="*/ 100968 h 336680"/>
                <a:gd name="connsiteX64" fmla="*/ 41582 w 202301"/>
                <a:gd name="connsiteY64" fmla="*/ 115723 h 336680"/>
                <a:gd name="connsiteX65" fmla="*/ 43167 w 202301"/>
                <a:gd name="connsiteY65" fmla="*/ 116210 h 336680"/>
                <a:gd name="connsiteX66" fmla="*/ 44264 w 202301"/>
                <a:gd name="connsiteY66" fmla="*/ 117552 h 336680"/>
                <a:gd name="connsiteX67" fmla="*/ 49386 w 202301"/>
                <a:gd name="connsiteY67" fmla="*/ 123893 h 336680"/>
                <a:gd name="connsiteX68" fmla="*/ 51947 w 202301"/>
                <a:gd name="connsiteY68" fmla="*/ 126941 h 336680"/>
                <a:gd name="connsiteX69" fmla="*/ 53166 w 202301"/>
                <a:gd name="connsiteY69" fmla="*/ 128527 h 336680"/>
                <a:gd name="connsiteX70" fmla="*/ 53288 w 202301"/>
                <a:gd name="connsiteY70" fmla="*/ 130478 h 336680"/>
                <a:gd name="connsiteX71" fmla="*/ 55117 w 202301"/>
                <a:gd name="connsiteY71" fmla="*/ 158158 h 336680"/>
                <a:gd name="connsiteX72" fmla="*/ 55240 w 202301"/>
                <a:gd name="connsiteY72" fmla="*/ 160841 h 336680"/>
                <a:gd name="connsiteX73" fmla="*/ 53410 w 202301"/>
                <a:gd name="connsiteY73" fmla="*/ 162792 h 336680"/>
                <a:gd name="connsiteX74" fmla="*/ 52557 w 202301"/>
                <a:gd name="connsiteY74" fmla="*/ 163646 h 336680"/>
                <a:gd name="connsiteX75" fmla="*/ 49508 w 202301"/>
                <a:gd name="connsiteY75" fmla="*/ 166572 h 336680"/>
                <a:gd name="connsiteX76" fmla="*/ 49508 w 202301"/>
                <a:gd name="connsiteY76" fmla="*/ 175962 h 336680"/>
                <a:gd name="connsiteX77" fmla="*/ 57556 w 202301"/>
                <a:gd name="connsiteY77" fmla="*/ 187180 h 336680"/>
                <a:gd name="connsiteX78" fmla="*/ 59507 w 202301"/>
                <a:gd name="connsiteY78" fmla="*/ 189985 h 336680"/>
                <a:gd name="connsiteX79" fmla="*/ 58166 w 202301"/>
                <a:gd name="connsiteY79" fmla="*/ 193156 h 336680"/>
                <a:gd name="connsiteX80" fmla="*/ 56093 w 202301"/>
                <a:gd name="connsiteY80" fmla="*/ 198155 h 336680"/>
                <a:gd name="connsiteX81" fmla="*/ 55361 w 202301"/>
                <a:gd name="connsiteY81" fmla="*/ 199740 h 336680"/>
                <a:gd name="connsiteX82" fmla="*/ 53898 w 202301"/>
                <a:gd name="connsiteY82" fmla="*/ 200716 h 336680"/>
                <a:gd name="connsiteX83" fmla="*/ 46460 w 202301"/>
                <a:gd name="connsiteY83" fmla="*/ 205838 h 336680"/>
                <a:gd name="connsiteX84" fmla="*/ 37924 w 202301"/>
                <a:gd name="connsiteY84" fmla="*/ 211691 h 336680"/>
                <a:gd name="connsiteX85" fmla="*/ 36948 w 202301"/>
                <a:gd name="connsiteY85" fmla="*/ 219251 h 336680"/>
                <a:gd name="connsiteX86" fmla="*/ 35363 w 202301"/>
                <a:gd name="connsiteY86" fmla="*/ 231811 h 336680"/>
                <a:gd name="connsiteX87" fmla="*/ 35119 w 202301"/>
                <a:gd name="connsiteY87" fmla="*/ 234006 h 336680"/>
                <a:gd name="connsiteX88" fmla="*/ 33412 w 202301"/>
                <a:gd name="connsiteY88" fmla="*/ 235591 h 336680"/>
                <a:gd name="connsiteX89" fmla="*/ 25242 w 202301"/>
                <a:gd name="connsiteY89" fmla="*/ 243030 h 336680"/>
                <a:gd name="connsiteX90" fmla="*/ 33290 w 202301"/>
                <a:gd name="connsiteY90" fmla="*/ 290587 h 336680"/>
                <a:gd name="connsiteX91" fmla="*/ 33534 w 202301"/>
                <a:gd name="connsiteY91" fmla="*/ 291562 h 336680"/>
                <a:gd name="connsiteX92" fmla="*/ 33412 w 202301"/>
                <a:gd name="connsiteY92" fmla="*/ 292416 h 336680"/>
                <a:gd name="connsiteX93" fmla="*/ 30851 w 202301"/>
                <a:gd name="connsiteY93" fmla="*/ 311683 h 336680"/>
                <a:gd name="connsiteX94" fmla="*/ 30729 w 202301"/>
                <a:gd name="connsiteY94" fmla="*/ 313268 h 336680"/>
                <a:gd name="connsiteX95" fmla="*/ 30851 w 202301"/>
                <a:gd name="connsiteY95" fmla="*/ 314122 h 336680"/>
                <a:gd name="connsiteX96" fmla="*/ 31461 w 202301"/>
                <a:gd name="connsiteY96" fmla="*/ 317536 h 336680"/>
                <a:gd name="connsiteX97" fmla="*/ 34753 w 202301"/>
                <a:gd name="connsiteY97" fmla="*/ 336071 h 336680"/>
                <a:gd name="connsiteX98" fmla="*/ 40484 w 202301"/>
                <a:gd name="connsiteY98" fmla="*/ 336437 h 336680"/>
                <a:gd name="connsiteX99" fmla="*/ 45606 w 202301"/>
                <a:gd name="connsiteY99" fmla="*/ 336681 h 336680"/>
                <a:gd name="connsiteX100" fmla="*/ 45728 w 202301"/>
                <a:gd name="connsiteY100" fmla="*/ 336681 h 336680"/>
                <a:gd name="connsiteX101" fmla="*/ 45728 w 202301"/>
                <a:gd name="connsiteY101" fmla="*/ 335827 h 336680"/>
                <a:gd name="connsiteX102" fmla="*/ 46216 w 202301"/>
                <a:gd name="connsiteY102" fmla="*/ 331315 h 336680"/>
                <a:gd name="connsiteX103" fmla="*/ 43289 w 202301"/>
                <a:gd name="connsiteY103" fmla="*/ 326560 h 336680"/>
                <a:gd name="connsiteX104" fmla="*/ 41582 w 202301"/>
                <a:gd name="connsiteY104" fmla="*/ 323633 h 336680"/>
                <a:gd name="connsiteX105" fmla="*/ 41582 w 202301"/>
                <a:gd name="connsiteY105" fmla="*/ 323633 h 336680"/>
                <a:gd name="connsiteX106" fmla="*/ 52801 w 202301"/>
                <a:gd name="connsiteY106" fmla="*/ 307781 h 336680"/>
                <a:gd name="connsiteX107" fmla="*/ 90603 w 202301"/>
                <a:gd name="connsiteY107" fmla="*/ 296562 h 336680"/>
                <a:gd name="connsiteX108" fmla="*/ 97309 w 202301"/>
                <a:gd name="connsiteY108" fmla="*/ 271076 h 336680"/>
                <a:gd name="connsiteX109" fmla="*/ 94505 w 202301"/>
                <a:gd name="connsiteY109" fmla="*/ 232055 h 336680"/>
                <a:gd name="connsiteX110" fmla="*/ 83164 w 202301"/>
                <a:gd name="connsiteY110" fmla="*/ 197911 h 336680"/>
                <a:gd name="connsiteX111" fmla="*/ 83164 w 202301"/>
                <a:gd name="connsiteY111" fmla="*/ 183766 h 336680"/>
                <a:gd name="connsiteX112" fmla="*/ 104260 w 202301"/>
                <a:gd name="connsiteY112" fmla="*/ 168767 h 336680"/>
                <a:gd name="connsiteX113" fmla="*/ 112308 w 202301"/>
                <a:gd name="connsiteY113" fmla="*/ 165109 h 336680"/>
                <a:gd name="connsiteX114" fmla="*/ 122185 w 202301"/>
                <a:gd name="connsiteY114" fmla="*/ 153525 h 336680"/>
                <a:gd name="connsiteX115" fmla="*/ 140964 w 202301"/>
                <a:gd name="connsiteY115" fmla="*/ 137550 h 336680"/>
                <a:gd name="connsiteX116" fmla="*/ 174742 w 202301"/>
                <a:gd name="connsiteY116" fmla="*/ 126332 h 336680"/>
                <a:gd name="connsiteX117" fmla="*/ 200838 w 202301"/>
                <a:gd name="connsiteY117" fmla="*/ 91944 h 336680"/>
                <a:gd name="connsiteX118" fmla="*/ 202301 w 202301"/>
                <a:gd name="connsiteY118" fmla="*/ 50362 h 336680"/>
                <a:gd name="connsiteX119" fmla="*/ 198033 w 202301"/>
                <a:gd name="connsiteY119" fmla="*/ 30364 h 336680"/>
                <a:gd name="connsiteX120" fmla="*/ 196814 w 202301"/>
                <a:gd name="connsiteY120" fmla="*/ 0 h 33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02301" h="336680">
                  <a:moveTo>
                    <a:pt x="196814" y="0"/>
                  </a:moveTo>
                  <a:lnTo>
                    <a:pt x="190716" y="2561"/>
                  </a:lnTo>
                  <a:lnTo>
                    <a:pt x="189863" y="2805"/>
                  </a:lnTo>
                  <a:lnTo>
                    <a:pt x="185229" y="9146"/>
                  </a:lnTo>
                  <a:lnTo>
                    <a:pt x="184254" y="10365"/>
                  </a:lnTo>
                  <a:lnTo>
                    <a:pt x="182912" y="10975"/>
                  </a:lnTo>
                  <a:lnTo>
                    <a:pt x="171694" y="16096"/>
                  </a:lnTo>
                  <a:lnTo>
                    <a:pt x="161938" y="24145"/>
                  </a:lnTo>
                  <a:lnTo>
                    <a:pt x="160719" y="25120"/>
                  </a:lnTo>
                  <a:lnTo>
                    <a:pt x="159134" y="25364"/>
                  </a:lnTo>
                  <a:lnTo>
                    <a:pt x="154256" y="26218"/>
                  </a:lnTo>
                  <a:lnTo>
                    <a:pt x="143037" y="28047"/>
                  </a:lnTo>
                  <a:lnTo>
                    <a:pt x="132794" y="30973"/>
                  </a:lnTo>
                  <a:lnTo>
                    <a:pt x="130477" y="31583"/>
                  </a:lnTo>
                  <a:lnTo>
                    <a:pt x="128648" y="32071"/>
                  </a:lnTo>
                  <a:lnTo>
                    <a:pt x="126819" y="31461"/>
                  </a:lnTo>
                  <a:lnTo>
                    <a:pt x="123893" y="30485"/>
                  </a:lnTo>
                  <a:lnTo>
                    <a:pt x="114991" y="27315"/>
                  </a:lnTo>
                  <a:lnTo>
                    <a:pt x="105357" y="26583"/>
                  </a:lnTo>
                  <a:lnTo>
                    <a:pt x="90725" y="25608"/>
                  </a:lnTo>
                  <a:lnTo>
                    <a:pt x="88408" y="46582"/>
                  </a:lnTo>
                  <a:lnTo>
                    <a:pt x="99382" y="59142"/>
                  </a:lnTo>
                  <a:lnTo>
                    <a:pt x="99992" y="59752"/>
                  </a:lnTo>
                  <a:lnTo>
                    <a:pt x="100358" y="60605"/>
                  </a:lnTo>
                  <a:lnTo>
                    <a:pt x="102553" y="65361"/>
                  </a:lnTo>
                  <a:lnTo>
                    <a:pt x="107552" y="75970"/>
                  </a:lnTo>
                  <a:lnTo>
                    <a:pt x="108162" y="77189"/>
                  </a:lnTo>
                  <a:lnTo>
                    <a:pt x="108162" y="101821"/>
                  </a:lnTo>
                  <a:lnTo>
                    <a:pt x="107308" y="103163"/>
                  </a:lnTo>
                  <a:lnTo>
                    <a:pt x="99870" y="116454"/>
                  </a:lnTo>
                  <a:lnTo>
                    <a:pt x="102919" y="130234"/>
                  </a:lnTo>
                  <a:lnTo>
                    <a:pt x="104016" y="135233"/>
                  </a:lnTo>
                  <a:lnTo>
                    <a:pt x="99260" y="137184"/>
                  </a:lnTo>
                  <a:lnTo>
                    <a:pt x="97309" y="138038"/>
                  </a:lnTo>
                  <a:lnTo>
                    <a:pt x="94139" y="139257"/>
                  </a:lnTo>
                  <a:lnTo>
                    <a:pt x="91456" y="137306"/>
                  </a:lnTo>
                  <a:lnTo>
                    <a:pt x="79872" y="129014"/>
                  </a:lnTo>
                  <a:lnTo>
                    <a:pt x="77798" y="127551"/>
                  </a:lnTo>
                  <a:lnTo>
                    <a:pt x="77433" y="124990"/>
                  </a:lnTo>
                  <a:lnTo>
                    <a:pt x="77189" y="123405"/>
                  </a:lnTo>
                  <a:lnTo>
                    <a:pt x="75726" y="113772"/>
                  </a:lnTo>
                  <a:lnTo>
                    <a:pt x="75604" y="113284"/>
                  </a:lnTo>
                  <a:lnTo>
                    <a:pt x="75604" y="112918"/>
                  </a:lnTo>
                  <a:lnTo>
                    <a:pt x="75604" y="97187"/>
                  </a:lnTo>
                  <a:lnTo>
                    <a:pt x="74872" y="84384"/>
                  </a:lnTo>
                  <a:lnTo>
                    <a:pt x="74872" y="84262"/>
                  </a:lnTo>
                  <a:lnTo>
                    <a:pt x="67434" y="83042"/>
                  </a:lnTo>
                  <a:lnTo>
                    <a:pt x="65238" y="82676"/>
                  </a:lnTo>
                  <a:lnTo>
                    <a:pt x="63775" y="81091"/>
                  </a:lnTo>
                  <a:lnTo>
                    <a:pt x="58654" y="75238"/>
                  </a:lnTo>
                  <a:lnTo>
                    <a:pt x="58166" y="75238"/>
                  </a:lnTo>
                  <a:lnTo>
                    <a:pt x="52923" y="74628"/>
                  </a:lnTo>
                  <a:lnTo>
                    <a:pt x="51947" y="74628"/>
                  </a:lnTo>
                  <a:lnTo>
                    <a:pt x="51825" y="74628"/>
                  </a:lnTo>
                  <a:lnTo>
                    <a:pt x="37314" y="81457"/>
                  </a:lnTo>
                  <a:lnTo>
                    <a:pt x="35851" y="82067"/>
                  </a:lnTo>
                  <a:lnTo>
                    <a:pt x="34266" y="81945"/>
                  </a:lnTo>
                  <a:lnTo>
                    <a:pt x="24266" y="81213"/>
                  </a:lnTo>
                  <a:lnTo>
                    <a:pt x="22925" y="81213"/>
                  </a:lnTo>
                  <a:lnTo>
                    <a:pt x="9877" y="88896"/>
                  </a:lnTo>
                  <a:lnTo>
                    <a:pt x="9511" y="89139"/>
                  </a:lnTo>
                  <a:lnTo>
                    <a:pt x="9024" y="89383"/>
                  </a:lnTo>
                  <a:lnTo>
                    <a:pt x="1707" y="92310"/>
                  </a:lnTo>
                  <a:lnTo>
                    <a:pt x="0" y="100968"/>
                  </a:lnTo>
                  <a:lnTo>
                    <a:pt x="41582" y="115723"/>
                  </a:lnTo>
                  <a:lnTo>
                    <a:pt x="43167" y="116210"/>
                  </a:lnTo>
                  <a:lnTo>
                    <a:pt x="44264" y="117552"/>
                  </a:lnTo>
                  <a:lnTo>
                    <a:pt x="49386" y="123893"/>
                  </a:lnTo>
                  <a:lnTo>
                    <a:pt x="51947" y="126941"/>
                  </a:lnTo>
                  <a:lnTo>
                    <a:pt x="53166" y="128527"/>
                  </a:lnTo>
                  <a:lnTo>
                    <a:pt x="53288" y="130478"/>
                  </a:lnTo>
                  <a:lnTo>
                    <a:pt x="55117" y="158158"/>
                  </a:lnTo>
                  <a:lnTo>
                    <a:pt x="55240" y="160841"/>
                  </a:lnTo>
                  <a:lnTo>
                    <a:pt x="53410" y="162792"/>
                  </a:lnTo>
                  <a:lnTo>
                    <a:pt x="52557" y="163646"/>
                  </a:lnTo>
                  <a:lnTo>
                    <a:pt x="49508" y="166572"/>
                  </a:lnTo>
                  <a:lnTo>
                    <a:pt x="49508" y="175962"/>
                  </a:lnTo>
                  <a:lnTo>
                    <a:pt x="57556" y="187180"/>
                  </a:lnTo>
                  <a:lnTo>
                    <a:pt x="59507" y="189985"/>
                  </a:lnTo>
                  <a:lnTo>
                    <a:pt x="58166" y="193156"/>
                  </a:lnTo>
                  <a:lnTo>
                    <a:pt x="56093" y="198155"/>
                  </a:lnTo>
                  <a:lnTo>
                    <a:pt x="55361" y="199740"/>
                  </a:lnTo>
                  <a:lnTo>
                    <a:pt x="53898" y="200716"/>
                  </a:lnTo>
                  <a:lnTo>
                    <a:pt x="46460" y="205838"/>
                  </a:lnTo>
                  <a:lnTo>
                    <a:pt x="37924" y="211691"/>
                  </a:lnTo>
                  <a:lnTo>
                    <a:pt x="36948" y="219251"/>
                  </a:lnTo>
                  <a:lnTo>
                    <a:pt x="35363" y="231811"/>
                  </a:lnTo>
                  <a:lnTo>
                    <a:pt x="35119" y="234006"/>
                  </a:lnTo>
                  <a:lnTo>
                    <a:pt x="33412" y="235591"/>
                  </a:lnTo>
                  <a:lnTo>
                    <a:pt x="25242" y="243030"/>
                  </a:lnTo>
                  <a:lnTo>
                    <a:pt x="33290" y="290587"/>
                  </a:lnTo>
                  <a:lnTo>
                    <a:pt x="33534" y="291562"/>
                  </a:lnTo>
                  <a:lnTo>
                    <a:pt x="33412" y="292416"/>
                  </a:lnTo>
                  <a:lnTo>
                    <a:pt x="30851" y="311683"/>
                  </a:lnTo>
                  <a:lnTo>
                    <a:pt x="30729" y="313268"/>
                  </a:lnTo>
                  <a:lnTo>
                    <a:pt x="30851" y="314122"/>
                  </a:lnTo>
                  <a:lnTo>
                    <a:pt x="31461" y="317536"/>
                  </a:lnTo>
                  <a:lnTo>
                    <a:pt x="34753" y="336071"/>
                  </a:lnTo>
                  <a:lnTo>
                    <a:pt x="40484" y="336437"/>
                  </a:lnTo>
                  <a:lnTo>
                    <a:pt x="45606" y="336681"/>
                  </a:lnTo>
                  <a:lnTo>
                    <a:pt x="45728" y="336681"/>
                  </a:lnTo>
                  <a:lnTo>
                    <a:pt x="45728" y="335827"/>
                  </a:lnTo>
                  <a:lnTo>
                    <a:pt x="46216" y="331315"/>
                  </a:lnTo>
                  <a:lnTo>
                    <a:pt x="43289" y="326560"/>
                  </a:lnTo>
                  <a:lnTo>
                    <a:pt x="41582" y="323633"/>
                  </a:lnTo>
                  <a:lnTo>
                    <a:pt x="41582" y="323633"/>
                  </a:lnTo>
                  <a:lnTo>
                    <a:pt x="52801" y="307781"/>
                  </a:lnTo>
                  <a:lnTo>
                    <a:pt x="90603" y="296562"/>
                  </a:lnTo>
                  <a:lnTo>
                    <a:pt x="97309" y="271076"/>
                  </a:lnTo>
                  <a:lnTo>
                    <a:pt x="94505" y="232055"/>
                  </a:lnTo>
                  <a:lnTo>
                    <a:pt x="83164" y="197911"/>
                  </a:lnTo>
                  <a:lnTo>
                    <a:pt x="83164" y="183766"/>
                  </a:lnTo>
                  <a:lnTo>
                    <a:pt x="104260" y="168767"/>
                  </a:lnTo>
                  <a:lnTo>
                    <a:pt x="112308" y="165109"/>
                  </a:lnTo>
                  <a:lnTo>
                    <a:pt x="122185" y="153525"/>
                  </a:lnTo>
                  <a:lnTo>
                    <a:pt x="140964" y="137550"/>
                  </a:lnTo>
                  <a:lnTo>
                    <a:pt x="174742" y="126332"/>
                  </a:lnTo>
                  <a:lnTo>
                    <a:pt x="200838" y="91944"/>
                  </a:lnTo>
                  <a:lnTo>
                    <a:pt x="202301" y="50362"/>
                  </a:lnTo>
                  <a:lnTo>
                    <a:pt x="198033" y="30364"/>
                  </a:lnTo>
                  <a:lnTo>
                    <a:pt x="19681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1" name="Freihandform: Form 500">
              <a:extLst>
                <a:ext uri="{FF2B5EF4-FFF2-40B4-BE49-F238E27FC236}">
                  <a16:creationId xmlns:a16="http://schemas.microsoft.com/office/drawing/2014/main" id="{87E57A13-2F9E-4F88-B621-31EC507D8616}"/>
                </a:ext>
              </a:extLst>
            </p:cNvPr>
            <p:cNvSpPr/>
            <p:nvPr/>
          </p:nvSpPr>
          <p:spPr>
            <a:xfrm>
              <a:off x="4606997" y="3397076"/>
              <a:ext cx="102674" cy="126575"/>
            </a:xfrm>
            <a:custGeom>
              <a:avLst/>
              <a:gdLst>
                <a:gd name="connsiteX0" fmla="*/ 46338 w 102674"/>
                <a:gd name="connsiteY0" fmla="*/ 104626 h 126575"/>
                <a:gd name="connsiteX1" fmla="*/ 45240 w 102674"/>
                <a:gd name="connsiteY1" fmla="*/ 103529 h 126575"/>
                <a:gd name="connsiteX2" fmla="*/ 44753 w 102674"/>
                <a:gd name="connsiteY2" fmla="*/ 102065 h 126575"/>
                <a:gd name="connsiteX3" fmla="*/ 43289 w 102674"/>
                <a:gd name="connsiteY3" fmla="*/ 96822 h 126575"/>
                <a:gd name="connsiteX4" fmla="*/ 39875 w 102674"/>
                <a:gd name="connsiteY4" fmla="*/ 84871 h 126575"/>
                <a:gd name="connsiteX5" fmla="*/ 50728 w 102674"/>
                <a:gd name="connsiteY5" fmla="*/ 89261 h 126575"/>
                <a:gd name="connsiteX6" fmla="*/ 53410 w 102674"/>
                <a:gd name="connsiteY6" fmla="*/ 82189 h 126575"/>
                <a:gd name="connsiteX7" fmla="*/ 54386 w 102674"/>
                <a:gd name="connsiteY7" fmla="*/ 76092 h 126575"/>
                <a:gd name="connsiteX8" fmla="*/ 55484 w 102674"/>
                <a:gd name="connsiteY8" fmla="*/ 69873 h 126575"/>
                <a:gd name="connsiteX9" fmla="*/ 61581 w 102674"/>
                <a:gd name="connsiteY9" fmla="*/ 71092 h 126575"/>
                <a:gd name="connsiteX10" fmla="*/ 62434 w 102674"/>
                <a:gd name="connsiteY10" fmla="*/ 71336 h 126575"/>
                <a:gd name="connsiteX11" fmla="*/ 72799 w 102674"/>
                <a:gd name="connsiteY11" fmla="*/ 73287 h 126575"/>
                <a:gd name="connsiteX12" fmla="*/ 75238 w 102674"/>
                <a:gd name="connsiteY12" fmla="*/ 73897 h 126575"/>
                <a:gd name="connsiteX13" fmla="*/ 76701 w 102674"/>
                <a:gd name="connsiteY13" fmla="*/ 75970 h 126575"/>
                <a:gd name="connsiteX14" fmla="*/ 84140 w 102674"/>
                <a:gd name="connsiteY14" fmla="*/ 87188 h 126575"/>
                <a:gd name="connsiteX15" fmla="*/ 92554 w 102674"/>
                <a:gd name="connsiteY15" fmla="*/ 92188 h 126575"/>
                <a:gd name="connsiteX16" fmla="*/ 96700 w 102674"/>
                <a:gd name="connsiteY16" fmla="*/ 64751 h 126575"/>
                <a:gd name="connsiteX17" fmla="*/ 95358 w 102674"/>
                <a:gd name="connsiteY17" fmla="*/ 64507 h 126575"/>
                <a:gd name="connsiteX18" fmla="*/ 93164 w 102674"/>
                <a:gd name="connsiteY18" fmla="*/ 63897 h 126575"/>
                <a:gd name="connsiteX19" fmla="*/ 91944 w 102674"/>
                <a:gd name="connsiteY19" fmla="*/ 62190 h 126575"/>
                <a:gd name="connsiteX20" fmla="*/ 90847 w 102674"/>
                <a:gd name="connsiteY20" fmla="*/ 60727 h 126575"/>
                <a:gd name="connsiteX21" fmla="*/ 88773 w 102674"/>
                <a:gd name="connsiteY21" fmla="*/ 58044 h 126575"/>
                <a:gd name="connsiteX22" fmla="*/ 86944 w 102674"/>
                <a:gd name="connsiteY22" fmla="*/ 55483 h 126575"/>
                <a:gd name="connsiteX23" fmla="*/ 87920 w 102674"/>
                <a:gd name="connsiteY23" fmla="*/ 52435 h 126575"/>
                <a:gd name="connsiteX24" fmla="*/ 90725 w 102674"/>
                <a:gd name="connsiteY24" fmla="*/ 43899 h 126575"/>
                <a:gd name="connsiteX25" fmla="*/ 91578 w 102674"/>
                <a:gd name="connsiteY25" fmla="*/ 41338 h 126575"/>
                <a:gd name="connsiteX26" fmla="*/ 92188 w 102674"/>
                <a:gd name="connsiteY26" fmla="*/ 39509 h 126575"/>
                <a:gd name="connsiteX27" fmla="*/ 93651 w 102674"/>
                <a:gd name="connsiteY27" fmla="*/ 38412 h 126575"/>
                <a:gd name="connsiteX28" fmla="*/ 102675 w 102674"/>
                <a:gd name="connsiteY28" fmla="*/ 31705 h 126575"/>
                <a:gd name="connsiteX29" fmla="*/ 102431 w 102674"/>
                <a:gd name="connsiteY29" fmla="*/ 29998 h 126575"/>
                <a:gd name="connsiteX30" fmla="*/ 101333 w 102674"/>
                <a:gd name="connsiteY30" fmla="*/ 21462 h 126575"/>
                <a:gd name="connsiteX31" fmla="*/ 100724 w 102674"/>
                <a:gd name="connsiteY31" fmla="*/ 21096 h 126575"/>
                <a:gd name="connsiteX32" fmla="*/ 95968 w 102674"/>
                <a:gd name="connsiteY32" fmla="*/ 23169 h 126575"/>
                <a:gd name="connsiteX33" fmla="*/ 88896 w 102674"/>
                <a:gd name="connsiteY33" fmla="*/ 26217 h 126575"/>
                <a:gd name="connsiteX34" fmla="*/ 85481 w 102674"/>
                <a:gd name="connsiteY34" fmla="*/ 27681 h 126575"/>
                <a:gd name="connsiteX35" fmla="*/ 82676 w 102674"/>
                <a:gd name="connsiteY35" fmla="*/ 25486 h 126575"/>
                <a:gd name="connsiteX36" fmla="*/ 67800 w 102674"/>
                <a:gd name="connsiteY36" fmla="*/ 13901 h 126575"/>
                <a:gd name="connsiteX37" fmla="*/ 64385 w 102674"/>
                <a:gd name="connsiteY37" fmla="*/ 11219 h 126575"/>
                <a:gd name="connsiteX38" fmla="*/ 65848 w 102674"/>
                <a:gd name="connsiteY38" fmla="*/ 7195 h 126575"/>
                <a:gd name="connsiteX39" fmla="*/ 68165 w 102674"/>
                <a:gd name="connsiteY39" fmla="*/ 0 h 126575"/>
                <a:gd name="connsiteX40" fmla="*/ 48289 w 102674"/>
                <a:gd name="connsiteY40" fmla="*/ 366 h 126575"/>
                <a:gd name="connsiteX41" fmla="*/ 48655 w 102674"/>
                <a:gd name="connsiteY41" fmla="*/ 11463 h 126575"/>
                <a:gd name="connsiteX42" fmla="*/ 48899 w 102674"/>
                <a:gd name="connsiteY42" fmla="*/ 17682 h 126575"/>
                <a:gd name="connsiteX43" fmla="*/ 42680 w 102674"/>
                <a:gd name="connsiteY43" fmla="*/ 17682 h 126575"/>
                <a:gd name="connsiteX44" fmla="*/ 11463 w 102674"/>
                <a:gd name="connsiteY44" fmla="*/ 18047 h 126575"/>
                <a:gd name="connsiteX45" fmla="*/ 9999 w 102674"/>
                <a:gd name="connsiteY45" fmla="*/ 18047 h 126575"/>
                <a:gd name="connsiteX46" fmla="*/ 8414 w 102674"/>
                <a:gd name="connsiteY46" fmla="*/ 25120 h 126575"/>
                <a:gd name="connsiteX47" fmla="*/ 9756 w 102674"/>
                <a:gd name="connsiteY47" fmla="*/ 36582 h 126575"/>
                <a:gd name="connsiteX48" fmla="*/ 0 w 102674"/>
                <a:gd name="connsiteY48" fmla="*/ 60239 h 126575"/>
                <a:gd name="connsiteX49" fmla="*/ 4390 w 102674"/>
                <a:gd name="connsiteY49" fmla="*/ 68043 h 126575"/>
                <a:gd name="connsiteX50" fmla="*/ 12194 w 102674"/>
                <a:gd name="connsiteY50" fmla="*/ 81823 h 126575"/>
                <a:gd name="connsiteX51" fmla="*/ 27803 w 102674"/>
                <a:gd name="connsiteY51" fmla="*/ 97553 h 126575"/>
                <a:gd name="connsiteX52" fmla="*/ 33534 w 102674"/>
                <a:gd name="connsiteY52" fmla="*/ 106211 h 126575"/>
                <a:gd name="connsiteX53" fmla="*/ 46826 w 102674"/>
                <a:gd name="connsiteY53" fmla="*/ 126575 h 126575"/>
                <a:gd name="connsiteX54" fmla="*/ 58532 w 102674"/>
                <a:gd name="connsiteY54" fmla="*/ 117186 h 126575"/>
                <a:gd name="connsiteX55" fmla="*/ 46338 w 102674"/>
                <a:gd name="connsiteY55" fmla="*/ 104626 h 12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2674" h="126575">
                  <a:moveTo>
                    <a:pt x="46338" y="104626"/>
                  </a:moveTo>
                  <a:lnTo>
                    <a:pt x="45240" y="103529"/>
                  </a:lnTo>
                  <a:lnTo>
                    <a:pt x="44753" y="102065"/>
                  </a:lnTo>
                  <a:lnTo>
                    <a:pt x="43289" y="96822"/>
                  </a:lnTo>
                  <a:lnTo>
                    <a:pt x="39875" y="84871"/>
                  </a:lnTo>
                  <a:lnTo>
                    <a:pt x="50728" y="89261"/>
                  </a:lnTo>
                  <a:lnTo>
                    <a:pt x="53410" y="82189"/>
                  </a:lnTo>
                  <a:lnTo>
                    <a:pt x="54386" y="76092"/>
                  </a:lnTo>
                  <a:lnTo>
                    <a:pt x="55484" y="69873"/>
                  </a:lnTo>
                  <a:lnTo>
                    <a:pt x="61581" y="71092"/>
                  </a:lnTo>
                  <a:lnTo>
                    <a:pt x="62434" y="71336"/>
                  </a:lnTo>
                  <a:lnTo>
                    <a:pt x="72799" y="73287"/>
                  </a:lnTo>
                  <a:lnTo>
                    <a:pt x="75238" y="73897"/>
                  </a:lnTo>
                  <a:lnTo>
                    <a:pt x="76701" y="75970"/>
                  </a:lnTo>
                  <a:lnTo>
                    <a:pt x="84140" y="87188"/>
                  </a:lnTo>
                  <a:lnTo>
                    <a:pt x="92554" y="92188"/>
                  </a:lnTo>
                  <a:lnTo>
                    <a:pt x="96700" y="64751"/>
                  </a:lnTo>
                  <a:lnTo>
                    <a:pt x="95358" y="64507"/>
                  </a:lnTo>
                  <a:lnTo>
                    <a:pt x="93164" y="63897"/>
                  </a:lnTo>
                  <a:lnTo>
                    <a:pt x="91944" y="62190"/>
                  </a:lnTo>
                  <a:lnTo>
                    <a:pt x="90847" y="60727"/>
                  </a:lnTo>
                  <a:lnTo>
                    <a:pt x="88773" y="58044"/>
                  </a:lnTo>
                  <a:lnTo>
                    <a:pt x="86944" y="55483"/>
                  </a:lnTo>
                  <a:lnTo>
                    <a:pt x="87920" y="52435"/>
                  </a:lnTo>
                  <a:lnTo>
                    <a:pt x="90725" y="43899"/>
                  </a:lnTo>
                  <a:lnTo>
                    <a:pt x="91578" y="41338"/>
                  </a:lnTo>
                  <a:lnTo>
                    <a:pt x="92188" y="39509"/>
                  </a:lnTo>
                  <a:lnTo>
                    <a:pt x="93651" y="38412"/>
                  </a:lnTo>
                  <a:lnTo>
                    <a:pt x="102675" y="31705"/>
                  </a:lnTo>
                  <a:lnTo>
                    <a:pt x="102431" y="29998"/>
                  </a:lnTo>
                  <a:lnTo>
                    <a:pt x="101333" y="21462"/>
                  </a:lnTo>
                  <a:lnTo>
                    <a:pt x="100724" y="21096"/>
                  </a:lnTo>
                  <a:lnTo>
                    <a:pt x="95968" y="23169"/>
                  </a:lnTo>
                  <a:lnTo>
                    <a:pt x="88896" y="26217"/>
                  </a:lnTo>
                  <a:lnTo>
                    <a:pt x="85481" y="27681"/>
                  </a:lnTo>
                  <a:lnTo>
                    <a:pt x="82676" y="25486"/>
                  </a:lnTo>
                  <a:lnTo>
                    <a:pt x="67800" y="13901"/>
                  </a:lnTo>
                  <a:lnTo>
                    <a:pt x="64385" y="11219"/>
                  </a:lnTo>
                  <a:lnTo>
                    <a:pt x="65848" y="7195"/>
                  </a:lnTo>
                  <a:lnTo>
                    <a:pt x="68165" y="0"/>
                  </a:lnTo>
                  <a:lnTo>
                    <a:pt x="48289" y="366"/>
                  </a:lnTo>
                  <a:lnTo>
                    <a:pt x="48655" y="11463"/>
                  </a:lnTo>
                  <a:lnTo>
                    <a:pt x="48899" y="17682"/>
                  </a:lnTo>
                  <a:lnTo>
                    <a:pt x="42680" y="17682"/>
                  </a:lnTo>
                  <a:lnTo>
                    <a:pt x="11463" y="18047"/>
                  </a:lnTo>
                  <a:lnTo>
                    <a:pt x="9999" y="18047"/>
                  </a:lnTo>
                  <a:lnTo>
                    <a:pt x="8414" y="25120"/>
                  </a:lnTo>
                  <a:lnTo>
                    <a:pt x="9756" y="36582"/>
                  </a:lnTo>
                  <a:lnTo>
                    <a:pt x="0" y="60239"/>
                  </a:lnTo>
                  <a:lnTo>
                    <a:pt x="4390" y="68043"/>
                  </a:lnTo>
                  <a:lnTo>
                    <a:pt x="12194" y="81823"/>
                  </a:lnTo>
                  <a:lnTo>
                    <a:pt x="27803" y="97553"/>
                  </a:lnTo>
                  <a:lnTo>
                    <a:pt x="33534" y="106211"/>
                  </a:lnTo>
                  <a:lnTo>
                    <a:pt x="46826" y="126575"/>
                  </a:lnTo>
                  <a:lnTo>
                    <a:pt x="58532" y="117186"/>
                  </a:lnTo>
                  <a:lnTo>
                    <a:pt x="46338" y="1046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2" name="Freihandform: Form 501">
              <a:extLst>
                <a:ext uri="{FF2B5EF4-FFF2-40B4-BE49-F238E27FC236}">
                  <a16:creationId xmlns:a16="http://schemas.microsoft.com/office/drawing/2014/main" id="{A558FBC5-75D8-407A-8BA0-264187823C5D}"/>
                </a:ext>
              </a:extLst>
            </p:cNvPr>
            <p:cNvSpPr/>
            <p:nvPr/>
          </p:nvSpPr>
          <p:spPr>
            <a:xfrm>
              <a:off x="4660651" y="3561209"/>
              <a:ext cx="241078" cy="232908"/>
            </a:xfrm>
            <a:custGeom>
              <a:avLst/>
              <a:gdLst>
                <a:gd name="connsiteX0" fmla="*/ 13536 w 241078"/>
                <a:gd name="connsiteY0" fmla="*/ 214129 h 232908"/>
                <a:gd name="connsiteX1" fmla="*/ 37924 w 241078"/>
                <a:gd name="connsiteY1" fmla="*/ 214129 h 232908"/>
                <a:gd name="connsiteX2" fmla="*/ 39631 w 241078"/>
                <a:gd name="connsiteY2" fmla="*/ 215837 h 232908"/>
                <a:gd name="connsiteX3" fmla="*/ 41826 w 241078"/>
                <a:gd name="connsiteY3" fmla="*/ 218032 h 232908"/>
                <a:gd name="connsiteX4" fmla="*/ 45728 w 241078"/>
                <a:gd name="connsiteY4" fmla="*/ 221934 h 232908"/>
                <a:gd name="connsiteX5" fmla="*/ 48899 w 241078"/>
                <a:gd name="connsiteY5" fmla="*/ 220836 h 232908"/>
                <a:gd name="connsiteX6" fmla="*/ 63776 w 241078"/>
                <a:gd name="connsiteY6" fmla="*/ 215349 h 232908"/>
                <a:gd name="connsiteX7" fmla="*/ 64873 w 241078"/>
                <a:gd name="connsiteY7" fmla="*/ 214983 h 232908"/>
                <a:gd name="connsiteX8" fmla="*/ 65970 w 241078"/>
                <a:gd name="connsiteY8" fmla="*/ 214983 h 232908"/>
                <a:gd name="connsiteX9" fmla="*/ 119137 w 241078"/>
                <a:gd name="connsiteY9" fmla="*/ 215837 h 232908"/>
                <a:gd name="connsiteX10" fmla="*/ 124624 w 241078"/>
                <a:gd name="connsiteY10" fmla="*/ 215959 h 232908"/>
                <a:gd name="connsiteX11" fmla="*/ 126332 w 241078"/>
                <a:gd name="connsiteY11" fmla="*/ 215959 h 232908"/>
                <a:gd name="connsiteX12" fmla="*/ 127795 w 241078"/>
                <a:gd name="connsiteY12" fmla="*/ 216934 h 232908"/>
                <a:gd name="connsiteX13" fmla="*/ 131209 w 241078"/>
                <a:gd name="connsiteY13" fmla="*/ 219129 h 232908"/>
                <a:gd name="connsiteX14" fmla="*/ 144501 w 241078"/>
                <a:gd name="connsiteY14" fmla="*/ 227543 h 232908"/>
                <a:gd name="connsiteX15" fmla="*/ 161207 w 241078"/>
                <a:gd name="connsiteY15" fmla="*/ 232908 h 232908"/>
                <a:gd name="connsiteX16" fmla="*/ 178889 w 241078"/>
                <a:gd name="connsiteY16" fmla="*/ 229006 h 232908"/>
                <a:gd name="connsiteX17" fmla="*/ 181815 w 241078"/>
                <a:gd name="connsiteY17" fmla="*/ 228397 h 232908"/>
                <a:gd name="connsiteX18" fmla="*/ 182303 w 241078"/>
                <a:gd name="connsiteY18" fmla="*/ 228275 h 232908"/>
                <a:gd name="connsiteX19" fmla="*/ 182791 w 241078"/>
                <a:gd name="connsiteY19" fmla="*/ 228275 h 232908"/>
                <a:gd name="connsiteX20" fmla="*/ 186327 w 241078"/>
                <a:gd name="connsiteY20" fmla="*/ 228153 h 232908"/>
                <a:gd name="connsiteX21" fmla="*/ 203155 w 241078"/>
                <a:gd name="connsiteY21" fmla="*/ 227421 h 232908"/>
                <a:gd name="connsiteX22" fmla="*/ 211691 w 241078"/>
                <a:gd name="connsiteY22" fmla="*/ 221446 h 232908"/>
                <a:gd name="connsiteX23" fmla="*/ 214374 w 241078"/>
                <a:gd name="connsiteY23" fmla="*/ 219495 h 232908"/>
                <a:gd name="connsiteX24" fmla="*/ 204374 w 241078"/>
                <a:gd name="connsiteY24" fmla="*/ 210227 h 232908"/>
                <a:gd name="connsiteX25" fmla="*/ 202545 w 241078"/>
                <a:gd name="connsiteY25" fmla="*/ 208520 h 232908"/>
                <a:gd name="connsiteX26" fmla="*/ 202423 w 241078"/>
                <a:gd name="connsiteY26" fmla="*/ 205959 h 232908"/>
                <a:gd name="connsiteX27" fmla="*/ 200594 w 241078"/>
                <a:gd name="connsiteY27" fmla="*/ 135233 h 232908"/>
                <a:gd name="connsiteX28" fmla="*/ 200472 w 241078"/>
                <a:gd name="connsiteY28" fmla="*/ 129136 h 232908"/>
                <a:gd name="connsiteX29" fmla="*/ 206569 w 241078"/>
                <a:gd name="connsiteY29" fmla="*/ 129014 h 232908"/>
                <a:gd name="connsiteX30" fmla="*/ 237908 w 241078"/>
                <a:gd name="connsiteY30" fmla="*/ 128161 h 232908"/>
                <a:gd name="connsiteX31" fmla="*/ 241079 w 241078"/>
                <a:gd name="connsiteY31" fmla="*/ 103406 h 232908"/>
                <a:gd name="connsiteX32" fmla="*/ 240713 w 241078"/>
                <a:gd name="connsiteY32" fmla="*/ 102797 h 232908"/>
                <a:gd name="connsiteX33" fmla="*/ 239859 w 241078"/>
                <a:gd name="connsiteY33" fmla="*/ 101090 h 232908"/>
                <a:gd name="connsiteX34" fmla="*/ 210471 w 241078"/>
                <a:gd name="connsiteY34" fmla="*/ 101090 h 232908"/>
                <a:gd name="connsiteX35" fmla="*/ 208886 w 241078"/>
                <a:gd name="connsiteY35" fmla="*/ 97431 h 232908"/>
                <a:gd name="connsiteX36" fmla="*/ 206813 w 241078"/>
                <a:gd name="connsiteY36" fmla="*/ 92798 h 232908"/>
                <a:gd name="connsiteX37" fmla="*/ 201082 w 241078"/>
                <a:gd name="connsiteY37" fmla="*/ 79140 h 232908"/>
                <a:gd name="connsiteX38" fmla="*/ 200594 w 241078"/>
                <a:gd name="connsiteY38" fmla="*/ 78164 h 232908"/>
                <a:gd name="connsiteX39" fmla="*/ 200594 w 241078"/>
                <a:gd name="connsiteY39" fmla="*/ 77067 h 232908"/>
                <a:gd name="connsiteX40" fmla="*/ 197911 w 241078"/>
                <a:gd name="connsiteY40" fmla="*/ 26583 h 232908"/>
                <a:gd name="connsiteX41" fmla="*/ 186937 w 241078"/>
                <a:gd name="connsiteY41" fmla="*/ 24144 h 232908"/>
                <a:gd name="connsiteX42" fmla="*/ 184132 w 241078"/>
                <a:gd name="connsiteY42" fmla="*/ 23535 h 232908"/>
                <a:gd name="connsiteX43" fmla="*/ 183278 w 241078"/>
                <a:gd name="connsiteY43" fmla="*/ 23413 h 232908"/>
                <a:gd name="connsiteX44" fmla="*/ 182425 w 241078"/>
                <a:gd name="connsiteY44" fmla="*/ 22925 h 232908"/>
                <a:gd name="connsiteX45" fmla="*/ 170718 w 241078"/>
                <a:gd name="connsiteY45" fmla="*/ 16218 h 232908"/>
                <a:gd name="connsiteX46" fmla="*/ 155354 w 241078"/>
                <a:gd name="connsiteY46" fmla="*/ 18413 h 232908"/>
                <a:gd name="connsiteX47" fmla="*/ 154744 w 241078"/>
                <a:gd name="connsiteY47" fmla="*/ 30241 h 232908"/>
                <a:gd name="connsiteX48" fmla="*/ 154378 w 241078"/>
                <a:gd name="connsiteY48" fmla="*/ 35607 h 232908"/>
                <a:gd name="connsiteX49" fmla="*/ 149135 w 241078"/>
                <a:gd name="connsiteY49" fmla="*/ 35973 h 232908"/>
                <a:gd name="connsiteX50" fmla="*/ 120357 w 241078"/>
                <a:gd name="connsiteY50" fmla="*/ 38533 h 232908"/>
                <a:gd name="connsiteX51" fmla="*/ 115967 w 241078"/>
                <a:gd name="connsiteY51" fmla="*/ 38899 h 232908"/>
                <a:gd name="connsiteX52" fmla="*/ 114260 w 241078"/>
                <a:gd name="connsiteY52" fmla="*/ 34875 h 232908"/>
                <a:gd name="connsiteX53" fmla="*/ 105601 w 241078"/>
                <a:gd name="connsiteY53" fmla="*/ 15121 h 232908"/>
                <a:gd name="connsiteX54" fmla="*/ 94749 w 241078"/>
                <a:gd name="connsiteY54" fmla="*/ 0 h 232908"/>
                <a:gd name="connsiteX55" fmla="*/ 34144 w 241078"/>
                <a:gd name="connsiteY55" fmla="*/ 1829 h 232908"/>
                <a:gd name="connsiteX56" fmla="*/ 17925 w 241078"/>
                <a:gd name="connsiteY56" fmla="*/ 2317 h 232908"/>
                <a:gd name="connsiteX57" fmla="*/ 17194 w 241078"/>
                <a:gd name="connsiteY57" fmla="*/ 7926 h 232908"/>
                <a:gd name="connsiteX58" fmla="*/ 23901 w 241078"/>
                <a:gd name="connsiteY58" fmla="*/ 22925 h 232908"/>
                <a:gd name="connsiteX59" fmla="*/ 31217 w 241078"/>
                <a:gd name="connsiteY59" fmla="*/ 34631 h 232908"/>
                <a:gd name="connsiteX60" fmla="*/ 31217 w 241078"/>
                <a:gd name="connsiteY60" fmla="*/ 71702 h 232908"/>
                <a:gd name="connsiteX61" fmla="*/ 36827 w 241078"/>
                <a:gd name="connsiteY61" fmla="*/ 88408 h 232908"/>
                <a:gd name="connsiteX62" fmla="*/ 42802 w 241078"/>
                <a:gd name="connsiteY62" fmla="*/ 109138 h 232908"/>
                <a:gd name="connsiteX63" fmla="*/ 30730 w 241078"/>
                <a:gd name="connsiteY63" fmla="*/ 133038 h 232908"/>
                <a:gd name="connsiteX64" fmla="*/ 19511 w 241078"/>
                <a:gd name="connsiteY64" fmla="*/ 140111 h 232908"/>
                <a:gd name="connsiteX65" fmla="*/ 2805 w 241078"/>
                <a:gd name="connsiteY65" fmla="*/ 188766 h 232908"/>
                <a:gd name="connsiteX66" fmla="*/ 0 w 241078"/>
                <a:gd name="connsiteY66" fmla="*/ 206813 h 232908"/>
                <a:gd name="connsiteX67" fmla="*/ 1097 w 241078"/>
                <a:gd name="connsiteY67" fmla="*/ 219983 h 232908"/>
                <a:gd name="connsiteX68" fmla="*/ 12316 w 241078"/>
                <a:gd name="connsiteY68" fmla="*/ 214617 h 232908"/>
                <a:gd name="connsiteX69" fmla="*/ 13536 w 241078"/>
                <a:gd name="connsiteY69" fmla="*/ 214129 h 23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241078" h="232908">
                  <a:moveTo>
                    <a:pt x="13536" y="214129"/>
                  </a:moveTo>
                  <a:lnTo>
                    <a:pt x="37924" y="214129"/>
                  </a:lnTo>
                  <a:lnTo>
                    <a:pt x="39631" y="215837"/>
                  </a:lnTo>
                  <a:lnTo>
                    <a:pt x="41826" y="218032"/>
                  </a:lnTo>
                  <a:lnTo>
                    <a:pt x="45728" y="221934"/>
                  </a:lnTo>
                  <a:lnTo>
                    <a:pt x="48899" y="220836"/>
                  </a:lnTo>
                  <a:lnTo>
                    <a:pt x="63776" y="215349"/>
                  </a:lnTo>
                  <a:lnTo>
                    <a:pt x="64873" y="214983"/>
                  </a:lnTo>
                  <a:lnTo>
                    <a:pt x="65970" y="214983"/>
                  </a:lnTo>
                  <a:lnTo>
                    <a:pt x="119137" y="215837"/>
                  </a:lnTo>
                  <a:lnTo>
                    <a:pt x="124624" y="215959"/>
                  </a:lnTo>
                  <a:lnTo>
                    <a:pt x="126332" y="215959"/>
                  </a:lnTo>
                  <a:lnTo>
                    <a:pt x="127795" y="216934"/>
                  </a:lnTo>
                  <a:lnTo>
                    <a:pt x="131209" y="219129"/>
                  </a:lnTo>
                  <a:lnTo>
                    <a:pt x="144501" y="227543"/>
                  </a:lnTo>
                  <a:lnTo>
                    <a:pt x="161207" y="232908"/>
                  </a:lnTo>
                  <a:lnTo>
                    <a:pt x="178889" y="229006"/>
                  </a:lnTo>
                  <a:lnTo>
                    <a:pt x="181815" y="228397"/>
                  </a:lnTo>
                  <a:lnTo>
                    <a:pt x="182303" y="228275"/>
                  </a:lnTo>
                  <a:lnTo>
                    <a:pt x="182791" y="228275"/>
                  </a:lnTo>
                  <a:lnTo>
                    <a:pt x="186327" y="228153"/>
                  </a:lnTo>
                  <a:lnTo>
                    <a:pt x="203155" y="227421"/>
                  </a:lnTo>
                  <a:lnTo>
                    <a:pt x="211691" y="221446"/>
                  </a:lnTo>
                  <a:lnTo>
                    <a:pt x="214374" y="219495"/>
                  </a:lnTo>
                  <a:lnTo>
                    <a:pt x="204374" y="210227"/>
                  </a:lnTo>
                  <a:lnTo>
                    <a:pt x="202545" y="208520"/>
                  </a:lnTo>
                  <a:lnTo>
                    <a:pt x="202423" y="205959"/>
                  </a:lnTo>
                  <a:lnTo>
                    <a:pt x="200594" y="135233"/>
                  </a:lnTo>
                  <a:lnTo>
                    <a:pt x="200472" y="129136"/>
                  </a:lnTo>
                  <a:lnTo>
                    <a:pt x="206569" y="129014"/>
                  </a:lnTo>
                  <a:lnTo>
                    <a:pt x="237908" y="128161"/>
                  </a:lnTo>
                  <a:lnTo>
                    <a:pt x="241079" y="103406"/>
                  </a:lnTo>
                  <a:lnTo>
                    <a:pt x="240713" y="102797"/>
                  </a:lnTo>
                  <a:lnTo>
                    <a:pt x="239859" y="101090"/>
                  </a:lnTo>
                  <a:lnTo>
                    <a:pt x="210471" y="101090"/>
                  </a:lnTo>
                  <a:lnTo>
                    <a:pt x="208886" y="97431"/>
                  </a:lnTo>
                  <a:lnTo>
                    <a:pt x="206813" y="92798"/>
                  </a:lnTo>
                  <a:lnTo>
                    <a:pt x="201082" y="79140"/>
                  </a:lnTo>
                  <a:lnTo>
                    <a:pt x="200594" y="78164"/>
                  </a:lnTo>
                  <a:lnTo>
                    <a:pt x="200594" y="77067"/>
                  </a:lnTo>
                  <a:lnTo>
                    <a:pt x="197911" y="26583"/>
                  </a:lnTo>
                  <a:lnTo>
                    <a:pt x="186937" y="24144"/>
                  </a:lnTo>
                  <a:lnTo>
                    <a:pt x="184132" y="23535"/>
                  </a:lnTo>
                  <a:lnTo>
                    <a:pt x="183278" y="23413"/>
                  </a:lnTo>
                  <a:lnTo>
                    <a:pt x="182425" y="22925"/>
                  </a:lnTo>
                  <a:lnTo>
                    <a:pt x="170718" y="16218"/>
                  </a:lnTo>
                  <a:lnTo>
                    <a:pt x="155354" y="18413"/>
                  </a:lnTo>
                  <a:lnTo>
                    <a:pt x="154744" y="30241"/>
                  </a:lnTo>
                  <a:lnTo>
                    <a:pt x="154378" y="35607"/>
                  </a:lnTo>
                  <a:lnTo>
                    <a:pt x="149135" y="35973"/>
                  </a:lnTo>
                  <a:lnTo>
                    <a:pt x="120357" y="38533"/>
                  </a:lnTo>
                  <a:lnTo>
                    <a:pt x="115967" y="38899"/>
                  </a:lnTo>
                  <a:lnTo>
                    <a:pt x="114260" y="34875"/>
                  </a:lnTo>
                  <a:lnTo>
                    <a:pt x="105601" y="15121"/>
                  </a:lnTo>
                  <a:lnTo>
                    <a:pt x="94749" y="0"/>
                  </a:lnTo>
                  <a:lnTo>
                    <a:pt x="34144" y="1829"/>
                  </a:lnTo>
                  <a:lnTo>
                    <a:pt x="17925" y="2317"/>
                  </a:lnTo>
                  <a:lnTo>
                    <a:pt x="17194" y="7926"/>
                  </a:lnTo>
                  <a:lnTo>
                    <a:pt x="23901" y="22925"/>
                  </a:lnTo>
                  <a:lnTo>
                    <a:pt x="31217" y="34631"/>
                  </a:lnTo>
                  <a:lnTo>
                    <a:pt x="31217" y="71702"/>
                  </a:lnTo>
                  <a:lnTo>
                    <a:pt x="36827" y="88408"/>
                  </a:lnTo>
                  <a:lnTo>
                    <a:pt x="42802" y="109138"/>
                  </a:lnTo>
                  <a:lnTo>
                    <a:pt x="30730" y="133038"/>
                  </a:lnTo>
                  <a:lnTo>
                    <a:pt x="19511" y="140111"/>
                  </a:lnTo>
                  <a:lnTo>
                    <a:pt x="2805" y="188766"/>
                  </a:lnTo>
                  <a:lnTo>
                    <a:pt x="0" y="206813"/>
                  </a:lnTo>
                  <a:lnTo>
                    <a:pt x="1097" y="219983"/>
                  </a:lnTo>
                  <a:lnTo>
                    <a:pt x="12316" y="214617"/>
                  </a:lnTo>
                  <a:lnTo>
                    <a:pt x="13536" y="21412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3" name="Freihandform: Form 502">
              <a:extLst>
                <a:ext uri="{FF2B5EF4-FFF2-40B4-BE49-F238E27FC236}">
                  <a16:creationId xmlns:a16="http://schemas.microsoft.com/office/drawing/2014/main" id="{D189650A-B0B5-416C-ABB2-92BBF3547CB1}"/>
                </a:ext>
              </a:extLst>
            </p:cNvPr>
            <p:cNvSpPr/>
            <p:nvPr/>
          </p:nvSpPr>
          <p:spPr>
            <a:xfrm>
              <a:off x="4618947" y="3397441"/>
              <a:ext cx="28656" cy="9633"/>
            </a:xfrm>
            <a:custGeom>
              <a:avLst/>
              <a:gdLst>
                <a:gd name="connsiteX0" fmla="*/ 3536 w 28656"/>
                <a:gd name="connsiteY0" fmla="*/ 244 h 9633"/>
                <a:gd name="connsiteX1" fmla="*/ 2561 w 28656"/>
                <a:gd name="connsiteY1" fmla="*/ 244 h 9633"/>
                <a:gd name="connsiteX2" fmla="*/ 488 w 28656"/>
                <a:gd name="connsiteY2" fmla="*/ 7926 h 9633"/>
                <a:gd name="connsiteX3" fmla="*/ 0 w 28656"/>
                <a:gd name="connsiteY3" fmla="*/ 9633 h 9633"/>
                <a:gd name="connsiteX4" fmla="*/ 28656 w 28656"/>
                <a:gd name="connsiteY4" fmla="*/ 9390 h 9633"/>
                <a:gd name="connsiteX5" fmla="*/ 28291 w 28656"/>
                <a:gd name="connsiteY5" fmla="*/ 0 h 9633"/>
                <a:gd name="connsiteX6" fmla="*/ 26949 w 28656"/>
                <a:gd name="connsiteY6" fmla="*/ 0 h 9633"/>
                <a:gd name="connsiteX7" fmla="*/ 3536 w 28656"/>
                <a:gd name="connsiteY7" fmla="*/ 244 h 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656" h="9633">
                  <a:moveTo>
                    <a:pt x="3536" y="244"/>
                  </a:moveTo>
                  <a:lnTo>
                    <a:pt x="2561" y="244"/>
                  </a:lnTo>
                  <a:lnTo>
                    <a:pt x="488" y="7926"/>
                  </a:lnTo>
                  <a:lnTo>
                    <a:pt x="0" y="9633"/>
                  </a:lnTo>
                  <a:lnTo>
                    <a:pt x="28656" y="9390"/>
                  </a:lnTo>
                  <a:lnTo>
                    <a:pt x="28291" y="0"/>
                  </a:lnTo>
                  <a:lnTo>
                    <a:pt x="26949" y="0"/>
                  </a:lnTo>
                  <a:lnTo>
                    <a:pt x="3536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4" name="Freihandform: Form 503">
              <a:extLst>
                <a:ext uri="{FF2B5EF4-FFF2-40B4-BE49-F238E27FC236}">
                  <a16:creationId xmlns:a16="http://schemas.microsoft.com/office/drawing/2014/main" id="{33B74FE4-3594-474F-B98F-1065CA685427}"/>
                </a:ext>
              </a:extLst>
            </p:cNvPr>
            <p:cNvSpPr/>
            <p:nvPr/>
          </p:nvSpPr>
          <p:spPr>
            <a:xfrm>
              <a:off x="4657481" y="3366590"/>
              <a:ext cx="129014" cy="169864"/>
            </a:xfrm>
            <a:custGeom>
              <a:avLst/>
              <a:gdLst>
                <a:gd name="connsiteX0" fmla="*/ 23900 w 129014"/>
                <a:gd name="connsiteY0" fmla="*/ 159987 h 169864"/>
                <a:gd name="connsiteX1" fmla="*/ 25974 w 129014"/>
                <a:gd name="connsiteY1" fmla="*/ 160475 h 169864"/>
                <a:gd name="connsiteX2" fmla="*/ 27681 w 129014"/>
                <a:gd name="connsiteY2" fmla="*/ 160841 h 169864"/>
                <a:gd name="connsiteX3" fmla="*/ 31583 w 129014"/>
                <a:gd name="connsiteY3" fmla="*/ 161817 h 169864"/>
                <a:gd name="connsiteX4" fmla="*/ 31705 w 129014"/>
                <a:gd name="connsiteY4" fmla="*/ 162182 h 169864"/>
                <a:gd name="connsiteX5" fmla="*/ 33900 w 129014"/>
                <a:gd name="connsiteY5" fmla="*/ 159378 h 169864"/>
                <a:gd name="connsiteX6" fmla="*/ 35973 w 129014"/>
                <a:gd name="connsiteY6" fmla="*/ 157427 h 169864"/>
                <a:gd name="connsiteX7" fmla="*/ 38412 w 129014"/>
                <a:gd name="connsiteY7" fmla="*/ 157183 h 169864"/>
                <a:gd name="connsiteX8" fmla="*/ 41338 w 129014"/>
                <a:gd name="connsiteY8" fmla="*/ 156695 h 169864"/>
                <a:gd name="connsiteX9" fmla="*/ 47679 w 129014"/>
                <a:gd name="connsiteY9" fmla="*/ 155841 h 169864"/>
                <a:gd name="connsiteX10" fmla="*/ 48289 w 129014"/>
                <a:gd name="connsiteY10" fmla="*/ 162182 h 169864"/>
                <a:gd name="connsiteX11" fmla="*/ 48533 w 129014"/>
                <a:gd name="connsiteY11" fmla="*/ 164621 h 169864"/>
                <a:gd name="connsiteX12" fmla="*/ 57556 w 129014"/>
                <a:gd name="connsiteY12" fmla="*/ 160353 h 169864"/>
                <a:gd name="connsiteX13" fmla="*/ 76701 w 129014"/>
                <a:gd name="connsiteY13" fmla="*/ 150964 h 169864"/>
                <a:gd name="connsiteX14" fmla="*/ 89261 w 129014"/>
                <a:gd name="connsiteY14" fmla="*/ 103529 h 169864"/>
                <a:gd name="connsiteX15" fmla="*/ 89871 w 129014"/>
                <a:gd name="connsiteY15" fmla="*/ 100968 h 169864"/>
                <a:gd name="connsiteX16" fmla="*/ 92066 w 129014"/>
                <a:gd name="connsiteY16" fmla="*/ 99748 h 169864"/>
                <a:gd name="connsiteX17" fmla="*/ 97431 w 129014"/>
                <a:gd name="connsiteY17" fmla="*/ 96700 h 169864"/>
                <a:gd name="connsiteX18" fmla="*/ 105236 w 129014"/>
                <a:gd name="connsiteY18" fmla="*/ 92432 h 169864"/>
                <a:gd name="connsiteX19" fmla="*/ 114747 w 129014"/>
                <a:gd name="connsiteY19" fmla="*/ 67190 h 169864"/>
                <a:gd name="connsiteX20" fmla="*/ 116698 w 129014"/>
                <a:gd name="connsiteY20" fmla="*/ 34266 h 169864"/>
                <a:gd name="connsiteX21" fmla="*/ 116820 w 129014"/>
                <a:gd name="connsiteY21" fmla="*/ 32071 h 169864"/>
                <a:gd name="connsiteX22" fmla="*/ 118161 w 129014"/>
                <a:gd name="connsiteY22" fmla="*/ 30607 h 169864"/>
                <a:gd name="connsiteX23" fmla="*/ 129014 w 129014"/>
                <a:gd name="connsiteY23" fmla="*/ 18047 h 169864"/>
                <a:gd name="connsiteX24" fmla="*/ 129014 w 129014"/>
                <a:gd name="connsiteY24" fmla="*/ 10609 h 169864"/>
                <a:gd name="connsiteX25" fmla="*/ 129014 w 129014"/>
                <a:gd name="connsiteY25" fmla="*/ 366 h 169864"/>
                <a:gd name="connsiteX26" fmla="*/ 120844 w 129014"/>
                <a:gd name="connsiteY26" fmla="*/ 1219 h 169864"/>
                <a:gd name="connsiteX27" fmla="*/ 120356 w 129014"/>
                <a:gd name="connsiteY27" fmla="*/ 1341 h 169864"/>
                <a:gd name="connsiteX28" fmla="*/ 119746 w 129014"/>
                <a:gd name="connsiteY28" fmla="*/ 1341 h 169864"/>
                <a:gd name="connsiteX29" fmla="*/ 101089 w 129014"/>
                <a:gd name="connsiteY29" fmla="*/ 0 h 169864"/>
                <a:gd name="connsiteX30" fmla="*/ 90237 w 129014"/>
                <a:gd name="connsiteY30" fmla="*/ 4756 h 169864"/>
                <a:gd name="connsiteX31" fmla="*/ 88286 w 129014"/>
                <a:gd name="connsiteY31" fmla="*/ 7560 h 169864"/>
                <a:gd name="connsiteX32" fmla="*/ 83042 w 129014"/>
                <a:gd name="connsiteY32" fmla="*/ 15121 h 169864"/>
                <a:gd name="connsiteX33" fmla="*/ 82311 w 129014"/>
                <a:gd name="connsiteY33" fmla="*/ 16096 h 169864"/>
                <a:gd name="connsiteX34" fmla="*/ 82432 w 129014"/>
                <a:gd name="connsiteY34" fmla="*/ 16340 h 169864"/>
                <a:gd name="connsiteX35" fmla="*/ 80969 w 129014"/>
                <a:gd name="connsiteY35" fmla="*/ 18047 h 169864"/>
                <a:gd name="connsiteX36" fmla="*/ 77067 w 129014"/>
                <a:gd name="connsiteY36" fmla="*/ 23657 h 169864"/>
                <a:gd name="connsiteX37" fmla="*/ 76823 w 129014"/>
                <a:gd name="connsiteY37" fmla="*/ 23169 h 169864"/>
                <a:gd name="connsiteX38" fmla="*/ 67434 w 129014"/>
                <a:gd name="connsiteY38" fmla="*/ 34631 h 169864"/>
                <a:gd name="connsiteX39" fmla="*/ 63775 w 129014"/>
                <a:gd name="connsiteY39" fmla="*/ 39143 h 169864"/>
                <a:gd name="connsiteX40" fmla="*/ 59141 w 129014"/>
                <a:gd name="connsiteY40" fmla="*/ 35729 h 169864"/>
                <a:gd name="connsiteX41" fmla="*/ 52801 w 129014"/>
                <a:gd name="connsiteY41" fmla="*/ 31217 h 169864"/>
                <a:gd name="connsiteX42" fmla="*/ 51337 w 129014"/>
                <a:gd name="connsiteY42" fmla="*/ 30120 h 169864"/>
                <a:gd name="connsiteX43" fmla="*/ 26217 w 129014"/>
                <a:gd name="connsiteY43" fmla="*/ 30364 h 169864"/>
                <a:gd name="connsiteX44" fmla="*/ 26217 w 129014"/>
                <a:gd name="connsiteY44" fmla="*/ 30364 h 169864"/>
                <a:gd name="connsiteX45" fmla="*/ 26217 w 129014"/>
                <a:gd name="connsiteY45" fmla="*/ 30364 h 169864"/>
                <a:gd name="connsiteX46" fmla="*/ 26095 w 129014"/>
                <a:gd name="connsiteY46" fmla="*/ 30607 h 169864"/>
                <a:gd name="connsiteX47" fmla="*/ 23291 w 129014"/>
                <a:gd name="connsiteY47" fmla="*/ 38899 h 169864"/>
                <a:gd name="connsiteX48" fmla="*/ 36217 w 129014"/>
                <a:gd name="connsiteY48" fmla="*/ 49021 h 169864"/>
                <a:gd name="connsiteX49" fmla="*/ 44265 w 129014"/>
                <a:gd name="connsiteY49" fmla="*/ 45484 h 169864"/>
                <a:gd name="connsiteX50" fmla="*/ 48045 w 129014"/>
                <a:gd name="connsiteY50" fmla="*/ 43777 h 169864"/>
                <a:gd name="connsiteX51" fmla="*/ 51337 w 129014"/>
                <a:gd name="connsiteY51" fmla="*/ 42436 h 169864"/>
                <a:gd name="connsiteX52" fmla="*/ 54142 w 129014"/>
                <a:gd name="connsiteY52" fmla="*/ 44509 h 169864"/>
                <a:gd name="connsiteX53" fmla="*/ 54874 w 129014"/>
                <a:gd name="connsiteY53" fmla="*/ 45118 h 169864"/>
                <a:gd name="connsiteX54" fmla="*/ 56215 w 129014"/>
                <a:gd name="connsiteY54" fmla="*/ 46094 h 169864"/>
                <a:gd name="connsiteX55" fmla="*/ 58288 w 129014"/>
                <a:gd name="connsiteY55" fmla="*/ 47557 h 169864"/>
                <a:gd name="connsiteX56" fmla="*/ 58532 w 129014"/>
                <a:gd name="connsiteY56" fmla="*/ 50118 h 169864"/>
                <a:gd name="connsiteX57" fmla="*/ 59873 w 129014"/>
                <a:gd name="connsiteY57" fmla="*/ 59629 h 169864"/>
                <a:gd name="connsiteX58" fmla="*/ 60239 w 129014"/>
                <a:gd name="connsiteY58" fmla="*/ 62190 h 169864"/>
                <a:gd name="connsiteX59" fmla="*/ 60727 w 129014"/>
                <a:gd name="connsiteY59" fmla="*/ 65727 h 169864"/>
                <a:gd name="connsiteX60" fmla="*/ 57800 w 129014"/>
                <a:gd name="connsiteY60" fmla="*/ 67922 h 169864"/>
                <a:gd name="connsiteX61" fmla="*/ 48533 w 129014"/>
                <a:gd name="connsiteY61" fmla="*/ 74872 h 169864"/>
                <a:gd name="connsiteX62" fmla="*/ 47923 w 129014"/>
                <a:gd name="connsiteY62" fmla="*/ 76701 h 169864"/>
                <a:gd name="connsiteX63" fmla="*/ 45240 w 129014"/>
                <a:gd name="connsiteY63" fmla="*/ 84505 h 169864"/>
                <a:gd name="connsiteX64" fmla="*/ 46703 w 129014"/>
                <a:gd name="connsiteY64" fmla="*/ 86457 h 169864"/>
                <a:gd name="connsiteX65" fmla="*/ 47435 w 129014"/>
                <a:gd name="connsiteY65" fmla="*/ 87432 h 169864"/>
                <a:gd name="connsiteX66" fmla="*/ 49874 w 129014"/>
                <a:gd name="connsiteY66" fmla="*/ 88042 h 169864"/>
                <a:gd name="connsiteX67" fmla="*/ 55240 w 129014"/>
                <a:gd name="connsiteY67" fmla="*/ 89383 h 169864"/>
                <a:gd name="connsiteX68" fmla="*/ 54386 w 129014"/>
                <a:gd name="connsiteY68" fmla="*/ 94871 h 169864"/>
                <a:gd name="connsiteX69" fmla="*/ 49508 w 129014"/>
                <a:gd name="connsiteY69" fmla="*/ 126697 h 169864"/>
                <a:gd name="connsiteX70" fmla="*/ 48167 w 129014"/>
                <a:gd name="connsiteY70" fmla="*/ 135599 h 169864"/>
                <a:gd name="connsiteX71" fmla="*/ 40363 w 129014"/>
                <a:gd name="connsiteY71" fmla="*/ 130965 h 169864"/>
                <a:gd name="connsiteX72" fmla="*/ 29266 w 129014"/>
                <a:gd name="connsiteY72" fmla="*/ 124259 h 169864"/>
                <a:gd name="connsiteX73" fmla="*/ 28046 w 129014"/>
                <a:gd name="connsiteY73" fmla="*/ 123649 h 169864"/>
                <a:gd name="connsiteX74" fmla="*/ 27315 w 129014"/>
                <a:gd name="connsiteY74" fmla="*/ 122429 h 169864"/>
                <a:gd name="connsiteX75" fmla="*/ 19998 w 129014"/>
                <a:gd name="connsiteY75" fmla="*/ 111455 h 169864"/>
                <a:gd name="connsiteX76" fmla="*/ 11463 w 129014"/>
                <a:gd name="connsiteY76" fmla="*/ 109747 h 169864"/>
                <a:gd name="connsiteX77" fmla="*/ 10731 w 129014"/>
                <a:gd name="connsiteY77" fmla="*/ 114016 h 169864"/>
                <a:gd name="connsiteX78" fmla="*/ 10609 w 129014"/>
                <a:gd name="connsiteY78" fmla="*/ 114625 h 169864"/>
                <a:gd name="connsiteX79" fmla="*/ 10487 w 129014"/>
                <a:gd name="connsiteY79" fmla="*/ 115113 h 169864"/>
                <a:gd name="connsiteX80" fmla="*/ 7316 w 129014"/>
                <a:gd name="connsiteY80" fmla="*/ 123405 h 169864"/>
                <a:gd name="connsiteX81" fmla="*/ 7072 w 129014"/>
                <a:gd name="connsiteY81" fmla="*/ 124259 h 169864"/>
                <a:gd name="connsiteX82" fmla="*/ 4878 w 129014"/>
                <a:gd name="connsiteY82" fmla="*/ 130112 h 169864"/>
                <a:gd name="connsiteX83" fmla="*/ 1463 w 129014"/>
                <a:gd name="connsiteY83" fmla="*/ 128770 h 169864"/>
                <a:gd name="connsiteX84" fmla="*/ 1829 w 129014"/>
                <a:gd name="connsiteY84" fmla="*/ 129990 h 169864"/>
                <a:gd name="connsiteX85" fmla="*/ 15121 w 129014"/>
                <a:gd name="connsiteY85" fmla="*/ 143647 h 169864"/>
                <a:gd name="connsiteX86" fmla="*/ 19754 w 129014"/>
                <a:gd name="connsiteY86" fmla="*/ 148403 h 169864"/>
                <a:gd name="connsiteX87" fmla="*/ 14511 w 129014"/>
                <a:gd name="connsiteY87" fmla="*/ 152671 h 169864"/>
                <a:gd name="connsiteX88" fmla="*/ 1219 w 129014"/>
                <a:gd name="connsiteY88" fmla="*/ 163402 h 169864"/>
                <a:gd name="connsiteX89" fmla="*/ 0 w 129014"/>
                <a:gd name="connsiteY89" fmla="*/ 164377 h 169864"/>
                <a:gd name="connsiteX90" fmla="*/ 1829 w 129014"/>
                <a:gd name="connsiteY90" fmla="*/ 169865 h 169864"/>
                <a:gd name="connsiteX91" fmla="*/ 2317 w 129014"/>
                <a:gd name="connsiteY91" fmla="*/ 169621 h 169864"/>
                <a:gd name="connsiteX92" fmla="*/ 21949 w 129014"/>
                <a:gd name="connsiteY92" fmla="*/ 160841 h 169864"/>
                <a:gd name="connsiteX93" fmla="*/ 23900 w 129014"/>
                <a:gd name="connsiteY93" fmla="*/ 159987 h 169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29014" h="169864">
                  <a:moveTo>
                    <a:pt x="23900" y="159987"/>
                  </a:moveTo>
                  <a:lnTo>
                    <a:pt x="25974" y="160475"/>
                  </a:lnTo>
                  <a:lnTo>
                    <a:pt x="27681" y="160841"/>
                  </a:lnTo>
                  <a:lnTo>
                    <a:pt x="31583" y="161817"/>
                  </a:lnTo>
                  <a:lnTo>
                    <a:pt x="31705" y="162182"/>
                  </a:lnTo>
                  <a:lnTo>
                    <a:pt x="33900" y="159378"/>
                  </a:lnTo>
                  <a:lnTo>
                    <a:pt x="35973" y="157427"/>
                  </a:lnTo>
                  <a:lnTo>
                    <a:pt x="38412" y="157183"/>
                  </a:lnTo>
                  <a:lnTo>
                    <a:pt x="41338" y="156695"/>
                  </a:lnTo>
                  <a:lnTo>
                    <a:pt x="47679" y="155841"/>
                  </a:lnTo>
                  <a:lnTo>
                    <a:pt x="48289" y="162182"/>
                  </a:lnTo>
                  <a:lnTo>
                    <a:pt x="48533" y="164621"/>
                  </a:lnTo>
                  <a:lnTo>
                    <a:pt x="57556" y="160353"/>
                  </a:lnTo>
                  <a:lnTo>
                    <a:pt x="76701" y="150964"/>
                  </a:lnTo>
                  <a:lnTo>
                    <a:pt x="89261" y="103529"/>
                  </a:lnTo>
                  <a:lnTo>
                    <a:pt x="89871" y="100968"/>
                  </a:lnTo>
                  <a:lnTo>
                    <a:pt x="92066" y="99748"/>
                  </a:lnTo>
                  <a:lnTo>
                    <a:pt x="97431" y="96700"/>
                  </a:lnTo>
                  <a:lnTo>
                    <a:pt x="105236" y="92432"/>
                  </a:lnTo>
                  <a:lnTo>
                    <a:pt x="114747" y="67190"/>
                  </a:lnTo>
                  <a:lnTo>
                    <a:pt x="116698" y="34266"/>
                  </a:lnTo>
                  <a:lnTo>
                    <a:pt x="116820" y="32071"/>
                  </a:lnTo>
                  <a:lnTo>
                    <a:pt x="118161" y="30607"/>
                  </a:lnTo>
                  <a:lnTo>
                    <a:pt x="129014" y="18047"/>
                  </a:lnTo>
                  <a:lnTo>
                    <a:pt x="129014" y="10609"/>
                  </a:lnTo>
                  <a:lnTo>
                    <a:pt x="129014" y="366"/>
                  </a:lnTo>
                  <a:lnTo>
                    <a:pt x="120844" y="1219"/>
                  </a:lnTo>
                  <a:lnTo>
                    <a:pt x="120356" y="1341"/>
                  </a:lnTo>
                  <a:lnTo>
                    <a:pt x="119746" y="1341"/>
                  </a:lnTo>
                  <a:lnTo>
                    <a:pt x="101089" y="0"/>
                  </a:lnTo>
                  <a:lnTo>
                    <a:pt x="90237" y="4756"/>
                  </a:lnTo>
                  <a:lnTo>
                    <a:pt x="88286" y="7560"/>
                  </a:lnTo>
                  <a:lnTo>
                    <a:pt x="83042" y="15121"/>
                  </a:lnTo>
                  <a:lnTo>
                    <a:pt x="82311" y="16096"/>
                  </a:lnTo>
                  <a:lnTo>
                    <a:pt x="82432" y="16340"/>
                  </a:lnTo>
                  <a:lnTo>
                    <a:pt x="80969" y="18047"/>
                  </a:lnTo>
                  <a:lnTo>
                    <a:pt x="77067" y="23657"/>
                  </a:lnTo>
                  <a:lnTo>
                    <a:pt x="76823" y="23169"/>
                  </a:lnTo>
                  <a:lnTo>
                    <a:pt x="67434" y="34631"/>
                  </a:lnTo>
                  <a:lnTo>
                    <a:pt x="63775" y="39143"/>
                  </a:lnTo>
                  <a:lnTo>
                    <a:pt x="59141" y="35729"/>
                  </a:lnTo>
                  <a:lnTo>
                    <a:pt x="52801" y="31217"/>
                  </a:lnTo>
                  <a:lnTo>
                    <a:pt x="51337" y="30120"/>
                  </a:lnTo>
                  <a:lnTo>
                    <a:pt x="26217" y="30364"/>
                  </a:lnTo>
                  <a:lnTo>
                    <a:pt x="26217" y="30364"/>
                  </a:lnTo>
                  <a:lnTo>
                    <a:pt x="26217" y="30364"/>
                  </a:lnTo>
                  <a:lnTo>
                    <a:pt x="26095" y="30607"/>
                  </a:lnTo>
                  <a:lnTo>
                    <a:pt x="23291" y="38899"/>
                  </a:lnTo>
                  <a:lnTo>
                    <a:pt x="36217" y="49021"/>
                  </a:lnTo>
                  <a:lnTo>
                    <a:pt x="44265" y="45484"/>
                  </a:lnTo>
                  <a:lnTo>
                    <a:pt x="48045" y="43777"/>
                  </a:lnTo>
                  <a:lnTo>
                    <a:pt x="51337" y="42436"/>
                  </a:lnTo>
                  <a:lnTo>
                    <a:pt x="54142" y="44509"/>
                  </a:lnTo>
                  <a:lnTo>
                    <a:pt x="54874" y="45118"/>
                  </a:lnTo>
                  <a:lnTo>
                    <a:pt x="56215" y="46094"/>
                  </a:lnTo>
                  <a:lnTo>
                    <a:pt x="58288" y="47557"/>
                  </a:lnTo>
                  <a:lnTo>
                    <a:pt x="58532" y="50118"/>
                  </a:lnTo>
                  <a:lnTo>
                    <a:pt x="59873" y="59629"/>
                  </a:lnTo>
                  <a:lnTo>
                    <a:pt x="60239" y="62190"/>
                  </a:lnTo>
                  <a:lnTo>
                    <a:pt x="60727" y="65727"/>
                  </a:lnTo>
                  <a:lnTo>
                    <a:pt x="57800" y="67922"/>
                  </a:lnTo>
                  <a:lnTo>
                    <a:pt x="48533" y="74872"/>
                  </a:lnTo>
                  <a:lnTo>
                    <a:pt x="47923" y="76701"/>
                  </a:lnTo>
                  <a:lnTo>
                    <a:pt x="45240" y="84505"/>
                  </a:lnTo>
                  <a:lnTo>
                    <a:pt x="46703" y="86457"/>
                  </a:lnTo>
                  <a:lnTo>
                    <a:pt x="47435" y="87432"/>
                  </a:lnTo>
                  <a:lnTo>
                    <a:pt x="49874" y="88042"/>
                  </a:lnTo>
                  <a:lnTo>
                    <a:pt x="55240" y="89383"/>
                  </a:lnTo>
                  <a:lnTo>
                    <a:pt x="54386" y="94871"/>
                  </a:lnTo>
                  <a:lnTo>
                    <a:pt x="49508" y="126697"/>
                  </a:lnTo>
                  <a:lnTo>
                    <a:pt x="48167" y="135599"/>
                  </a:lnTo>
                  <a:lnTo>
                    <a:pt x="40363" y="130965"/>
                  </a:lnTo>
                  <a:lnTo>
                    <a:pt x="29266" y="124259"/>
                  </a:lnTo>
                  <a:lnTo>
                    <a:pt x="28046" y="123649"/>
                  </a:lnTo>
                  <a:lnTo>
                    <a:pt x="27315" y="122429"/>
                  </a:lnTo>
                  <a:lnTo>
                    <a:pt x="19998" y="111455"/>
                  </a:lnTo>
                  <a:lnTo>
                    <a:pt x="11463" y="109747"/>
                  </a:lnTo>
                  <a:lnTo>
                    <a:pt x="10731" y="114016"/>
                  </a:lnTo>
                  <a:lnTo>
                    <a:pt x="10609" y="114625"/>
                  </a:lnTo>
                  <a:lnTo>
                    <a:pt x="10487" y="115113"/>
                  </a:lnTo>
                  <a:lnTo>
                    <a:pt x="7316" y="123405"/>
                  </a:lnTo>
                  <a:lnTo>
                    <a:pt x="7072" y="124259"/>
                  </a:lnTo>
                  <a:lnTo>
                    <a:pt x="4878" y="130112"/>
                  </a:lnTo>
                  <a:lnTo>
                    <a:pt x="1463" y="128770"/>
                  </a:lnTo>
                  <a:lnTo>
                    <a:pt x="1829" y="129990"/>
                  </a:lnTo>
                  <a:lnTo>
                    <a:pt x="15121" y="143647"/>
                  </a:lnTo>
                  <a:lnTo>
                    <a:pt x="19754" y="148403"/>
                  </a:lnTo>
                  <a:lnTo>
                    <a:pt x="14511" y="152671"/>
                  </a:lnTo>
                  <a:lnTo>
                    <a:pt x="1219" y="163402"/>
                  </a:lnTo>
                  <a:lnTo>
                    <a:pt x="0" y="164377"/>
                  </a:lnTo>
                  <a:lnTo>
                    <a:pt x="1829" y="169865"/>
                  </a:lnTo>
                  <a:lnTo>
                    <a:pt x="2317" y="169621"/>
                  </a:lnTo>
                  <a:lnTo>
                    <a:pt x="21949" y="160841"/>
                  </a:lnTo>
                  <a:lnTo>
                    <a:pt x="23900" y="15998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5" name="Freihandform: Form 504">
              <a:extLst>
                <a:ext uri="{FF2B5EF4-FFF2-40B4-BE49-F238E27FC236}">
                  <a16:creationId xmlns:a16="http://schemas.microsoft.com/office/drawing/2014/main" id="{858B3734-4183-499D-B8A7-8A5CA52EAF40}"/>
                </a:ext>
              </a:extLst>
            </p:cNvPr>
            <p:cNvSpPr/>
            <p:nvPr/>
          </p:nvSpPr>
          <p:spPr>
            <a:xfrm>
              <a:off x="4959042" y="4029099"/>
              <a:ext cx="47679" cy="42557"/>
            </a:xfrm>
            <a:custGeom>
              <a:avLst/>
              <a:gdLst>
                <a:gd name="connsiteX0" fmla="*/ 20364 w 47679"/>
                <a:gd name="connsiteY0" fmla="*/ 0 h 42557"/>
                <a:gd name="connsiteX1" fmla="*/ 0 w 47679"/>
                <a:gd name="connsiteY1" fmla="*/ 19511 h 42557"/>
                <a:gd name="connsiteX2" fmla="*/ 0 w 47679"/>
                <a:gd name="connsiteY2" fmla="*/ 27193 h 42557"/>
                <a:gd name="connsiteX3" fmla="*/ 12682 w 47679"/>
                <a:gd name="connsiteY3" fmla="*/ 42558 h 42557"/>
                <a:gd name="connsiteX4" fmla="*/ 29266 w 47679"/>
                <a:gd name="connsiteY4" fmla="*/ 36704 h 42557"/>
                <a:gd name="connsiteX5" fmla="*/ 31949 w 47679"/>
                <a:gd name="connsiteY5" fmla="*/ 29632 h 42557"/>
                <a:gd name="connsiteX6" fmla="*/ 47679 w 47679"/>
                <a:gd name="connsiteY6" fmla="*/ 16706 h 42557"/>
                <a:gd name="connsiteX7" fmla="*/ 46094 w 47679"/>
                <a:gd name="connsiteY7" fmla="*/ 2561 h 42557"/>
                <a:gd name="connsiteX8" fmla="*/ 20364 w 47679"/>
                <a:gd name="connsiteY8" fmla="*/ 0 h 4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79" h="42557">
                  <a:moveTo>
                    <a:pt x="20364" y="0"/>
                  </a:moveTo>
                  <a:lnTo>
                    <a:pt x="0" y="19511"/>
                  </a:lnTo>
                  <a:lnTo>
                    <a:pt x="0" y="27193"/>
                  </a:lnTo>
                  <a:lnTo>
                    <a:pt x="12682" y="42558"/>
                  </a:lnTo>
                  <a:lnTo>
                    <a:pt x="29266" y="36704"/>
                  </a:lnTo>
                  <a:lnTo>
                    <a:pt x="31949" y="29632"/>
                  </a:lnTo>
                  <a:lnTo>
                    <a:pt x="47679" y="16706"/>
                  </a:lnTo>
                  <a:lnTo>
                    <a:pt x="46094" y="2561"/>
                  </a:lnTo>
                  <a:lnTo>
                    <a:pt x="2036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6" name="Freihandform: Form 505">
              <a:extLst>
                <a:ext uri="{FF2B5EF4-FFF2-40B4-BE49-F238E27FC236}">
                  <a16:creationId xmlns:a16="http://schemas.microsoft.com/office/drawing/2014/main" id="{847DC56F-395D-4674-B94B-E55033D36299}"/>
                </a:ext>
              </a:extLst>
            </p:cNvPr>
            <p:cNvSpPr/>
            <p:nvPr/>
          </p:nvSpPr>
          <p:spPr>
            <a:xfrm>
              <a:off x="2886523" y="1605753"/>
              <a:ext cx="37923" cy="30363"/>
            </a:xfrm>
            <a:custGeom>
              <a:avLst/>
              <a:gdLst>
                <a:gd name="connsiteX0" fmla="*/ 15487 w 37923"/>
                <a:gd name="connsiteY0" fmla="*/ 0 h 30363"/>
                <a:gd name="connsiteX1" fmla="*/ 0 w 37923"/>
                <a:gd name="connsiteY1" fmla="*/ 12316 h 30363"/>
                <a:gd name="connsiteX2" fmla="*/ 1219 w 37923"/>
                <a:gd name="connsiteY2" fmla="*/ 26461 h 30363"/>
                <a:gd name="connsiteX3" fmla="*/ 5609 w 37923"/>
                <a:gd name="connsiteY3" fmla="*/ 30363 h 30363"/>
                <a:gd name="connsiteX4" fmla="*/ 21340 w 37923"/>
                <a:gd name="connsiteY4" fmla="*/ 28047 h 30363"/>
                <a:gd name="connsiteX5" fmla="*/ 37924 w 37923"/>
                <a:gd name="connsiteY5" fmla="*/ 19633 h 30363"/>
                <a:gd name="connsiteX6" fmla="*/ 36948 w 37923"/>
                <a:gd name="connsiteY6" fmla="*/ 15730 h 30363"/>
                <a:gd name="connsiteX7" fmla="*/ 34022 w 37923"/>
                <a:gd name="connsiteY7" fmla="*/ 12072 h 30363"/>
                <a:gd name="connsiteX8" fmla="*/ 34022 w 37923"/>
                <a:gd name="connsiteY8" fmla="*/ 5487 h 30363"/>
                <a:gd name="connsiteX9" fmla="*/ 25608 w 37923"/>
                <a:gd name="connsiteY9" fmla="*/ 1463 h 30363"/>
                <a:gd name="connsiteX10" fmla="*/ 27681 w 37923"/>
                <a:gd name="connsiteY10" fmla="*/ 1463 h 30363"/>
                <a:gd name="connsiteX11" fmla="*/ 15487 w 37923"/>
                <a:gd name="connsiteY11" fmla="*/ 0 h 3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923" h="30363">
                  <a:moveTo>
                    <a:pt x="15487" y="0"/>
                  </a:moveTo>
                  <a:lnTo>
                    <a:pt x="0" y="12316"/>
                  </a:lnTo>
                  <a:lnTo>
                    <a:pt x="1219" y="26461"/>
                  </a:lnTo>
                  <a:lnTo>
                    <a:pt x="5609" y="30363"/>
                  </a:lnTo>
                  <a:lnTo>
                    <a:pt x="21340" y="28047"/>
                  </a:lnTo>
                  <a:lnTo>
                    <a:pt x="37924" y="19633"/>
                  </a:lnTo>
                  <a:lnTo>
                    <a:pt x="36948" y="15730"/>
                  </a:lnTo>
                  <a:lnTo>
                    <a:pt x="34022" y="12072"/>
                  </a:lnTo>
                  <a:lnTo>
                    <a:pt x="34022" y="5487"/>
                  </a:lnTo>
                  <a:lnTo>
                    <a:pt x="25608" y="1463"/>
                  </a:lnTo>
                  <a:lnTo>
                    <a:pt x="27681" y="1463"/>
                  </a:lnTo>
                  <a:lnTo>
                    <a:pt x="1548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7" name="Freihandform: Form 506">
              <a:extLst>
                <a:ext uri="{FF2B5EF4-FFF2-40B4-BE49-F238E27FC236}">
                  <a16:creationId xmlns:a16="http://schemas.microsoft.com/office/drawing/2014/main" id="{94F14D46-A604-4999-A583-187251E2EDE4}"/>
                </a:ext>
              </a:extLst>
            </p:cNvPr>
            <p:cNvSpPr/>
            <p:nvPr/>
          </p:nvSpPr>
          <p:spPr>
            <a:xfrm>
              <a:off x="2862988" y="1808054"/>
              <a:ext cx="11584" cy="9389"/>
            </a:xfrm>
            <a:custGeom>
              <a:avLst/>
              <a:gdLst>
                <a:gd name="connsiteX0" fmla="*/ 1829 w 11584"/>
                <a:gd name="connsiteY0" fmla="*/ 6463 h 9389"/>
                <a:gd name="connsiteX1" fmla="*/ 7804 w 11584"/>
                <a:gd name="connsiteY1" fmla="*/ 9389 h 9389"/>
                <a:gd name="connsiteX2" fmla="*/ 11584 w 11584"/>
                <a:gd name="connsiteY2" fmla="*/ 3902 h 9389"/>
                <a:gd name="connsiteX3" fmla="*/ 7682 w 11584"/>
                <a:gd name="connsiteY3" fmla="*/ 0 h 9389"/>
                <a:gd name="connsiteX4" fmla="*/ 0 w 11584"/>
                <a:gd name="connsiteY4" fmla="*/ 0 h 9389"/>
                <a:gd name="connsiteX5" fmla="*/ 1829 w 11584"/>
                <a:gd name="connsiteY5" fmla="*/ 6463 h 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84" h="9389">
                  <a:moveTo>
                    <a:pt x="1829" y="6463"/>
                  </a:moveTo>
                  <a:lnTo>
                    <a:pt x="7804" y="9389"/>
                  </a:lnTo>
                  <a:lnTo>
                    <a:pt x="11584" y="3902"/>
                  </a:lnTo>
                  <a:lnTo>
                    <a:pt x="7682" y="0"/>
                  </a:lnTo>
                  <a:lnTo>
                    <a:pt x="0" y="0"/>
                  </a:lnTo>
                  <a:lnTo>
                    <a:pt x="1829" y="6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8" name="Freihandform: Form 507">
              <a:extLst>
                <a:ext uri="{FF2B5EF4-FFF2-40B4-BE49-F238E27FC236}">
                  <a16:creationId xmlns:a16="http://schemas.microsoft.com/office/drawing/2014/main" id="{74B1A382-E242-40E0-96AB-8E3981D46628}"/>
                </a:ext>
              </a:extLst>
            </p:cNvPr>
            <p:cNvSpPr/>
            <p:nvPr/>
          </p:nvSpPr>
          <p:spPr>
            <a:xfrm>
              <a:off x="2851038" y="1594778"/>
              <a:ext cx="2804" cy="3170"/>
            </a:xfrm>
            <a:custGeom>
              <a:avLst/>
              <a:gdLst>
                <a:gd name="connsiteX0" fmla="*/ 2805 w 2804"/>
                <a:gd name="connsiteY0" fmla="*/ 3170 h 3170"/>
                <a:gd name="connsiteX1" fmla="*/ 2805 w 2804"/>
                <a:gd name="connsiteY1" fmla="*/ 366 h 3170"/>
                <a:gd name="connsiteX2" fmla="*/ 0 w 2804"/>
                <a:gd name="connsiteY2" fmla="*/ 0 h 3170"/>
                <a:gd name="connsiteX3" fmla="*/ 0 w 2804"/>
                <a:gd name="connsiteY3" fmla="*/ 2195 h 3170"/>
                <a:gd name="connsiteX4" fmla="*/ 2805 w 2804"/>
                <a:gd name="connsiteY4" fmla="*/ 3170 h 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4" h="3170">
                  <a:moveTo>
                    <a:pt x="2805" y="3170"/>
                  </a:moveTo>
                  <a:lnTo>
                    <a:pt x="2805" y="366"/>
                  </a:lnTo>
                  <a:lnTo>
                    <a:pt x="0" y="0"/>
                  </a:lnTo>
                  <a:lnTo>
                    <a:pt x="0" y="2195"/>
                  </a:lnTo>
                  <a:lnTo>
                    <a:pt x="2805" y="317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09" name="Freihandform: Form 508">
              <a:extLst>
                <a:ext uri="{FF2B5EF4-FFF2-40B4-BE49-F238E27FC236}">
                  <a16:creationId xmlns:a16="http://schemas.microsoft.com/office/drawing/2014/main" id="{D76B2BAE-002B-4743-A45B-B4B2F759F1F7}"/>
                </a:ext>
              </a:extLst>
            </p:cNvPr>
            <p:cNvSpPr/>
            <p:nvPr/>
          </p:nvSpPr>
          <p:spPr>
            <a:xfrm>
              <a:off x="2874572" y="1780495"/>
              <a:ext cx="2438" cy="2804"/>
            </a:xfrm>
            <a:custGeom>
              <a:avLst/>
              <a:gdLst>
                <a:gd name="connsiteX0" fmla="*/ 1707 w 2438"/>
                <a:gd name="connsiteY0" fmla="*/ 2805 h 2804"/>
                <a:gd name="connsiteX1" fmla="*/ 2439 w 2438"/>
                <a:gd name="connsiteY1" fmla="*/ 2317 h 2804"/>
                <a:gd name="connsiteX2" fmla="*/ 732 w 2438"/>
                <a:gd name="connsiteY2" fmla="*/ 0 h 2804"/>
                <a:gd name="connsiteX3" fmla="*/ 0 w 2438"/>
                <a:gd name="connsiteY3" fmla="*/ 488 h 2804"/>
                <a:gd name="connsiteX4" fmla="*/ 1707 w 2438"/>
                <a:gd name="connsiteY4" fmla="*/ 2805 h 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8" h="2804">
                  <a:moveTo>
                    <a:pt x="1707" y="2805"/>
                  </a:moveTo>
                  <a:lnTo>
                    <a:pt x="2439" y="2317"/>
                  </a:lnTo>
                  <a:lnTo>
                    <a:pt x="732" y="0"/>
                  </a:lnTo>
                  <a:lnTo>
                    <a:pt x="0" y="488"/>
                  </a:lnTo>
                  <a:lnTo>
                    <a:pt x="1707" y="28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0" name="Freihandform: Form 509">
              <a:extLst>
                <a:ext uri="{FF2B5EF4-FFF2-40B4-BE49-F238E27FC236}">
                  <a16:creationId xmlns:a16="http://schemas.microsoft.com/office/drawing/2014/main" id="{3865B113-5117-43BA-A85A-597D7ACB6A07}"/>
                </a:ext>
              </a:extLst>
            </p:cNvPr>
            <p:cNvSpPr/>
            <p:nvPr/>
          </p:nvSpPr>
          <p:spPr>
            <a:xfrm>
              <a:off x="3058095" y="1928045"/>
              <a:ext cx="6706" cy="5853"/>
            </a:xfrm>
            <a:custGeom>
              <a:avLst/>
              <a:gdLst>
                <a:gd name="connsiteX0" fmla="*/ 0 w 6706"/>
                <a:gd name="connsiteY0" fmla="*/ 5853 h 5853"/>
                <a:gd name="connsiteX1" fmla="*/ 4999 w 6706"/>
                <a:gd name="connsiteY1" fmla="*/ 5000 h 5853"/>
                <a:gd name="connsiteX2" fmla="*/ 6707 w 6706"/>
                <a:gd name="connsiteY2" fmla="*/ 1463 h 5853"/>
                <a:gd name="connsiteX3" fmla="*/ 5731 w 6706"/>
                <a:gd name="connsiteY3" fmla="*/ 0 h 5853"/>
                <a:gd name="connsiteX4" fmla="*/ 0 w 6706"/>
                <a:gd name="connsiteY4" fmla="*/ 3780 h 5853"/>
                <a:gd name="connsiteX5" fmla="*/ 0 w 6706"/>
                <a:gd name="connsiteY5" fmla="*/ 5853 h 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06" h="5853">
                  <a:moveTo>
                    <a:pt x="0" y="5853"/>
                  </a:moveTo>
                  <a:lnTo>
                    <a:pt x="4999" y="5000"/>
                  </a:lnTo>
                  <a:lnTo>
                    <a:pt x="6707" y="1463"/>
                  </a:lnTo>
                  <a:lnTo>
                    <a:pt x="5731" y="0"/>
                  </a:lnTo>
                  <a:lnTo>
                    <a:pt x="0" y="3780"/>
                  </a:lnTo>
                  <a:lnTo>
                    <a:pt x="0" y="58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1" name="Freihandform: Form 510">
              <a:extLst>
                <a:ext uri="{FF2B5EF4-FFF2-40B4-BE49-F238E27FC236}">
                  <a16:creationId xmlns:a16="http://schemas.microsoft.com/office/drawing/2014/main" id="{8D5358B4-F6AB-4990-9A2E-A1DD02F846EE}"/>
                </a:ext>
              </a:extLst>
            </p:cNvPr>
            <p:cNvSpPr/>
            <p:nvPr/>
          </p:nvSpPr>
          <p:spPr>
            <a:xfrm>
              <a:off x="2882621" y="1797202"/>
              <a:ext cx="10974" cy="9145"/>
            </a:xfrm>
            <a:custGeom>
              <a:avLst/>
              <a:gdLst>
                <a:gd name="connsiteX0" fmla="*/ 732 w 10974"/>
                <a:gd name="connsiteY0" fmla="*/ 3414 h 9145"/>
                <a:gd name="connsiteX1" fmla="*/ 5609 w 10974"/>
                <a:gd name="connsiteY1" fmla="*/ 8292 h 9145"/>
                <a:gd name="connsiteX2" fmla="*/ 10975 w 10974"/>
                <a:gd name="connsiteY2" fmla="*/ 9146 h 9145"/>
                <a:gd name="connsiteX3" fmla="*/ 10975 w 10974"/>
                <a:gd name="connsiteY3" fmla="*/ 7073 h 9145"/>
                <a:gd name="connsiteX4" fmla="*/ 1585 w 10974"/>
                <a:gd name="connsiteY4" fmla="*/ 0 h 9145"/>
                <a:gd name="connsiteX5" fmla="*/ 0 w 10974"/>
                <a:gd name="connsiteY5" fmla="*/ 1097 h 9145"/>
                <a:gd name="connsiteX6" fmla="*/ 732 w 10974"/>
                <a:gd name="connsiteY6" fmla="*/ 3414 h 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4" h="9145">
                  <a:moveTo>
                    <a:pt x="732" y="3414"/>
                  </a:moveTo>
                  <a:lnTo>
                    <a:pt x="5609" y="8292"/>
                  </a:lnTo>
                  <a:lnTo>
                    <a:pt x="10975" y="9146"/>
                  </a:lnTo>
                  <a:lnTo>
                    <a:pt x="10975" y="7073"/>
                  </a:lnTo>
                  <a:lnTo>
                    <a:pt x="1585" y="0"/>
                  </a:lnTo>
                  <a:lnTo>
                    <a:pt x="0" y="1097"/>
                  </a:lnTo>
                  <a:lnTo>
                    <a:pt x="732" y="341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2" name="Freihandform: Form 511">
              <a:extLst>
                <a:ext uri="{FF2B5EF4-FFF2-40B4-BE49-F238E27FC236}">
                  <a16:creationId xmlns:a16="http://schemas.microsoft.com/office/drawing/2014/main" id="{D91E2D47-CB4E-4069-A6C9-7EDF75D72A01}"/>
                </a:ext>
              </a:extLst>
            </p:cNvPr>
            <p:cNvSpPr/>
            <p:nvPr/>
          </p:nvSpPr>
          <p:spPr>
            <a:xfrm>
              <a:off x="2797627" y="2196560"/>
              <a:ext cx="17193" cy="11706"/>
            </a:xfrm>
            <a:custGeom>
              <a:avLst/>
              <a:gdLst>
                <a:gd name="connsiteX0" fmla="*/ 4878 w 17193"/>
                <a:gd name="connsiteY0" fmla="*/ 0 h 11706"/>
                <a:gd name="connsiteX1" fmla="*/ 0 w 17193"/>
                <a:gd name="connsiteY1" fmla="*/ 2805 h 11706"/>
                <a:gd name="connsiteX2" fmla="*/ 0 w 17193"/>
                <a:gd name="connsiteY2" fmla="*/ 4512 h 11706"/>
                <a:gd name="connsiteX3" fmla="*/ 6585 w 17193"/>
                <a:gd name="connsiteY3" fmla="*/ 5365 h 11706"/>
                <a:gd name="connsiteX4" fmla="*/ 11097 w 17193"/>
                <a:gd name="connsiteY4" fmla="*/ 11706 h 11706"/>
                <a:gd name="connsiteX5" fmla="*/ 17194 w 17193"/>
                <a:gd name="connsiteY5" fmla="*/ 11097 h 11706"/>
                <a:gd name="connsiteX6" fmla="*/ 16584 w 17193"/>
                <a:gd name="connsiteY6" fmla="*/ 6341 h 11706"/>
                <a:gd name="connsiteX7" fmla="*/ 10975 w 17193"/>
                <a:gd name="connsiteY7" fmla="*/ 854 h 11706"/>
                <a:gd name="connsiteX8" fmla="*/ 4878 w 17193"/>
                <a:gd name="connsiteY8" fmla="*/ 0 h 11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93" h="11706">
                  <a:moveTo>
                    <a:pt x="4878" y="0"/>
                  </a:moveTo>
                  <a:lnTo>
                    <a:pt x="0" y="2805"/>
                  </a:lnTo>
                  <a:lnTo>
                    <a:pt x="0" y="4512"/>
                  </a:lnTo>
                  <a:lnTo>
                    <a:pt x="6585" y="5365"/>
                  </a:lnTo>
                  <a:lnTo>
                    <a:pt x="11097" y="11706"/>
                  </a:lnTo>
                  <a:lnTo>
                    <a:pt x="17194" y="11097"/>
                  </a:lnTo>
                  <a:lnTo>
                    <a:pt x="16584" y="6341"/>
                  </a:lnTo>
                  <a:lnTo>
                    <a:pt x="10975" y="854"/>
                  </a:lnTo>
                  <a:lnTo>
                    <a:pt x="487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3" name="Freihandform: Form 512">
              <a:extLst>
                <a:ext uri="{FF2B5EF4-FFF2-40B4-BE49-F238E27FC236}">
                  <a16:creationId xmlns:a16="http://schemas.microsoft.com/office/drawing/2014/main" id="{E9A56D75-9FFB-49F2-8FD8-810357F0C980}"/>
                </a:ext>
              </a:extLst>
            </p:cNvPr>
            <p:cNvSpPr/>
            <p:nvPr/>
          </p:nvSpPr>
          <p:spPr>
            <a:xfrm>
              <a:off x="2761898" y="1823907"/>
              <a:ext cx="27802" cy="23656"/>
            </a:xfrm>
            <a:custGeom>
              <a:avLst/>
              <a:gdLst>
                <a:gd name="connsiteX0" fmla="*/ 1097 w 27802"/>
                <a:gd name="connsiteY0" fmla="*/ 9999 h 23656"/>
                <a:gd name="connsiteX1" fmla="*/ 0 w 27802"/>
                <a:gd name="connsiteY1" fmla="*/ 23657 h 23656"/>
                <a:gd name="connsiteX2" fmla="*/ 9511 w 27802"/>
                <a:gd name="connsiteY2" fmla="*/ 22559 h 23656"/>
                <a:gd name="connsiteX3" fmla="*/ 26827 w 27802"/>
                <a:gd name="connsiteY3" fmla="*/ 7926 h 23656"/>
                <a:gd name="connsiteX4" fmla="*/ 27803 w 27802"/>
                <a:gd name="connsiteY4" fmla="*/ 0 h 23656"/>
                <a:gd name="connsiteX5" fmla="*/ 11219 w 27802"/>
                <a:gd name="connsiteY5" fmla="*/ 1219 h 23656"/>
                <a:gd name="connsiteX6" fmla="*/ 1097 w 27802"/>
                <a:gd name="connsiteY6" fmla="*/ 9999 h 23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02" h="23656">
                  <a:moveTo>
                    <a:pt x="1097" y="9999"/>
                  </a:moveTo>
                  <a:lnTo>
                    <a:pt x="0" y="23657"/>
                  </a:lnTo>
                  <a:lnTo>
                    <a:pt x="9511" y="22559"/>
                  </a:lnTo>
                  <a:lnTo>
                    <a:pt x="26827" y="7926"/>
                  </a:lnTo>
                  <a:lnTo>
                    <a:pt x="27803" y="0"/>
                  </a:lnTo>
                  <a:lnTo>
                    <a:pt x="11219" y="1219"/>
                  </a:lnTo>
                  <a:lnTo>
                    <a:pt x="1097" y="999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4" name="Freihandform: Form 513">
              <a:extLst>
                <a:ext uri="{FF2B5EF4-FFF2-40B4-BE49-F238E27FC236}">
                  <a16:creationId xmlns:a16="http://schemas.microsoft.com/office/drawing/2014/main" id="{0FFFF2AA-2613-4E9C-8BD2-2E14A0077055}"/>
                </a:ext>
              </a:extLst>
            </p:cNvPr>
            <p:cNvSpPr/>
            <p:nvPr/>
          </p:nvSpPr>
          <p:spPr>
            <a:xfrm>
              <a:off x="2883840" y="1567585"/>
              <a:ext cx="5365" cy="4511"/>
            </a:xfrm>
            <a:custGeom>
              <a:avLst/>
              <a:gdLst>
                <a:gd name="connsiteX0" fmla="*/ 488 w 5365"/>
                <a:gd name="connsiteY0" fmla="*/ 0 h 4511"/>
                <a:gd name="connsiteX1" fmla="*/ 0 w 5365"/>
                <a:gd name="connsiteY1" fmla="*/ 1829 h 4511"/>
                <a:gd name="connsiteX2" fmla="*/ 1219 w 5365"/>
                <a:gd name="connsiteY2" fmla="*/ 4512 h 4511"/>
                <a:gd name="connsiteX3" fmla="*/ 5365 w 5365"/>
                <a:gd name="connsiteY3" fmla="*/ 1341 h 4511"/>
                <a:gd name="connsiteX4" fmla="*/ 4024 w 5365"/>
                <a:gd name="connsiteY4" fmla="*/ 488 h 4511"/>
                <a:gd name="connsiteX5" fmla="*/ 488 w 5365"/>
                <a:gd name="connsiteY5" fmla="*/ 0 h 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5" h="4511">
                  <a:moveTo>
                    <a:pt x="488" y="0"/>
                  </a:moveTo>
                  <a:lnTo>
                    <a:pt x="0" y="1829"/>
                  </a:lnTo>
                  <a:lnTo>
                    <a:pt x="1219" y="4512"/>
                  </a:lnTo>
                  <a:lnTo>
                    <a:pt x="5365" y="1341"/>
                  </a:lnTo>
                  <a:lnTo>
                    <a:pt x="4024" y="488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5" name="Freihandform: Form 514">
              <a:extLst>
                <a:ext uri="{FF2B5EF4-FFF2-40B4-BE49-F238E27FC236}">
                  <a16:creationId xmlns:a16="http://schemas.microsoft.com/office/drawing/2014/main" id="{50416CC2-C064-402E-BACC-5E5624EDED4E}"/>
                </a:ext>
              </a:extLst>
            </p:cNvPr>
            <p:cNvSpPr/>
            <p:nvPr/>
          </p:nvSpPr>
          <p:spPr>
            <a:xfrm>
              <a:off x="2939079" y="1613314"/>
              <a:ext cx="10974" cy="2560"/>
            </a:xfrm>
            <a:custGeom>
              <a:avLst/>
              <a:gdLst>
                <a:gd name="connsiteX0" fmla="*/ 8170 w 10974"/>
                <a:gd name="connsiteY0" fmla="*/ 0 h 2560"/>
                <a:gd name="connsiteX1" fmla="*/ 0 w 10974"/>
                <a:gd name="connsiteY1" fmla="*/ 0 h 2560"/>
                <a:gd name="connsiteX2" fmla="*/ 5365 w 10974"/>
                <a:gd name="connsiteY2" fmla="*/ 2561 h 2560"/>
                <a:gd name="connsiteX3" fmla="*/ 10975 w 10974"/>
                <a:gd name="connsiteY3" fmla="*/ 2561 h 2560"/>
                <a:gd name="connsiteX4" fmla="*/ 8170 w 10974"/>
                <a:gd name="connsiteY4" fmla="*/ 0 h 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4" h="2560">
                  <a:moveTo>
                    <a:pt x="8170" y="0"/>
                  </a:moveTo>
                  <a:lnTo>
                    <a:pt x="0" y="0"/>
                  </a:lnTo>
                  <a:lnTo>
                    <a:pt x="5365" y="2561"/>
                  </a:lnTo>
                  <a:lnTo>
                    <a:pt x="10975" y="2561"/>
                  </a:lnTo>
                  <a:lnTo>
                    <a:pt x="817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6" name="Freihandform: Form 515">
              <a:extLst>
                <a:ext uri="{FF2B5EF4-FFF2-40B4-BE49-F238E27FC236}">
                  <a16:creationId xmlns:a16="http://schemas.microsoft.com/office/drawing/2014/main" id="{7B3B50BA-16EE-41B4-B70E-D64C4CCC519B}"/>
                </a:ext>
              </a:extLst>
            </p:cNvPr>
            <p:cNvSpPr/>
            <p:nvPr/>
          </p:nvSpPr>
          <p:spPr>
            <a:xfrm>
              <a:off x="2920544" y="1593559"/>
              <a:ext cx="2194" cy="2194"/>
            </a:xfrm>
            <a:custGeom>
              <a:avLst/>
              <a:gdLst>
                <a:gd name="connsiteX0" fmla="*/ 2195 w 2194"/>
                <a:gd name="connsiteY0" fmla="*/ 0 h 2194"/>
                <a:gd name="connsiteX1" fmla="*/ 0 w 2194"/>
                <a:gd name="connsiteY1" fmla="*/ 610 h 2194"/>
                <a:gd name="connsiteX2" fmla="*/ 0 w 2194"/>
                <a:gd name="connsiteY2" fmla="*/ 1585 h 2194"/>
                <a:gd name="connsiteX3" fmla="*/ 1829 w 2194"/>
                <a:gd name="connsiteY3" fmla="*/ 2195 h 2194"/>
                <a:gd name="connsiteX4" fmla="*/ 2195 w 2194"/>
                <a:gd name="connsiteY4" fmla="*/ 0 h 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4" h="2194">
                  <a:moveTo>
                    <a:pt x="2195" y="0"/>
                  </a:moveTo>
                  <a:lnTo>
                    <a:pt x="0" y="610"/>
                  </a:lnTo>
                  <a:lnTo>
                    <a:pt x="0" y="1585"/>
                  </a:lnTo>
                  <a:lnTo>
                    <a:pt x="1829" y="2195"/>
                  </a:lnTo>
                  <a:lnTo>
                    <a:pt x="219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7" name="Freihandform: Form 516">
              <a:extLst>
                <a:ext uri="{FF2B5EF4-FFF2-40B4-BE49-F238E27FC236}">
                  <a16:creationId xmlns:a16="http://schemas.microsoft.com/office/drawing/2014/main" id="{B1F16920-EBAB-42CB-8A01-F2D2404D526D}"/>
                </a:ext>
              </a:extLst>
            </p:cNvPr>
            <p:cNvSpPr/>
            <p:nvPr/>
          </p:nvSpPr>
          <p:spPr>
            <a:xfrm>
              <a:off x="2836039" y="2082301"/>
              <a:ext cx="11096" cy="18291"/>
            </a:xfrm>
            <a:custGeom>
              <a:avLst/>
              <a:gdLst>
                <a:gd name="connsiteX0" fmla="*/ 7682 w 11096"/>
                <a:gd name="connsiteY0" fmla="*/ 13536 h 18291"/>
                <a:gd name="connsiteX1" fmla="*/ 11097 w 11096"/>
                <a:gd name="connsiteY1" fmla="*/ 3292 h 18291"/>
                <a:gd name="connsiteX2" fmla="*/ 10731 w 11096"/>
                <a:gd name="connsiteY2" fmla="*/ 0 h 18291"/>
                <a:gd name="connsiteX3" fmla="*/ 8536 w 11096"/>
                <a:gd name="connsiteY3" fmla="*/ 1097 h 18291"/>
                <a:gd name="connsiteX4" fmla="*/ 6707 w 11096"/>
                <a:gd name="connsiteY4" fmla="*/ 10243 h 18291"/>
                <a:gd name="connsiteX5" fmla="*/ 0 w 11096"/>
                <a:gd name="connsiteY5" fmla="*/ 16096 h 18291"/>
                <a:gd name="connsiteX6" fmla="*/ 1463 w 11096"/>
                <a:gd name="connsiteY6" fmla="*/ 18291 h 18291"/>
                <a:gd name="connsiteX7" fmla="*/ 7682 w 11096"/>
                <a:gd name="connsiteY7" fmla="*/ 13536 h 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96" h="18291">
                  <a:moveTo>
                    <a:pt x="7682" y="13536"/>
                  </a:moveTo>
                  <a:lnTo>
                    <a:pt x="11097" y="3292"/>
                  </a:lnTo>
                  <a:lnTo>
                    <a:pt x="10731" y="0"/>
                  </a:lnTo>
                  <a:lnTo>
                    <a:pt x="8536" y="1097"/>
                  </a:lnTo>
                  <a:lnTo>
                    <a:pt x="6707" y="10243"/>
                  </a:lnTo>
                  <a:lnTo>
                    <a:pt x="0" y="16096"/>
                  </a:lnTo>
                  <a:lnTo>
                    <a:pt x="1463" y="18291"/>
                  </a:lnTo>
                  <a:lnTo>
                    <a:pt x="7682" y="1353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8" name="Freihandform: Form 517">
              <a:extLst>
                <a:ext uri="{FF2B5EF4-FFF2-40B4-BE49-F238E27FC236}">
                  <a16:creationId xmlns:a16="http://schemas.microsoft.com/office/drawing/2014/main" id="{AB7E0A26-D9C9-4ABC-9891-B83E6B64C466}"/>
                </a:ext>
              </a:extLst>
            </p:cNvPr>
            <p:cNvSpPr/>
            <p:nvPr/>
          </p:nvSpPr>
          <p:spPr>
            <a:xfrm>
              <a:off x="2829820" y="1850856"/>
              <a:ext cx="15364" cy="27802"/>
            </a:xfrm>
            <a:custGeom>
              <a:avLst/>
              <a:gdLst>
                <a:gd name="connsiteX0" fmla="*/ 8536 w 15364"/>
                <a:gd name="connsiteY0" fmla="*/ 19511 h 27802"/>
                <a:gd name="connsiteX1" fmla="*/ 15365 w 15364"/>
                <a:gd name="connsiteY1" fmla="*/ 11341 h 27802"/>
                <a:gd name="connsiteX2" fmla="*/ 13170 w 15364"/>
                <a:gd name="connsiteY2" fmla="*/ 0 h 27802"/>
                <a:gd name="connsiteX3" fmla="*/ 4634 w 15364"/>
                <a:gd name="connsiteY3" fmla="*/ 1098 h 27802"/>
                <a:gd name="connsiteX4" fmla="*/ 1219 w 15364"/>
                <a:gd name="connsiteY4" fmla="*/ 5487 h 27802"/>
                <a:gd name="connsiteX5" fmla="*/ 0 w 15364"/>
                <a:gd name="connsiteY5" fmla="*/ 22193 h 27802"/>
                <a:gd name="connsiteX6" fmla="*/ 7438 w 15364"/>
                <a:gd name="connsiteY6" fmla="*/ 27803 h 27802"/>
                <a:gd name="connsiteX7" fmla="*/ 8536 w 15364"/>
                <a:gd name="connsiteY7" fmla="*/ 19511 h 2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64" h="27802">
                  <a:moveTo>
                    <a:pt x="8536" y="19511"/>
                  </a:moveTo>
                  <a:lnTo>
                    <a:pt x="15365" y="11341"/>
                  </a:lnTo>
                  <a:lnTo>
                    <a:pt x="13170" y="0"/>
                  </a:lnTo>
                  <a:lnTo>
                    <a:pt x="4634" y="1098"/>
                  </a:lnTo>
                  <a:lnTo>
                    <a:pt x="1219" y="5487"/>
                  </a:lnTo>
                  <a:lnTo>
                    <a:pt x="0" y="22193"/>
                  </a:lnTo>
                  <a:lnTo>
                    <a:pt x="7438" y="27803"/>
                  </a:lnTo>
                  <a:lnTo>
                    <a:pt x="8536" y="1951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19" name="Freihandform: Form 518">
              <a:extLst>
                <a:ext uri="{FF2B5EF4-FFF2-40B4-BE49-F238E27FC236}">
                  <a16:creationId xmlns:a16="http://schemas.microsoft.com/office/drawing/2014/main" id="{A95DDC43-2AFD-48DE-8596-8228BB0A6314}"/>
                </a:ext>
              </a:extLst>
            </p:cNvPr>
            <p:cNvSpPr/>
            <p:nvPr/>
          </p:nvSpPr>
          <p:spPr>
            <a:xfrm>
              <a:off x="2522405" y="1384551"/>
              <a:ext cx="100114" cy="85724"/>
            </a:xfrm>
            <a:custGeom>
              <a:avLst/>
              <a:gdLst>
                <a:gd name="connsiteX0" fmla="*/ 43045 w 100114"/>
                <a:gd name="connsiteY0" fmla="*/ 54386 h 85724"/>
                <a:gd name="connsiteX1" fmla="*/ 57556 w 100114"/>
                <a:gd name="connsiteY1" fmla="*/ 54508 h 85724"/>
                <a:gd name="connsiteX2" fmla="*/ 66214 w 100114"/>
                <a:gd name="connsiteY2" fmla="*/ 56703 h 85724"/>
                <a:gd name="connsiteX3" fmla="*/ 100114 w 100114"/>
                <a:gd name="connsiteY3" fmla="*/ 15852 h 85724"/>
                <a:gd name="connsiteX4" fmla="*/ 99139 w 100114"/>
                <a:gd name="connsiteY4" fmla="*/ 8292 h 85724"/>
                <a:gd name="connsiteX5" fmla="*/ 74141 w 100114"/>
                <a:gd name="connsiteY5" fmla="*/ 5853 h 85724"/>
                <a:gd name="connsiteX6" fmla="*/ 63775 w 100114"/>
                <a:gd name="connsiteY6" fmla="*/ 7682 h 85724"/>
                <a:gd name="connsiteX7" fmla="*/ 63775 w 100114"/>
                <a:gd name="connsiteY7" fmla="*/ 7682 h 85724"/>
                <a:gd name="connsiteX8" fmla="*/ 49508 w 100114"/>
                <a:gd name="connsiteY8" fmla="*/ 0 h 85724"/>
                <a:gd name="connsiteX9" fmla="*/ 31461 w 100114"/>
                <a:gd name="connsiteY9" fmla="*/ 3414 h 85724"/>
                <a:gd name="connsiteX10" fmla="*/ 20364 w 100114"/>
                <a:gd name="connsiteY10" fmla="*/ 1707 h 85724"/>
                <a:gd name="connsiteX11" fmla="*/ 6707 w 100114"/>
                <a:gd name="connsiteY11" fmla="*/ 7438 h 85724"/>
                <a:gd name="connsiteX12" fmla="*/ 15121 w 100114"/>
                <a:gd name="connsiteY12" fmla="*/ 11828 h 85724"/>
                <a:gd name="connsiteX13" fmla="*/ 15121 w 100114"/>
                <a:gd name="connsiteY13" fmla="*/ 20242 h 85724"/>
                <a:gd name="connsiteX14" fmla="*/ 4634 w 100114"/>
                <a:gd name="connsiteY14" fmla="*/ 17072 h 85724"/>
                <a:gd name="connsiteX15" fmla="*/ 976 w 100114"/>
                <a:gd name="connsiteY15" fmla="*/ 18779 h 85724"/>
                <a:gd name="connsiteX16" fmla="*/ 2439 w 100114"/>
                <a:gd name="connsiteY16" fmla="*/ 50362 h 85724"/>
                <a:gd name="connsiteX17" fmla="*/ 0 w 100114"/>
                <a:gd name="connsiteY17" fmla="*/ 53898 h 85724"/>
                <a:gd name="connsiteX18" fmla="*/ 7926 w 100114"/>
                <a:gd name="connsiteY18" fmla="*/ 65970 h 85724"/>
                <a:gd name="connsiteX19" fmla="*/ 10609 w 100114"/>
                <a:gd name="connsiteY19" fmla="*/ 85603 h 85724"/>
                <a:gd name="connsiteX20" fmla="*/ 14389 w 100114"/>
                <a:gd name="connsiteY20" fmla="*/ 84993 h 85724"/>
                <a:gd name="connsiteX21" fmla="*/ 24876 w 100114"/>
                <a:gd name="connsiteY21" fmla="*/ 85725 h 85724"/>
                <a:gd name="connsiteX22" fmla="*/ 37070 w 100114"/>
                <a:gd name="connsiteY22" fmla="*/ 69507 h 85724"/>
                <a:gd name="connsiteX23" fmla="*/ 21218 w 100114"/>
                <a:gd name="connsiteY23" fmla="*/ 55240 h 85724"/>
                <a:gd name="connsiteX24" fmla="*/ 34266 w 100114"/>
                <a:gd name="connsiteY24" fmla="*/ 52679 h 85724"/>
                <a:gd name="connsiteX25" fmla="*/ 43045 w 100114"/>
                <a:gd name="connsiteY25" fmla="*/ 54386 h 8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0114" h="85724">
                  <a:moveTo>
                    <a:pt x="43045" y="54386"/>
                  </a:moveTo>
                  <a:lnTo>
                    <a:pt x="57556" y="54508"/>
                  </a:lnTo>
                  <a:lnTo>
                    <a:pt x="66214" y="56703"/>
                  </a:lnTo>
                  <a:lnTo>
                    <a:pt x="100114" y="15852"/>
                  </a:lnTo>
                  <a:lnTo>
                    <a:pt x="99139" y="8292"/>
                  </a:lnTo>
                  <a:lnTo>
                    <a:pt x="74141" y="5853"/>
                  </a:lnTo>
                  <a:lnTo>
                    <a:pt x="63775" y="7682"/>
                  </a:lnTo>
                  <a:lnTo>
                    <a:pt x="63775" y="7682"/>
                  </a:lnTo>
                  <a:lnTo>
                    <a:pt x="49508" y="0"/>
                  </a:lnTo>
                  <a:lnTo>
                    <a:pt x="31461" y="3414"/>
                  </a:lnTo>
                  <a:lnTo>
                    <a:pt x="20364" y="1707"/>
                  </a:lnTo>
                  <a:lnTo>
                    <a:pt x="6707" y="7438"/>
                  </a:lnTo>
                  <a:lnTo>
                    <a:pt x="15121" y="11828"/>
                  </a:lnTo>
                  <a:lnTo>
                    <a:pt x="15121" y="20242"/>
                  </a:lnTo>
                  <a:lnTo>
                    <a:pt x="4634" y="17072"/>
                  </a:lnTo>
                  <a:lnTo>
                    <a:pt x="976" y="18779"/>
                  </a:lnTo>
                  <a:lnTo>
                    <a:pt x="2439" y="50362"/>
                  </a:lnTo>
                  <a:lnTo>
                    <a:pt x="0" y="53898"/>
                  </a:lnTo>
                  <a:lnTo>
                    <a:pt x="7926" y="65970"/>
                  </a:lnTo>
                  <a:lnTo>
                    <a:pt x="10609" y="85603"/>
                  </a:lnTo>
                  <a:lnTo>
                    <a:pt x="14389" y="84993"/>
                  </a:lnTo>
                  <a:lnTo>
                    <a:pt x="24876" y="85725"/>
                  </a:lnTo>
                  <a:lnTo>
                    <a:pt x="37070" y="69507"/>
                  </a:lnTo>
                  <a:lnTo>
                    <a:pt x="21218" y="55240"/>
                  </a:lnTo>
                  <a:lnTo>
                    <a:pt x="34266" y="52679"/>
                  </a:lnTo>
                  <a:lnTo>
                    <a:pt x="43045" y="5438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0" name="Freihandform: Form 519">
              <a:extLst>
                <a:ext uri="{FF2B5EF4-FFF2-40B4-BE49-F238E27FC236}">
                  <a16:creationId xmlns:a16="http://schemas.microsoft.com/office/drawing/2014/main" id="{9A0C18A9-1369-4402-A3EB-A6F005B00867}"/>
                </a:ext>
              </a:extLst>
            </p:cNvPr>
            <p:cNvSpPr/>
            <p:nvPr/>
          </p:nvSpPr>
          <p:spPr>
            <a:xfrm>
              <a:off x="2904326" y="1178714"/>
              <a:ext cx="30973" cy="5609"/>
            </a:xfrm>
            <a:custGeom>
              <a:avLst/>
              <a:gdLst>
                <a:gd name="connsiteX0" fmla="*/ 0 w 30973"/>
                <a:gd name="connsiteY0" fmla="*/ 244 h 5609"/>
                <a:gd name="connsiteX1" fmla="*/ 6097 w 30973"/>
                <a:gd name="connsiteY1" fmla="*/ 732 h 5609"/>
                <a:gd name="connsiteX2" fmla="*/ 16462 w 30973"/>
                <a:gd name="connsiteY2" fmla="*/ 5609 h 5609"/>
                <a:gd name="connsiteX3" fmla="*/ 29632 w 30973"/>
                <a:gd name="connsiteY3" fmla="*/ 5609 h 5609"/>
                <a:gd name="connsiteX4" fmla="*/ 30973 w 30973"/>
                <a:gd name="connsiteY4" fmla="*/ 2317 h 5609"/>
                <a:gd name="connsiteX5" fmla="*/ 2683 w 30973"/>
                <a:gd name="connsiteY5" fmla="*/ 0 h 5609"/>
                <a:gd name="connsiteX6" fmla="*/ 0 w 30973"/>
                <a:gd name="connsiteY6" fmla="*/ 244 h 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73" h="5609">
                  <a:moveTo>
                    <a:pt x="0" y="244"/>
                  </a:moveTo>
                  <a:lnTo>
                    <a:pt x="6097" y="732"/>
                  </a:lnTo>
                  <a:lnTo>
                    <a:pt x="16462" y="5609"/>
                  </a:lnTo>
                  <a:lnTo>
                    <a:pt x="29632" y="5609"/>
                  </a:lnTo>
                  <a:lnTo>
                    <a:pt x="30973" y="2317"/>
                  </a:lnTo>
                  <a:lnTo>
                    <a:pt x="2683" y="0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1" name="Freihandform: Form 520">
              <a:extLst>
                <a:ext uri="{FF2B5EF4-FFF2-40B4-BE49-F238E27FC236}">
                  <a16:creationId xmlns:a16="http://schemas.microsoft.com/office/drawing/2014/main" id="{20E8EC9C-03B7-47F1-B278-3C995DCE2693}"/>
                </a:ext>
              </a:extLst>
            </p:cNvPr>
            <p:cNvSpPr/>
            <p:nvPr/>
          </p:nvSpPr>
          <p:spPr>
            <a:xfrm>
              <a:off x="2644590" y="1236392"/>
              <a:ext cx="109747" cy="58288"/>
            </a:xfrm>
            <a:custGeom>
              <a:avLst/>
              <a:gdLst>
                <a:gd name="connsiteX0" fmla="*/ 42314 w 109747"/>
                <a:gd name="connsiteY0" fmla="*/ 32924 h 58288"/>
                <a:gd name="connsiteX1" fmla="*/ 29144 w 109747"/>
                <a:gd name="connsiteY1" fmla="*/ 34144 h 58288"/>
                <a:gd name="connsiteX2" fmla="*/ 20974 w 109747"/>
                <a:gd name="connsiteY2" fmla="*/ 34144 h 58288"/>
                <a:gd name="connsiteX3" fmla="*/ 9755 w 109747"/>
                <a:gd name="connsiteY3" fmla="*/ 41094 h 58288"/>
                <a:gd name="connsiteX4" fmla="*/ 0 w 109747"/>
                <a:gd name="connsiteY4" fmla="*/ 41704 h 58288"/>
                <a:gd name="connsiteX5" fmla="*/ 610 w 109747"/>
                <a:gd name="connsiteY5" fmla="*/ 52069 h 58288"/>
                <a:gd name="connsiteX6" fmla="*/ 9146 w 109747"/>
                <a:gd name="connsiteY6" fmla="*/ 52435 h 58288"/>
                <a:gd name="connsiteX7" fmla="*/ 13901 w 109747"/>
                <a:gd name="connsiteY7" fmla="*/ 47435 h 58288"/>
                <a:gd name="connsiteX8" fmla="*/ 19877 w 109747"/>
                <a:gd name="connsiteY8" fmla="*/ 48045 h 58288"/>
                <a:gd name="connsiteX9" fmla="*/ 22803 w 109747"/>
                <a:gd name="connsiteY9" fmla="*/ 54264 h 58288"/>
                <a:gd name="connsiteX10" fmla="*/ 31095 w 109747"/>
                <a:gd name="connsiteY10" fmla="*/ 55605 h 58288"/>
                <a:gd name="connsiteX11" fmla="*/ 32071 w 109747"/>
                <a:gd name="connsiteY11" fmla="*/ 54752 h 58288"/>
                <a:gd name="connsiteX12" fmla="*/ 30485 w 109747"/>
                <a:gd name="connsiteY12" fmla="*/ 50850 h 58288"/>
                <a:gd name="connsiteX13" fmla="*/ 39021 w 109747"/>
                <a:gd name="connsiteY13" fmla="*/ 50850 h 58288"/>
                <a:gd name="connsiteX14" fmla="*/ 44509 w 109747"/>
                <a:gd name="connsiteY14" fmla="*/ 54386 h 58288"/>
                <a:gd name="connsiteX15" fmla="*/ 50972 w 109747"/>
                <a:gd name="connsiteY15" fmla="*/ 53045 h 58288"/>
                <a:gd name="connsiteX16" fmla="*/ 53044 w 109747"/>
                <a:gd name="connsiteY16" fmla="*/ 48289 h 58288"/>
                <a:gd name="connsiteX17" fmla="*/ 65361 w 109747"/>
                <a:gd name="connsiteY17" fmla="*/ 48289 h 58288"/>
                <a:gd name="connsiteX18" fmla="*/ 64385 w 109747"/>
                <a:gd name="connsiteY18" fmla="*/ 56093 h 58288"/>
                <a:gd name="connsiteX19" fmla="*/ 74506 w 109747"/>
                <a:gd name="connsiteY19" fmla="*/ 57800 h 58288"/>
                <a:gd name="connsiteX20" fmla="*/ 84262 w 109747"/>
                <a:gd name="connsiteY20" fmla="*/ 58288 h 58288"/>
                <a:gd name="connsiteX21" fmla="*/ 75482 w 109747"/>
                <a:gd name="connsiteY21" fmla="*/ 51825 h 58288"/>
                <a:gd name="connsiteX22" fmla="*/ 84505 w 109747"/>
                <a:gd name="connsiteY22" fmla="*/ 48655 h 58288"/>
                <a:gd name="connsiteX23" fmla="*/ 94871 w 109747"/>
                <a:gd name="connsiteY23" fmla="*/ 50484 h 58288"/>
                <a:gd name="connsiteX24" fmla="*/ 99139 w 109747"/>
                <a:gd name="connsiteY24" fmla="*/ 53045 h 58288"/>
                <a:gd name="connsiteX25" fmla="*/ 100358 w 109747"/>
                <a:gd name="connsiteY25" fmla="*/ 52557 h 58288"/>
                <a:gd name="connsiteX26" fmla="*/ 98041 w 109747"/>
                <a:gd name="connsiteY26" fmla="*/ 49021 h 58288"/>
                <a:gd name="connsiteX27" fmla="*/ 109747 w 109747"/>
                <a:gd name="connsiteY27" fmla="*/ 47923 h 58288"/>
                <a:gd name="connsiteX28" fmla="*/ 98163 w 109747"/>
                <a:gd name="connsiteY28" fmla="*/ 22681 h 58288"/>
                <a:gd name="connsiteX29" fmla="*/ 93529 w 109747"/>
                <a:gd name="connsiteY29" fmla="*/ 23291 h 58288"/>
                <a:gd name="connsiteX30" fmla="*/ 66702 w 109747"/>
                <a:gd name="connsiteY30" fmla="*/ 16828 h 58288"/>
                <a:gd name="connsiteX31" fmla="*/ 60971 w 109747"/>
                <a:gd name="connsiteY31" fmla="*/ 5000 h 58288"/>
                <a:gd name="connsiteX32" fmla="*/ 45484 w 109747"/>
                <a:gd name="connsiteY32" fmla="*/ 0 h 58288"/>
                <a:gd name="connsiteX33" fmla="*/ 34509 w 109747"/>
                <a:gd name="connsiteY33" fmla="*/ 4146 h 58288"/>
                <a:gd name="connsiteX34" fmla="*/ 23169 w 109747"/>
                <a:gd name="connsiteY34" fmla="*/ 4634 h 58288"/>
                <a:gd name="connsiteX35" fmla="*/ 28412 w 109747"/>
                <a:gd name="connsiteY35" fmla="*/ 15609 h 58288"/>
                <a:gd name="connsiteX36" fmla="*/ 52801 w 109747"/>
                <a:gd name="connsiteY36" fmla="*/ 19511 h 58288"/>
                <a:gd name="connsiteX37" fmla="*/ 52801 w 109747"/>
                <a:gd name="connsiteY37" fmla="*/ 29388 h 58288"/>
                <a:gd name="connsiteX38" fmla="*/ 42314 w 109747"/>
                <a:gd name="connsiteY38" fmla="*/ 32924 h 5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9747" h="58288">
                  <a:moveTo>
                    <a:pt x="42314" y="32924"/>
                  </a:moveTo>
                  <a:lnTo>
                    <a:pt x="29144" y="34144"/>
                  </a:lnTo>
                  <a:lnTo>
                    <a:pt x="20974" y="34144"/>
                  </a:lnTo>
                  <a:lnTo>
                    <a:pt x="9755" y="41094"/>
                  </a:lnTo>
                  <a:lnTo>
                    <a:pt x="0" y="41704"/>
                  </a:lnTo>
                  <a:lnTo>
                    <a:pt x="610" y="52069"/>
                  </a:lnTo>
                  <a:lnTo>
                    <a:pt x="9146" y="52435"/>
                  </a:lnTo>
                  <a:lnTo>
                    <a:pt x="13901" y="47435"/>
                  </a:lnTo>
                  <a:lnTo>
                    <a:pt x="19877" y="48045"/>
                  </a:lnTo>
                  <a:lnTo>
                    <a:pt x="22803" y="54264"/>
                  </a:lnTo>
                  <a:lnTo>
                    <a:pt x="31095" y="55605"/>
                  </a:lnTo>
                  <a:lnTo>
                    <a:pt x="32071" y="54752"/>
                  </a:lnTo>
                  <a:lnTo>
                    <a:pt x="30485" y="50850"/>
                  </a:lnTo>
                  <a:lnTo>
                    <a:pt x="39021" y="50850"/>
                  </a:lnTo>
                  <a:lnTo>
                    <a:pt x="44509" y="54386"/>
                  </a:lnTo>
                  <a:lnTo>
                    <a:pt x="50972" y="53045"/>
                  </a:lnTo>
                  <a:lnTo>
                    <a:pt x="53044" y="48289"/>
                  </a:lnTo>
                  <a:lnTo>
                    <a:pt x="65361" y="48289"/>
                  </a:lnTo>
                  <a:lnTo>
                    <a:pt x="64385" y="56093"/>
                  </a:lnTo>
                  <a:lnTo>
                    <a:pt x="74506" y="57800"/>
                  </a:lnTo>
                  <a:lnTo>
                    <a:pt x="84262" y="58288"/>
                  </a:lnTo>
                  <a:lnTo>
                    <a:pt x="75482" y="51825"/>
                  </a:lnTo>
                  <a:lnTo>
                    <a:pt x="84505" y="48655"/>
                  </a:lnTo>
                  <a:lnTo>
                    <a:pt x="94871" y="50484"/>
                  </a:lnTo>
                  <a:lnTo>
                    <a:pt x="99139" y="53045"/>
                  </a:lnTo>
                  <a:lnTo>
                    <a:pt x="100358" y="52557"/>
                  </a:lnTo>
                  <a:lnTo>
                    <a:pt x="98041" y="49021"/>
                  </a:lnTo>
                  <a:lnTo>
                    <a:pt x="109747" y="47923"/>
                  </a:lnTo>
                  <a:lnTo>
                    <a:pt x="98163" y="22681"/>
                  </a:lnTo>
                  <a:lnTo>
                    <a:pt x="93529" y="23291"/>
                  </a:lnTo>
                  <a:lnTo>
                    <a:pt x="66702" y="16828"/>
                  </a:lnTo>
                  <a:lnTo>
                    <a:pt x="60971" y="5000"/>
                  </a:lnTo>
                  <a:lnTo>
                    <a:pt x="45484" y="0"/>
                  </a:lnTo>
                  <a:lnTo>
                    <a:pt x="34509" y="4146"/>
                  </a:lnTo>
                  <a:lnTo>
                    <a:pt x="23169" y="4634"/>
                  </a:lnTo>
                  <a:lnTo>
                    <a:pt x="28412" y="15609"/>
                  </a:lnTo>
                  <a:lnTo>
                    <a:pt x="52801" y="19511"/>
                  </a:lnTo>
                  <a:lnTo>
                    <a:pt x="52801" y="29388"/>
                  </a:lnTo>
                  <a:lnTo>
                    <a:pt x="42314" y="3292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2" name="Freihandform: Form 521">
              <a:extLst>
                <a:ext uri="{FF2B5EF4-FFF2-40B4-BE49-F238E27FC236}">
                  <a16:creationId xmlns:a16="http://schemas.microsoft.com/office/drawing/2014/main" id="{600A830C-D2CD-42F0-8899-25F2E2F783A5}"/>
                </a:ext>
              </a:extLst>
            </p:cNvPr>
            <p:cNvSpPr/>
            <p:nvPr/>
          </p:nvSpPr>
          <p:spPr>
            <a:xfrm>
              <a:off x="2634469" y="1398940"/>
              <a:ext cx="558126" cy="471426"/>
            </a:xfrm>
            <a:custGeom>
              <a:avLst/>
              <a:gdLst>
                <a:gd name="connsiteX0" fmla="*/ 339729 w 558126"/>
                <a:gd name="connsiteY0" fmla="*/ 96212 h 471426"/>
                <a:gd name="connsiteX1" fmla="*/ 329242 w 558126"/>
                <a:gd name="connsiteY1" fmla="*/ 101455 h 471426"/>
                <a:gd name="connsiteX2" fmla="*/ 323755 w 558126"/>
                <a:gd name="connsiteY2" fmla="*/ 98285 h 471426"/>
                <a:gd name="connsiteX3" fmla="*/ 319243 w 558126"/>
                <a:gd name="connsiteY3" fmla="*/ 101821 h 471426"/>
                <a:gd name="connsiteX4" fmla="*/ 310829 w 558126"/>
                <a:gd name="connsiteY4" fmla="*/ 94261 h 471426"/>
                <a:gd name="connsiteX5" fmla="*/ 315707 w 558126"/>
                <a:gd name="connsiteY5" fmla="*/ 87798 h 471426"/>
                <a:gd name="connsiteX6" fmla="*/ 311805 w 558126"/>
                <a:gd name="connsiteY6" fmla="*/ 86944 h 471426"/>
                <a:gd name="connsiteX7" fmla="*/ 304610 w 558126"/>
                <a:gd name="connsiteY7" fmla="*/ 96334 h 471426"/>
                <a:gd name="connsiteX8" fmla="*/ 292904 w 558126"/>
                <a:gd name="connsiteY8" fmla="*/ 94017 h 471426"/>
                <a:gd name="connsiteX9" fmla="*/ 294733 w 558126"/>
                <a:gd name="connsiteY9" fmla="*/ 81823 h 471426"/>
                <a:gd name="connsiteX10" fmla="*/ 306683 w 558126"/>
                <a:gd name="connsiteY10" fmla="*/ 71824 h 471426"/>
                <a:gd name="connsiteX11" fmla="*/ 304000 w 558126"/>
                <a:gd name="connsiteY11" fmla="*/ 70848 h 471426"/>
                <a:gd name="connsiteX12" fmla="*/ 292050 w 558126"/>
                <a:gd name="connsiteY12" fmla="*/ 78896 h 471426"/>
                <a:gd name="connsiteX13" fmla="*/ 282661 w 558126"/>
                <a:gd name="connsiteY13" fmla="*/ 68653 h 471426"/>
                <a:gd name="connsiteX14" fmla="*/ 290587 w 558126"/>
                <a:gd name="connsiteY14" fmla="*/ 56703 h 471426"/>
                <a:gd name="connsiteX15" fmla="*/ 275100 w 558126"/>
                <a:gd name="connsiteY15" fmla="*/ 50240 h 471426"/>
                <a:gd name="connsiteX16" fmla="*/ 265223 w 558126"/>
                <a:gd name="connsiteY16" fmla="*/ 51094 h 471426"/>
                <a:gd name="connsiteX17" fmla="*/ 256687 w 558126"/>
                <a:gd name="connsiteY17" fmla="*/ 48533 h 471426"/>
                <a:gd name="connsiteX18" fmla="*/ 233640 w 558126"/>
                <a:gd name="connsiteY18" fmla="*/ 49264 h 471426"/>
                <a:gd name="connsiteX19" fmla="*/ 228884 w 558126"/>
                <a:gd name="connsiteY19" fmla="*/ 53045 h 471426"/>
                <a:gd name="connsiteX20" fmla="*/ 242664 w 558126"/>
                <a:gd name="connsiteY20" fmla="*/ 56825 h 471426"/>
                <a:gd name="connsiteX21" fmla="*/ 240103 w 558126"/>
                <a:gd name="connsiteY21" fmla="*/ 64507 h 471426"/>
                <a:gd name="connsiteX22" fmla="*/ 233152 w 558126"/>
                <a:gd name="connsiteY22" fmla="*/ 65239 h 471426"/>
                <a:gd name="connsiteX23" fmla="*/ 230226 w 558126"/>
                <a:gd name="connsiteY23" fmla="*/ 77433 h 471426"/>
                <a:gd name="connsiteX24" fmla="*/ 217666 w 558126"/>
                <a:gd name="connsiteY24" fmla="*/ 77433 h 471426"/>
                <a:gd name="connsiteX25" fmla="*/ 209618 w 558126"/>
                <a:gd name="connsiteY25" fmla="*/ 66824 h 471426"/>
                <a:gd name="connsiteX26" fmla="*/ 208398 w 558126"/>
                <a:gd name="connsiteY26" fmla="*/ 61215 h 471426"/>
                <a:gd name="connsiteX27" fmla="*/ 197789 w 558126"/>
                <a:gd name="connsiteY27" fmla="*/ 61215 h 471426"/>
                <a:gd name="connsiteX28" fmla="*/ 187912 w 558126"/>
                <a:gd name="connsiteY28" fmla="*/ 64995 h 471426"/>
                <a:gd name="connsiteX29" fmla="*/ 186449 w 558126"/>
                <a:gd name="connsiteY29" fmla="*/ 72068 h 471426"/>
                <a:gd name="connsiteX30" fmla="*/ 174986 w 558126"/>
                <a:gd name="connsiteY30" fmla="*/ 73409 h 471426"/>
                <a:gd name="connsiteX31" fmla="*/ 178401 w 558126"/>
                <a:gd name="connsiteY31" fmla="*/ 51215 h 471426"/>
                <a:gd name="connsiteX32" fmla="*/ 184985 w 558126"/>
                <a:gd name="connsiteY32" fmla="*/ 45728 h 471426"/>
                <a:gd name="connsiteX33" fmla="*/ 182668 w 558126"/>
                <a:gd name="connsiteY33" fmla="*/ 39631 h 471426"/>
                <a:gd name="connsiteX34" fmla="*/ 179742 w 558126"/>
                <a:gd name="connsiteY34" fmla="*/ 34266 h 471426"/>
                <a:gd name="connsiteX35" fmla="*/ 178401 w 558126"/>
                <a:gd name="connsiteY35" fmla="*/ 21949 h 471426"/>
                <a:gd name="connsiteX36" fmla="*/ 168279 w 558126"/>
                <a:gd name="connsiteY36" fmla="*/ 13292 h 471426"/>
                <a:gd name="connsiteX37" fmla="*/ 168279 w 558126"/>
                <a:gd name="connsiteY37" fmla="*/ 6707 h 471426"/>
                <a:gd name="connsiteX38" fmla="*/ 162792 w 558126"/>
                <a:gd name="connsiteY38" fmla="*/ 3414 h 471426"/>
                <a:gd name="connsiteX39" fmla="*/ 152305 w 558126"/>
                <a:gd name="connsiteY39" fmla="*/ 3414 h 471426"/>
                <a:gd name="connsiteX40" fmla="*/ 122917 w 558126"/>
                <a:gd name="connsiteY40" fmla="*/ 12194 h 471426"/>
                <a:gd name="connsiteX41" fmla="*/ 122917 w 558126"/>
                <a:gd name="connsiteY41" fmla="*/ 21340 h 471426"/>
                <a:gd name="connsiteX42" fmla="*/ 113772 w 558126"/>
                <a:gd name="connsiteY42" fmla="*/ 18047 h 471426"/>
                <a:gd name="connsiteX43" fmla="*/ 107796 w 558126"/>
                <a:gd name="connsiteY43" fmla="*/ 20364 h 471426"/>
                <a:gd name="connsiteX44" fmla="*/ 115723 w 558126"/>
                <a:gd name="connsiteY44" fmla="*/ 25974 h 471426"/>
                <a:gd name="connsiteX45" fmla="*/ 94871 w 558126"/>
                <a:gd name="connsiteY45" fmla="*/ 31705 h 471426"/>
                <a:gd name="connsiteX46" fmla="*/ 98529 w 558126"/>
                <a:gd name="connsiteY46" fmla="*/ 51581 h 471426"/>
                <a:gd name="connsiteX47" fmla="*/ 118161 w 558126"/>
                <a:gd name="connsiteY47" fmla="*/ 58898 h 471426"/>
                <a:gd name="connsiteX48" fmla="*/ 113284 w 558126"/>
                <a:gd name="connsiteY48" fmla="*/ 67678 h 471426"/>
                <a:gd name="connsiteX49" fmla="*/ 98285 w 558126"/>
                <a:gd name="connsiteY49" fmla="*/ 62312 h 471426"/>
                <a:gd name="connsiteX50" fmla="*/ 90603 w 558126"/>
                <a:gd name="connsiteY50" fmla="*/ 66214 h 471426"/>
                <a:gd name="connsiteX51" fmla="*/ 92919 w 558126"/>
                <a:gd name="connsiteY51" fmla="*/ 76823 h 471426"/>
                <a:gd name="connsiteX52" fmla="*/ 103894 w 558126"/>
                <a:gd name="connsiteY52" fmla="*/ 89505 h 471426"/>
                <a:gd name="connsiteX53" fmla="*/ 101333 w 558126"/>
                <a:gd name="connsiteY53" fmla="*/ 105601 h 471426"/>
                <a:gd name="connsiteX54" fmla="*/ 87432 w 558126"/>
                <a:gd name="connsiteY54" fmla="*/ 104382 h 471426"/>
                <a:gd name="connsiteX55" fmla="*/ 87432 w 558126"/>
                <a:gd name="connsiteY55" fmla="*/ 86701 h 471426"/>
                <a:gd name="connsiteX56" fmla="*/ 70482 w 558126"/>
                <a:gd name="connsiteY56" fmla="*/ 77433 h 471426"/>
                <a:gd name="connsiteX57" fmla="*/ 69019 w 558126"/>
                <a:gd name="connsiteY57" fmla="*/ 45850 h 471426"/>
                <a:gd name="connsiteX58" fmla="*/ 67434 w 558126"/>
                <a:gd name="connsiteY58" fmla="*/ 39753 h 471426"/>
                <a:gd name="connsiteX59" fmla="*/ 87920 w 558126"/>
                <a:gd name="connsiteY59" fmla="*/ 18779 h 471426"/>
                <a:gd name="connsiteX60" fmla="*/ 90969 w 558126"/>
                <a:gd name="connsiteY60" fmla="*/ 13414 h 471426"/>
                <a:gd name="connsiteX61" fmla="*/ 99748 w 558126"/>
                <a:gd name="connsiteY61" fmla="*/ 4512 h 471426"/>
                <a:gd name="connsiteX62" fmla="*/ 96090 w 558126"/>
                <a:gd name="connsiteY62" fmla="*/ 2561 h 471426"/>
                <a:gd name="connsiteX63" fmla="*/ 82067 w 558126"/>
                <a:gd name="connsiteY63" fmla="*/ 1585 h 471426"/>
                <a:gd name="connsiteX64" fmla="*/ 75116 w 558126"/>
                <a:gd name="connsiteY64" fmla="*/ 0 h 471426"/>
                <a:gd name="connsiteX65" fmla="*/ 59020 w 558126"/>
                <a:gd name="connsiteY65" fmla="*/ 0 h 471426"/>
                <a:gd name="connsiteX66" fmla="*/ 35119 w 558126"/>
                <a:gd name="connsiteY66" fmla="*/ 14267 h 471426"/>
                <a:gd name="connsiteX67" fmla="*/ 31217 w 558126"/>
                <a:gd name="connsiteY67" fmla="*/ 15852 h 471426"/>
                <a:gd name="connsiteX68" fmla="*/ 15121 w 558126"/>
                <a:gd name="connsiteY68" fmla="*/ 30242 h 471426"/>
                <a:gd name="connsiteX69" fmla="*/ 15121 w 558126"/>
                <a:gd name="connsiteY69" fmla="*/ 44996 h 471426"/>
                <a:gd name="connsiteX70" fmla="*/ 3292 w 558126"/>
                <a:gd name="connsiteY70" fmla="*/ 52923 h 471426"/>
                <a:gd name="connsiteX71" fmla="*/ 1463 w 558126"/>
                <a:gd name="connsiteY71" fmla="*/ 56215 h 471426"/>
                <a:gd name="connsiteX72" fmla="*/ 8902 w 558126"/>
                <a:gd name="connsiteY72" fmla="*/ 63288 h 471426"/>
                <a:gd name="connsiteX73" fmla="*/ 2683 w 558126"/>
                <a:gd name="connsiteY73" fmla="*/ 69873 h 471426"/>
                <a:gd name="connsiteX74" fmla="*/ 5365 w 558126"/>
                <a:gd name="connsiteY74" fmla="*/ 78165 h 471426"/>
                <a:gd name="connsiteX75" fmla="*/ 0 w 558126"/>
                <a:gd name="connsiteY75" fmla="*/ 86213 h 471426"/>
                <a:gd name="connsiteX76" fmla="*/ 7073 w 558126"/>
                <a:gd name="connsiteY76" fmla="*/ 94627 h 471426"/>
                <a:gd name="connsiteX77" fmla="*/ 31827 w 558126"/>
                <a:gd name="connsiteY77" fmla="*/ 98773 h 471426"/>
                <a:gd name="connsiteX78" fmla="*/ 51338 w 558126"/>
                <a:gd name="connsiteY78" fmla="*/ 103163 h 471426"/>
                <a:gd name="connsiteX79" fmla="*/ 56459 w 558126"/>
                <a:gd name="connsiteY79" fmla="*/ 114015 h 471426"/>
                <a:gd name="connsiteX80" fmla="*/ 41094 w 558126"/>
                <a:gd name="connsiteY80" fmla="*/ 110601 h 471426"/>
                <a:gd name="connsiteX81" fmla="*/ 30851 w 558126"/>
                <a:gd name="connsiteY81" fmla="*/ 110479 h 471426"/>
                <a:gd name="connsiteX82" fmla="*/ 18535 w 558126"/>
                <a:gd name="connsiteY82" fmla="*/ 107187 h 471426"/>
                <a:gd name="connsiteX83" fmla="*/ 11463 w 558126"/>
                <a:gd name="connsiteY83" fmla="*/ 108406 h 471426"/>
                <a:gd name="connsiteX84" fmla="*/ 13414 w 558126"/>
                <a:gd name="connsiteY84" fmla="*/ 114747 h 471426"/>
                <a:gd name="connsiteX85" fmla="*/ 35729 w 558126"/>
                <a:gd name="connsiteY85" fmla="*/ 128283 h 471426"/>
                <a:gd name="connsiteX86" fmla="*/ 43655 w 558126"/>
                <a:gd name="connsiteY86" fmla="*/ 136087 h 471426"/>
                <a:gd name="connsiteX87" fmla="*/ 53410 w 558126"/>
                <a:gd name="connsiteY87" fmla="*/ 136087 h 471426"/>
                <a:gd name="connsiteX88" fmla="*/ 64995 w 558126"/>
                <a:gd name="connsiteY88" fmla="*/ 127429 h 471426"/>
                <a:gd name="connsiteX89" fmla="*/ 64995 w 558126"/>
                <a:gd name="connsiteY89" fmla="*/ 127429 h 471426"/>
                <a:gd name="connsiteX90" fmla="*/ 74506 w 558126"/>
                <a:gd name="connsiteY90" fmla="*/ 129746 h 471426"/>
                <a:gd name="connsiteX91" fmla="*/ 75848 w 558126"/>
                <a:gd name="connsiteY91" fmla="*/ 139135 h 471426"/>
                <a:gd name="connsiteX92" fmla="*/ 85481 w 558126"/>
                <a:gd name="connsiteY92" fmla="*/ 142062 h 471426"/>
                <a:gd name="connsiteX93" fmla="*/ 99382 w 558126"/>
                <a:gd name="connsiteY93" fmla="*/ 139501 h 471426"/>
                <a:gd name="connsiteX94" fmla="*/ 113040 w 558126"/>
                <a:gd name="connsiteY94" fmla="*/ 140477 h 471426"/>
                <a:gd name="connsiteX95" fmla="*/ 125600 w 558126"/>
                <a:gd name="connsiteY95" fmla="*/ 145476 h 471426"/>
                <a:gd name="connsiteX96" fmla="*/ 133770 w 558126"/>
                <a:gd name="connsiteY96" fmla="*/ 146330 h 471426"/>
                <a:gd name="connsiteX97" fmla="*/ 144135 w 558126"/>
                <a:gd name="connsiteY97" fmla="*/ 148159 h 471426"/>
                <a:gd name="connsiteX98" fmla="*/ 152671 w 558126"/>
                <a:gd name="connsiteY98" fmla="*/ 150720 h 471426"/>
                <a:gd name="connsiteX99" fmla="*/ 152671 w 558126"/>
                <a:gd name="connsiteY99" fmla="*/ 149622 h 471426"/>
                <a:gd name="connsiteX100" fmla="*/ 144867 w 558126"/>
                <a:gd name="connsiteY100" fmla="*/ 144867 h 471426"/>
                <a:gd name="connsiteX101" fmla="*/ 138648 w 558126"/>
                <a:gd name="connsiteY101" fmla="*/ 138648 h 471426"/>
                <a:gd name="connsiteX102" fmla="*/ 146086 w 558126"/>
                <a:gd name="connsiteY102" fmla="*/ 134136 h 471426"/>
                <a:gd name="connsiteX103" fmla="*/ 155963 w 558126"/>
                <a:gd name="connsiteY103" fmla="*/ 138160 h 471426"/>
                <a:gd name="connsiteX104" fmla="*/ 163036 w 558126"/>
                <a:gd name="connsiteY104" fmla="*/ 144013 h 471426"/>
                <a:gd name="connsiteX105" fmla="*/ 174254 w 558126"/>
                <a:gd name="connsiteY105" fmla="*/ 148525 h 471426"/>
                <a:gd name="connsiteX106" fmla="*/ 175840 w 558126"/>
                <a:gd name="connsiteY106" fmla="*/ 146940 h 471426"/>
                <a:gd name="connsiteX107" fmla="*/ 169865 w 558126"/>
                <a:gd name="connsiteY107" fmla="*/ 142184 h 471426"/>
                <a:gd name="connsiteX108" fmla="*/ 186205 w 558126"/>
                <a:gd name="connsiteY108" fmla="*/ 138526 h 471426"/>
                <a:gd name="connsiteX109" fmla="*/ 202057 w 558126"/>
                <a:gd name="connsiteY109" fmla="*/ 145476 h 471426"/>
                <a:gd name="connsiteX110" fmla="*/ 217422 w 558126"/>
                <a:gd name="connsiteY110" fmla="*/ 144745 h 471426"/>
                <a:gd name="connsiteX111" fmla="*/ 220105 w 558126"/>
                <a:gd name="connsiteY111" fmla="*/ 139867 h 471426"/>
                <a:gd name="connsiteX112" fmla="*/ 203765 w 558126"/>
                <a:gd name="connsiteY112" fmla="*/ 130965 h 471426"/>
                <a:gd name="connsiteX113" fmla="*/ 203765 w 558126"/>
                <a:gd name="connsiteY113" fmla="*/ 124746 h 471426"/>
                <a:gd name="connsiteX114" fmla="*/ 217666 w 558126"/>
                <a:gd name="connsiteY114" fmla="*/ 120600 h 471426"/>
                <a:gd name="connsiteX115" fmla="*/ 226568 w 558126"/>
                <a:gd name="connsiteY115" fmla="*/ 127673 h 471426"/>
                <a:gd name="connsiteX116" fmla="*/ 233640 w 558126"/>
                <a:gd name="connsiteY116" fmla="*/ 128526 h 471426"/>
                <a:gd name="connsiteX117" fmla="*/ 246444 w 558126"/>
                <a:gd name="connsiteY117" fmla="*/ 138160 h 471426"/>
                <a:gd name="connsiteX118" fmla="*/ 245103 w 558126"/>
                <a:gd name="connsiteY118" fmla="*/ 148891 h 471426"/>
                <a:gd name="connsiteX119" fmla="*/ 252785 w 558126"/>
                <a:gd name="connsiteY119" fmla="*/ 152793 h 471426"/>
                <a:gd name="connsiteX120" fmla="*/ 258394 w 558126"/>
                <a:gd name="connsiteY120" fmla="*/ 161938 h 471426"/>
                <a:gd name="connsiteX121" fmla="*/ 281197 w 558126"/>
                <a:gd name="connsiteY121" fmla="*/ 169743 h 471426"/>
                <a:gd name="connsiteX122" fmla="*/ 283880 w 558126"/>
                <a:gd name="connsiteY122" fmla="*/ 176084 h 471426"/>
                <a:gd name="connsiteX123" fmla="*/ 259370 w 558126"/>
                <a:gd name="connsiteY123" fmla="*/ 183888 h 471426"/>
                <a:gd name="connsiteX124" fmla="*/ 260101 w 558126"/>
                <a:gd name="connsiteY124" fmla="*/ 187302 h 471426"/>
                <a:gd name="connsiteX125" fmla="*/ 268028 w 558126"/>
                <a:gd name="connsiteY125" fmla="*/ 187912 h 471426"/>
                <a:gd name="connsiteX126" fmla="*/ 276076 w 558126"/>
                <a:gd name="connsiteY126" fmla="*/ 184742 h 471426"/>
                <a:gd name="connsiteX127" fmla="*/ 290465 w 558126"/>
                <a:gd name="connsiteY127" fmla="*/ 177791 h 471426"/>
                <a:gd name="connsiteX128" fmla="*/ 304488 w 558126"/>
                <a:gd name="connsiteY128" fmla="*/ 177791 h 471426"/>
                <a:gd name="connsiteX129" fmla="*/ 296806 w 558126"/>
                <a:gd name="connsiteY129" fmla="*/ 185839 h 471426"/>
                <a:gd name="connsiteX130" fmla="*/ 304488 w 558126"/>
                <a:gd name="connsiteY130" fmla="*/ 193034 h 471426"/>
                <a:gd name="connsiteX131" fmla="*/ 316195 w 558126"/>
                <a:gd name="connsiteY131" fmla="*/ 192180 h 471426"/>
                <a:gd name="connsiteX132" fmla="*/ 322292 w 558126"/>
                <a:gd name="connsiteY132" fmla="*/ 202179 h 471426"/>
                <a:gd name="connsiteX133" fmla="*/ 335218 w 558126"/>
                <a:gd name="connsiteY133" fmla="*/ 209862 h 471426"/>
                <a:gd name="connsiteX134" fmla="*/ 338510 w 558126"/>
                <a:gd name="connsiteY134" fmla="*/ 216934 h 471426"/>
                <a:gd name="connsiteX135" fmla="*/ 339729 w 558126"/>
                <a:gd name="connsiteY135" fmla="*/ 222909 h 471426"/>
                <a:gd name="connsiteX136" fmla="*/ 345582 w 558126"/>
                <a:gd name="connsiteY136" fmla="*/ 227299 h 471426"/>
                <a:gd name="connsiteX137" fmla="*/ 345582 w 558126"/>
                <a:gd name="connsiteY137" fmla="*/ 247298 h 471426"/>
                <a:gd name="connsiteX138" fmla="*/ 334730 w 558126"/>
                <a:gd name="connsiteY138" fmla="*/ 248273 h 471426"/>
                <a:gd name="connsiteX139" fmla="*/ 327779 w 558126"/>
                <a:gd name="connsiteY139" fmla="*/ 258516 h 471426"/>
                <a:gd name="connsiteX140" fmla="*/ 301805 w 558126"/>
                <a:gd name="connsiteY140" fmla="*/ 278881 h 471426"/>
                <a:gd name="connsiteX141" fmla="*/ 304244 w 558126"/>
                <a:gd name="connsiteY141" fmla="*/ 291075 h 471426"/>
                <a:gd name="connsiteX142" fmla="*/ 318633 w 558126"/>
                <a:gd name="connsiteY142" fmla="*/ 302537 h 471426"/>
                <a:gd name="connsiteX143" fmla="*/ 318633 w 558126"/>
                <a:gd name="connsiteY143" fmla="*/ 319487 h 471426"/>
                <a:gd name="connsiteX144" fmla="*/ 306683 w 558126"/>
                <a:gd name="connsiteY144" fmla="*/ 314487 h 471426"/>
                <a:gd name="connsiteX145" fmla="*/ 290221 w 558126"/>
                <a:gd name="connsiteY145" fmla="*/ 324121 h 471426"/>
                <a:gd name="connsiteX146" fmla="*/ 264979 w 558126"/>
                <a:gd name="connsiteY146" fmla="*/ 325584 h 471426"/>
                <a:gd name="connsiteX147" fmla="*/ 255833 w 558126"/>
                <a:gd name="connsiteY147" fmla="*/ 320950 h 471426"/>
                <a:gd name="connsiteX148" fmla="*/ 248761 w 558126"/>
                <a:gd name="connsiteY148" fmla="*/ 316195 h 471426"/>
                <a:gd name="connsiteX149" fmla="*/ 243517 w 558126"/>
                <a:gd name="connsiteY149" fmla="*/ 321438 h 471426"/>
                <a:gd name="connsiteX150" fmla="*/ 243517 w 558126"/>
                <a:gd name="connsiteY150" fmla="*/ 330096 h 471426"/>
                <a:gd name="connsiteX151" fmla="*/ 230592 w 558126"/>
                <a:gd name="connsiteY151" fmla="*/ 340095 h 471426"/>
                <a:gd name="connsiteX152" fmla="*/ 229372 w 558126"/>
                <a:gd name="connsiteY152" fmla="*/ 355094 h 471426"/>
                <a:gd name="connsiteX153" fmla="*/ 244981 w 558126"/>
                <a:gd name="connsiteY153" fmla="*/ 366678 h 471426"/>
                <a:gd name="connsiteX154" fmla="*/ 263028 w 558126"/>
                <a:gd name="connsiteY154" fmla="*/ 368020 h 471426"/>
                <a:gd name="connsiteX155" fmla="*/ 274125 w 558126"/>
                <a:gd name="connsiteY155" fmla="*/ 351314 h 471426"/>
                <a:gd name="connsiteX156" fmla="*/ 283270 w 558126"/>
                <a:gd name="connsiteY156" fmla="*/ 349485 h 471426"/>
                <a:gd name="connsiteX157" fmla="*/ 296562 w 558126"/>
                <a:gd name="connsiteY157" fmla="*/ 364118 h 471426"/>
                <a:gd name="connsiteX158" fmla="*/ 298757 w 558126"/>
                <a:gd name="connsiteY158" fmla="*/ 361191 h 471426"/>
                <a:gd name="connsiteX159" fmla="*/ 297050 w 558126"/>
                <a:gd name="connsiteY159" fmla="*/ 349241 h 471426"/>
                <a:gd name="connsiteX160" fmla="*/ 309488 w 558126"/>
                <a:gd name="connsiteY160" fmla="*/ 351314 h 471426"/>
                <a:gd name="connsiteX161" fmla="*/ 312171 w 558126"/>
                <a:gd name="connsiteY161" fmla="*/ 356801 h 471426"/>
                <a:gd name="connsiteX162" fmla="*/ 328267 w 558126"/>
                <a:gd name="connsiteY162" fmla="*/ 356801 h 471426"/>
                <a:gd name="connsiteX163" fmla="*/ 331315 w 558126"/>
                <a:gd name="connsiteY163" fmla="*/ 376190 h 471426"/>
                <a:gd name="connsiteX164" fmla="*/ 345826 w 558126"/>
                <a:gd name="connsiteY164" fmla="*/ 389482 h 471426"/>
                <a:gd name="connsiteX165" fmla="*/ 359240 w 558126"/>
                <a:gd name="connsiteY165" fmla="*/ 390945 h 471426"/>
                <a:gd name="connsiteX166" fmla="*/ 363142 w 558126"/>
                <a:gd name="connsiteY166" fmla="*/ 404480 h 471426"/>
                <a:gd name="connsiteX167" fmla="*/ 354606 w 558126"/>
                <a:gd name="connsiteY167" fmla="*/ 405944 h 471426"/>
                <a:gd name="connsiteX168" fmla="*/ 356557 w 558126"/>
                <a:gd name="connsiteY168" fmla="*/ 413992 h 471426"/>
                <a:gd name="connsiteX169" fmla="*/ 364483 w 558126"/>
                <a:gd name="connsiteY169" fmla="*/ 416553 h 471426"/>
                <a:gd name="connsiteX170" fmla="*/ 382287 w 558126"/>
                <a:gd name="connsiteY170" fmla="*/ 433015 h 471426"/>
                <a:gd name="connsiteX171" fmla="*/ 391798 w 558126"/>
                <a:gd name="connsiteY171" fmla="*/ 430332 h 471426"/>
                <a:gd name="connsiteX172" fmla="*/ 402529 w 558126"/>
                <a:gd name="connsiteY172" fmla="*/ 433990 h 471426"/>
                <a:gd name="connsiteX173" fmla="*/ 401066 w 558126"/>
                <a:gd name="connsiteY173" fmla="*/ 449965 h 471426"/>
                <a:gd name="connsiteX174" fmla="*/ 416431 w 558126"/>
                <a:gd name="connsiteY174" fmla="*/ 460208 h 471426"/>
                <a:gd name="connsiteX175" fmla="*/ 427527 w 558126"/>
                <a:gd name="connsiteY175" fmla="*/ 460208 h 471426"/>
                <a:gd name="connsiteX176" fmla="*/ 458378 w 558126"/>
                <a:gd name="connsiteY176" fmla="*/ 471426 h 471426"/>
                <a:gd name="connsiteX177" fmla="*/ 466792 w 558126"/>
                <a:gd name="connsiteY177" fmla="*/ 468256 h 471426"/>
                <a:gd name="connsiteX178" fmla="*/ 460939 w 558126"/>
                <a:gd name="connsiteY178" fmla="*/ 455330 h 471426"/>
                <a:gd name="connsiteX179" fmla="*/ 439843 w 558126"/>
                <a:gd name="connsiteY179" fmla="*/ 441185 h 471426"/>
                <a:gd name="connsiteX180" fmla="*/ 428259 w 558126"/>
                <a:gd name="connsiteY180" fmla="*/ 425332 h 471426"/>
                <a:gd name="connsiteX181" fmla="*/ 406431 w 558126"/>
                <a:gd name="connsiteY181" fmla="*/ 397652 h 471426"/>
                <a:gd name="connsiteX182" fmla="*/ 409846 w 558126"/>
                <a:gd name="connsiteY182" fmla="*/ 385458 h 471426"/>
                <a:gd name="connsiteX183" fmla="*/ 418016 w 558126"/>
                <a:gd name="connsiteY183" fmla="*/ 383385 h 471426"/>
                <a:gd name="connsiteX184" fmla="*/ 429356 w 558126"/>
                <a:gd name="connsiteY184" fmla="*/ 397652 h 471426"/>
                <a:gd name="connsiteX185" fmla="*/ 436551 w 558126"/>
                <a:gd name="connsiteY185" fmla="*/ 396188 h 471426"/>
                <a:gd name="connsiteX186" fmla="*/ 444965 w 558126"/>
                <a:gd name="connsiteY186" fmla="*/ 407529 h 471426"/>
                <a:gd name="connsiteX187" fmla="*/ 456305 w 558126"/>
                <a:gd name="connsiteY187" fmla="*/ 404724 h 471426"/>
                <a:gd name="connsiteX188" fmla="*/ 456305 w 558126"/>
                <a:gd name="connsiteY188" fmla="*/ 404724 h 471426"/>
                <a:gd name="connsiteX189" fmla="*/ 471426 w 558126"/>
                <a:gd name="connsiteY189" fmla="*/ 422894 h 471426"/>
                <a:gd name="connsiteX190" fmla="*/ 483498 w 558126"/>
                <a:gd name="connsiteY190" fmla="*/ 441673 h 471426"/>
                <a:gd name="connsiteX191" fmla="*/ 488864 w 558126"/>
                <a:gd name="connsiteY191" fmla="*/ 440697 h 471426"/>
                <a:gd name="connsiteX192" fmla="*/ 488864 w 558126"/>
                <a:gd name="connsiteY192" fmla="*/ 429235 h 471426"/>
                <a:gd name="connsiteX193" fmla="*/ 493985 w 558126"/>
                <a:gd name="connsiteY193" fmla="*/ 420333 h 471426"/>
                <a:gd name="connsiteX194" fmla="*/ 484108 w 558126"/>
                <a:gd name="connsiteY194" fmla="*/ 411919 h 471426"/>
                <a:gd name="connsiteX195" fmla="*/ 488376 w 558126"/>
                <a:gd name="connsiteY195" fmla="*/ 403383 h 471426"/>
                <a:gd name="connsiteX196" fmla="*/ 500205 w 558126"/>
                <a:gd name="connsiteY196" fmla="*/ 404724 h 471426"/>
                <a:gd name="connsiteX197" fmla="*/ 500205 w 558126"/>
                <a:gd name="connsiteY197" fmla="*/ 396432 h 471426"/>
                <a:gd name="connsiteX198" fmla="*/ 490327 w 558126"/>
                <a:gd name="connsiteY198" fmla="*/ 383750 h 471426"/>
                <a:gd name="connsiteX199" fmla="*/ 490327 w 558126"/>
                <a:gd name="connsiteY199" fmla="*/ 376922 h 471426"/>
                <a:gd name="connsiteX200" fmla="*/ 484596 w 558126"/>
                <a:gd name="connsiteY200" fmla="*/ 372654 h 471426"/>
                <a:gd name="connsiteX201" fmla="*/ 484596 w 558126"/>
                <a:gd name="connsiteY201" fmla="*/ 365215 h 471426"/>
                <a:gd name="connsiteX202" fmla="*/ 469841 w 558126"/>
                <a:gd name="connsiteY202" fmla="*/ 346558 h 471426"/>
                <a:gd name="connsiteX203" fmla="*/ 459964 w 558126"/>
                <a:gd name="connsiteY203" fmla="*/ 343753 h 471426"/>
                <a:gd name="connsiteX204" fmla="*/ 445087 w 558126"/>
                <a:gd name="connsiteY204" fmla="*/ 324365 h 471426"/>
                <a:gd name="connsiteX205" fmla="*/ 441063 w 558126"/>
                <a:gd name="connsiteY205" fmla="*/ 316317 h 471426"/>
                <a:gd name="connsiteX206" fmla="*/ 432649 w 558126"/>
                <a:gd name="connsiteY206" fmla="*/ 310585 h 471426"/>
                <a:gd name="connsiteX207" fmla="*/ 417650 w 558126"/>
                <a:gd name="connsiteY207" fmla="*/ 292538 h 471426"/>
                <a:gd name="connsiteX208" fmla="*/ 423503 w 558126"/>
                <a:gd name="connsiteY208" fmla="*/ 278759 h 471426"/>
                <a:gd name="connsiteX209" fmla="*/ 437283 w 558126"/>
                <a:gd name="connsiteY209" fmla="*/ 290953 h 471426"/>
                <a:gd name="connsiteX210" fmla="*/ 442770 w 558126"/>
                <a:gd name="connsiteY210" fmla="*/ 287295 h 471426"/>
                <a:gd name="connsiteX211" fmla="*/ 439477 w 558126"/>
                <a:gd name="connsiteY211" fmla="*/ 281807 h 471426"/>
                <a:gd name="connsiteX212" fmla="*/ 431551 w 558126"/>
                <a:gd name="connsiteY212" fmla="*/ 264369 h 471426"/>
                <a:gd name="connsiteX213" fmla="*/ 451794 w 558126"/>
                <a:gd name="connsiteY213" fmla="*/ 254248 h 471426"/>
                <a:gd name="connsiteX214" fmla="*/ 467402 w 558126"/>
                <a:gd name="connsiteY214" fmla="*/ 271442 h 471426"/>
                <a:gd name="connsiteX215" fmla="*/ 471061 w 558126"/>
                <a:gd name="connsiteY215" fmla="*/ 278759 h 471426"/>
                <a:gd name="connsiteX216" fmla="*/ 488376 w 558126"/>
                <a:gd name="connsiteY216" fmla="*/ 278759 h 471426"/>
                <a:gd name="connsiteX217" fmla="*/ 490327 w 558126"/>
                <a:gd name="connsiteY217" fmla="*/ 286807 h 471426"/>
                <a:gd name="connsiteX218" fmla="*/ 482157 w 558126"/>
                <a:gd name="connsiteY218" fmla="*/ 301928 h 471426"/>
                <a:gd name="connsiteX219" fmla="*/ 495327 w 558126"/>
                <a:gd name="connsiteY219" fmla="*/ 319121 h 471426"/>
                <a:gd name="connsiteX220" fmla="*/ 501912 w 558126"/>
                <a:gd name="connsiteY220" fmla="*/ 324365 h 471426"/>
                <a:gd name="connsiteX221" fmla="*/ 510569 w 558126"/>
                <a:gd name="connsiteY221" fmla="*/ 327291 h 471426"/>
                <a:gd name="connsiteX222" fmla="*/ 518740 w 558126"/>
                <a:gd name="connsiteY222" fmla="*/ 336559 h 471426"/>
                <a:gd name="connsiteX223" fmla="*/ 522764 w 558126"/>
                <a:gd name="connsiteY223" fmla="*/ 327535 h 471426"/>
                <a:gd name="connsiteX224" fmla="*/ 517276 w 558126"/>
                <a:gd name="connsiteY224" fmla="*/ 311073 h 471426"/>
                <a:gd name="connsiteX225" fmla="*/ 517276 w 558126"/>
                <a:gd name="connsiteY225" fmla="*/ 294245 h 471426"/>
                <a:gd name="connsiteX226" fmla="*/ 529592 w 558126"/>
                <a:gd name="connsiteY226" fmla="*/ 306561 h 471426"/>
                <a:gd name="connsiteX227" fmla="*/ 542518 w 558126"/>
                <a:gd name="connsiteY227" fmla="*/ 298269 h 471426"/>
                <a:gd name="connsiteX228" fmla="*/ 538250 w 558126"/>
                <a:gd name="connsiteY228" fmla="*/ 269125 h 471426"/>
                <a:gd name="connsiteX229" fmla="*/ 555810 w 558126"/>
                <a:gd name="connsiteY229" fmla="*/ 267662 h 471426"/>
                <a:gd name="connsiteX230" fmla="*/ 558127 w 558126"/>
                <a:gd name="connsiteY230" fmla="*/ 251931 h 471426"/>
                <a:gd name="connsiteX231" fmla="*/ 549347 w 558126"/>
                <a:gd name="connsiteY231" fmla="*/ 249371 h 471426"/>
                <a:gd name="connsiteX232" fmla="*/ 550810 w 558126"/>
                <a:gd name="connsiteY232" fmla="*/ 244127 h 471426"/>
                <a:gd name="connsiteX233" fmla="*/ 543494 w 558126"/>
                <a:gd name="connsiteY233" fmla="*/ 240957 h 471426"/>
                <a:gd name="connsiteX234" fmla="*/ 522398 w 558126"/>
                <a:gd name="connsiteY234" fmla="*/ 251809 h 471426"/>
                <a:gd name="connsiteX235" fmla="*/ 519715 w 558126"/>
                <a:gd name="connsiteY235" fmla="*/ 243761 h 471426"/>
                <a:gd name="connsiteX236" fmla="*/ 524593 w 558126"/>
                <a:gd name="connsiteY236" fmla="*/ 240103 h 471426"/>
                <a:gd name="connsiteX237" fmla="*/ 521544 w 558126"/>
                <a:gd name="connsiteY237" fmla="*/ 237420 h 471426"/>
                <a:gd name="connsiteX238" fmla="*/ 498132 w 558126"/>
                <a:gd name="connsiteY238" fmla="*/ 240225 h 471426"/>
                <a:gd name="connsiteX239" fmla="*/ 498132 w 558126"/>
                <a:gd name="connsiteY239" fmla="*/ 240225 h 471426"/>
                <a:gd name="connsiteX240" fmla="*/ 501302 w 558126"/>
                <a:gd name="connsiteY240" fmla="*/ 227665 h 471426"/>
                <a:gd name="connsiteX241" fmla="*/ 494473 w 558126"/>
                <a:gd name="connsiteY241" fmla="*/ 223641 h 471426"/>
                <a:gd name="connsiteX242" fmla="*/ 484596 w 558126"/>
                <a:gd name="connsiteY242" fmla="*/ 221568 h 471426"/>
                <a:gd name="connsiteX243" fmla="*/ 484596 w 558126"/>
                <a:gd name="connsiteY243" fmla="*/ 215349 h 471426"/>
                <a:gd name="connsiteX244" fmla="*/ 471670 w 558126"/>
                <a:gd name="connsiteY244" fmla="*/ 215959 h 471426"/>
                <a:gd name="connsiteX245" fmla="*/ 459110 w 558126"/>
                <a:gd name="connsiteY245" fmla="*/ 221690 h 471426"/>
                <a:gd name="connsiteX246" fmla="*/ 447038 w 558126"/>
                <a:gd name="connsiteY246" fmla="*/ 205350 h 471426"/>
                <a:gd name="connsiteX247" fmla="*/ 429234 w 558126"/>
                <a:gd name="connsiteY247" fmla="*/ 195472 h 471426"/>
                <a:gd name="connsiteX248" fmla="*/ 401310 w 558126"/>
                <a:gd name="connsiteY248" fmla="*/ 189010 h 471426"/>
                <a:gd name="connsiteX249" fmla="*/ 406187 w 558126"/>
                <a:gd name="connsiteY249" fmla="*/ 180108 h 471426"/>
                <a:gd name="connsiteX250" fmla="*/ 429722 w 558126"/>
                <a:gd name="connsiteY250" fmla="*/ 184254 h 471426"/>
                <a:gd name="connsiteX251" fmla="*/ 430454 w 558126"/>
                <a:gd name="connsiteY251" fmla="*/ 181083 h 471426"/>
                <a:gd name="connsiteX252" fmla="*/ 416187 w 558126"/>
                <a:gd name="connsiteY252" fmla="*/ 174011 h 471426"/>
                <a:gd name="connsiteX253" fmla="*/ 451550 w 558126"/>
                <a:gd name="connsiteY253" fmla="*/ 172060 h 471426"/>
                <a:gd name="connsiteX254" fmla="*/ 449964 w 558126"/>
                <a:gd name="connsiteY254" fmla="*/ 169865 h 471426"/>
                <a:gd name="connsiteX255" fmla="*/ 418991 w 558126"/>
                <a:gd name="connsiteY255" fmla="*/ 161573 h 471426"/>
                <a:gd name="connsiteX256" fmla="*/ 433868 w 558126"/>
                <a:gd name="connsiteY256" fmla="*/ 155719 h 471426"/>
                <a:gd name="connsiteX257" fmla="*/ 441551 w 558126"/>
                <a:gd name="connsiteY257" fmla="*/ 155719 h 471426"/>
                <a:gd name="connsiteX258" fmla="*/ 444111 w 558126"/>
                <a:gd name="connsiteY258" fmla="*/ 151573 h 471426"/>
                <a:gd name="connsiteX259" fmla="*/ 428869 w 558126"/>
                <a:gd name="connsiteY259" fmla="*/ 140965 h 471426"/>
                <a:gd name="connsiteX260" fmla="*/ 421186 w 558126"/>
                <a:gd name="connsiteY260" fmla="*/ 148647 h 471426"/>
                <a:gd name="connsiteX261" fmla="*/ 405212 w 558126"/>
                <a:gd name="connsiteY261" fmla="*/ 152915 h 471426"/>
                <a:gd name="connsiteX262" fmla="*/ 405212 w 558126"/>
                <a:gd name="connsiteY262" fmla="*/ 146818 h 471426"/>
                <a:gd name="connsiteX263" fmla="*/ 379482 w 558126"/>
                <a:gd name="connsiteY263" fmla="*/ 143038 h 471426"/>
                <a:gd name="connsiteX264" fmla="*/ 406309 w 558126"/>
                <a:gd name="connsiteY264" fmla="*/ 136331 h 471426"/>
                <a:gd name="connsiteX265" fmla="*/ 416065 w 558126"/>
                <a:gd name="connsiteY265" fmla="*/ 127795 h 471426"/>
                <a:gd name="connsiteX266" fmla="*/ 398383 w 558126"/>
                <a:gd name="connsiteY266" fmla="*/ 120844 h 471426"/>
                <a:gd name="connsiteX267" fmla="*/ 384238 w 558126"/>
                <a:gd name="connsiteY267" fmla="*/ 121576 h 471426"/>
                <a:gd name="connsiteX268" fmla="*/ 372775 w 558126"/>
                <a:gd name="connsiteY268" fmla="*/ 134502 h 471426"/>
                <a:gd name="connsiteX269" fmla="*/ 372775 w 558126"/>
                <a:gd name="connsiteY269" fmla="*/ 134502 h 471426"/>
                <a:gd name="connsiteX270" fmla="*/ 360338 w 558126"/>
                <a:gd name="connsiteY270" fmla="*/ 133282 h 471426"/>
                <a:gd name="connsiteX271" fmla="*/ 364362 w 558126"/>
                <a:gd name="connsiteY271" fmla="*/ 123283 h 471426"/>
                <a:gd name="connsiteX272" fmla="*/ 370337 w 558126"/>
                <a:gd name="connsiteY272" fmla="*/ 118405 h 471426"/>
                <a:gd name="connsiteX273" fmla="*/ 369727 w 558126"/>
                <a:gd name="connsiteY273" fmla="*/ 117796 h 471426"/>
                <a:gd name="connsiteX274" fmla="*/ 354240 w 558126"/>
                <a:gd name="connsiteY274" fmla="*/ 123649 h 471426"/>
                <a:gd name="connsiteX275" fmla="*/ 345217 w 558126"/>
                <a:gd name="connsiteY275" fmla="*/ 114259 h 471426"/>
                <a:gd name="connsiteX276" fmla="*/ 369239 w 558126"/>
                <a:gd name="connsiteY276" fmla="*/ 107065 h 471426"/>
                <a:gd name="connsiteX277" fmla="*/ 365703 w 558126"/>
                <a:gd name="connsiteY277" fmla="*/ 93651 h 471426"/>
                <a:gd name="connsiteX278" fmla="*/ 355704 w 558126"/>
                <a:gd name="connsiteY278" fmla="*/ 87676 h 471426"/>
                <a:gd name="connsiteX279" fmla="*/ 341071 w 558126"/>
                <a:gd name="connsiteY279" fmla="*/ 87676 h 471426"/>
                <a:gd name="connsiteX280" fmla="*/ 339729 w 558126"/>
                <a:gd name="connsiteY280" fmla="*/ 96212 h 471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</a:cxnLst>
              <a:rect l="l" t="t" r="r" b="b"/>
              <a:pathLst>
                <a:path w="558126" h="471426">
                  <a:moveTo>
                    <a:pt x="339729" y="96212"/>
                  </a:moveTo>
                  <a:lnTo>
                    <a:pt x="329242" y="101455"/>
                  </a:lnTo>
                  <a:lnTo>
                    <a:pt x="323755" y="98285"/>
                  </a:lnTo>
                  <a:lnTo>
                    <a:pt x="319243" y="101821"/>
                  </a:lnTo>
                  <a:lnTo>
                    <a:pt x="310829" y="94261"/>
                  </a:lnTo>
                  <a:lnTo>
                    <a:pt x="315707" y="87798"/>
                  </a:lnTo>
                  <a:lnTo>
                    <a:pt x="311805" y="86944"/>
                  </a:lnTo>
                  <a:lnTo>
                    <a:pt x="304610" y="96334"/>
                  </a:lnTo>
                  <a:lnTo>
                    <a:pt x="292904" y="94017"/>
                  </a:lnTo>
                  <a:lnTo>
                    <a:pt x="294733" y="81823"/>
                  </a:lnTo>
                  <a:lnTo>
                    <a:pt x="306683" y="71824"/>
                  </a:lnTo>
                  <a:lnTo>
                    <a:pt x="304000" y="70848"/>
                  </a:lnTo>
                  <a:lnTo>
                    <a:pt x="292050" y="78896"/>
                  </a:lnTo>
                  <a:lnTo>
                    <a:pt x="282661" y="68653"/>
                  </a:lnTo>
                  <a:lnTo>
                    <a:pt x="290587" y="56703"/>
                  </a:lnTo>
                  <a:lnTo>
                    <a:pt x="275100" y="50240"/>
                  </a:lnTo>
                  <a:lnTo>
                    <a:pt x="265223" y="51094"/>
                  </a:lnTo>
                  <a:lnTo>
                    <a:pt x="256687" y="48533"/>
                  </a:lnTo>
                  <a:lnTo>
                    <a:pt x="233640" y="49264"/>
                  </a:lnTo>
                  <a:lnTo>
                    <a:pt x="228884" y="53045"/>
                  </a:lnTo>
                  <a:lnTo>
                    <a:pt x="242664" y="56825"/>
                  </a:lnTo>
                  <a:lnTo>
                    <a:pt x="240103" y="64507"/>
                  </a:lnTo>
                  <a:lnTo>
                    <a:pt x="233152" y="65239"/>
                  </a:lnTo>
                  <a:lnTo>
                    <a:pt x="230226" y="77433"/>
                  </a:lnTo>
                  <a:lnTo>
                    <a:pt x="217666" y="77433"/>
                  </a:lnTo>
                  <a:lnTo>
                    <a:pt x="209618" y="66824"/>
                  </a:lnTo>
                  <a:lnTo>
                    <a:pt x="208398" y="61215"/>
                  </a:lnTo>
                  <a:lnTo>
                    <a:pt x="197789" y="61215"/>
                  </a:lnTo>
                  <a:lnTo>
                    <a:pt x="187912" y="64995"/>
                  </a:lnTo>
                  <a:lnTo>
                    <a:pt x="186449" y="72068"/>
                  </a:lnTo>
                  <a:lnTo>
                    <a:pt x="174986" y="73409"/>
                  </a:lnTo>
                  <a:lnTo>
                    <a:pt x="178401" y="51215"/>
                  </a:lnTo>
                  <a:lnTo>
                    <a:pt x="184985" y="45728"/>
                  </a:lnTo>
                  <a:lnTo>
                    <a:pt x="182668" y="39631"/>
                  </a:lnTo>
                  <a:lnTo>
                    <a:pt x="179742" y="34266"/>
                  </a:lnTo>
                  <a:lnTo>
                    <a:pt x="178401" y="21949"/>
                  </a:lnTo>
                  <a:lnTo>
                    <a:pt x="168279" y="13292"/>
                  </a:lnTo>
                  <a:lnTo>
                    <a:pt x="168279" y="6707"/>
                  </a:lnTo>
                  <a:lnTo>
                    <a:pt x="162792" y="3414"/>
                  </a:lnTo>
                  <a:lnTo>
                    <a:pt x="152305" y="3414"/>
                  </a:lnTo>
                  <a:lnTo>
                    <a:pt x="122917" y="12194"/>
                  </a:lnTo>
                  <a:lnTo>
                    <a:pt x="122917" y="21340"/>
                  </a:lnTo>
                  <a:lnTo>
                    <a:pt x="113772" y="18047"/>
                  </a:lnTo>
                  <a:lnTo>
                    <a:pt x="107796" y="20364"/>
                  </a:lnTo>
                  <a:lnTo>
                    <a:pt x="115723" y="25974"/>
                  </a:lnTo>
                  <a:lnTo>
                    <a:pt x="94871" y="31705"/>
                  </a:lnTo>
                  <a:lnTo>
                    <a:pt x="98529" y="51581"/>
                  </a:lnTo>
                  <a:lnTo>
                    <a:pt x="118161" y="58898"/>
                  </a:lnTo>
                  <a:lnTo>
                    <a:pt x="113284" y="67678"/>
                  </a:lnTo>
                  <a:lnTo>
                    <a:pt x="98285" y="62312"/>
                  </a:lnTo>
                  <a:lnTo>
                    <a:pt x="90603" y="66214"/>
                  </a:lnTo>
                  <a:lnTo>
                    <a:pt x="92919" y="76823"/>
                  </a:lnTo>
                  <a:lnTo>
                    <a:pt x="103894" y="89505"/>
                  </a:lnTo>
                  <a:lnTo>
                    <a:pt x="101333" y="105601"/>
                  </a:lnTo>
                  <a:lnTo>
                    <a:pt x="87432" y="104382"/>
                  </a:lnTo>
                  <a:lnTo>
                    <a:pt x="87432" y="86701"/>
                  </a:lnTo>
                  <a:lnTo>
                    <a:pt x="70482" y="77433"/>
                  </a:lnTo>
                  <a:lnTo>
                    <a:pt x="69019" y="45850"/>
                  </a:lnTo>
                  <a:lnTo>
                    <a:pt x="67434" y="39753"/>
                  </a:lnTo>
                  <a:lnTo>
                    <a:pt x="87920" y="18779"/>
                  </a:lnTo>
                  <a:lnTo>
                    <a:pt x="90969" y="13414"/>
                  </a:lnTo>
                  <a:lnTo>
                    <a:pt x="99748" y="4512"/>
                  </a:lnTo>
                  <a:lnTo>
                    <a:pt x="96090" y="2561"/>
                  </a:lnTo>
                  <a:lnTo>
                    <a:pt x="82067" y="1585"/>
                  </a:lnTo>
                  <a:lnTo>
                    <a:pt x="75116" y="0"/>
                  </a:lnTo>
                  <a:lnTo>
                    <a:pt x="59020" y="0"/>
                  </a:lnTo>
                  <a:lnTo>
                    <a:pt x="35119" y="14267"/>
                  </a:lnTo>
                  <a:lnTo>
                    <a:pt x="31217" y="15852"/>
                  </a:lnTo>
                  <a:lnTo>
                    <a:pt x="15121" y="30242"/>
                  </a:lnTo>
                  <a:lnTo>
                    <a:pt x="15121" y="44996"/>
                  </a:lnTo>
                  <a:lnTo>
                    <a:pt x="3292" y="52923"/>
                  </a:lnTo>
                  <a:lnTo>
                    <a:pt x="1463" y="56215"/>
                  </a:lnTo>
                  <a:lnTo>
                    <a:pt x="8902" y="63288"/>
                  </a:lnTo>
                  <a:lnTo>
                    <a:pt x="2683" y="69873"/>
                  </a:lnTo>
                  <a:lnTo>
                    <a:pt x="5365" y="78165"/>
                  </a:lnTo>
                  <a:lnTo>
                    <a:pt x="0" y="86213"/>
                  </a:lnTo>
                  <a:lnTo>
                    <a:pt x="7073" y="94627"/>
                  </a:lnTo>
                  <a:lnTo>
                    <a:pt x="31827" y="98773"/>
                  </a:lnTo>
                  <a:lnTo>
                    <a:pt x="51338" y="103163"/>
                  </a:lnTo>
                  <a:lnTo>
                    <a:pt x="56459" y="114015"/>
                  </a:lnTo>
                  <a:lnTo>
                    <a:pt x="41094" y="110601"/>
                  </a:lnTo>
                  <a:lnTo>
                    <a:pt x="30851" y="110479"/>
                  </a:lnTo>
                  <a:lnTo>
                    <a:pt x="18535" y="107187"/>
                  </a:lnTo>
                  <a:lnTo>
                    <a:pt x="11463" y="108406"/>
                  </a:lnTo>
                  <a:lnTo>
                    <a:pt x="13414" y="114747"/>
                  </a:lnTo>
                  <a:lnTo>
                    <a:pt x="35729" y="128283"/>
                  </a:lnTo>
                  <a:lnTo>
                    <a:pt x="43655" y="136087"/>
                  </a:lnTo>
                  <a:lnTo>
                    <a:pt x="53410" y="136087"/>
                  </a:lnTo>
                  <a:lnTo>
                    <a:pt x="64995" y="127429"/>
                  </a:lnTo>
                  <a:lnTo>
                    <a:pt x="64995" y="127429"/>
                  </a:lnTo>
                  <a:lnTo>
                    <a:pt x="74506" y="129746"/>
                  </a:lnTo>
                  <a:lnTo>
                    <a:pt x="75848" y="139135"/>
                  </a:lnTo>
                  <a:lnTo>
                    <a:pt x="85481" y="142062"/>
                  </a:lnTo>
                  <a:lnTo>
                    <a:pt x="99382" y="139501"/>
                  </a:lnTo>
                  <a:lnTo>
                    <a:pt x="113040" y="140477"/>
                  </a:lnTo>
                  <a:lnTo>
                    <a:pt x="125600" y="145476"/>
                  </a:lnTo>
                  <a:lnTo>
                    <a:pt x="133770" y="146330"/>
                  </a:lnTo>
                  <a:lnTo>
                    <a:pt x="144135" y="148159"/>
                  </a:lnTo>
                  <a:lnTo>
                    <a:pt x="152671" y="150720"/>
                  </a:lnTo>
                  <a:lnTo>
                    <a:pt x="152671" y="149622"/>
                  </a:lnTo>
                  <a:lnTo>
                    <a:pt x="144867" y="144867"/>
                  </a:lnTo>
                  <a:lnTo>
                    <a:pt x="138648" y="138648"/>
                  </a:lnTo>
                  <a:lnTo>
                    <a:pt x="146086" y="134136"/>
                  </a:lnTo>
                  <a:lnTo>
                    <a:pt x="155963" y="138160"/>
                  </a:lnTo>
                  <a:lnTo>
                    <a:pt x="163036" y="144013"/>
                  </a:lnTo>
                  <a:lnTo>
                    <a:pt x="174254" y="148525"/>
                  </a:lnTo>
                  <a:lnTo>
                    <a:pt x="175840" y="146940"/>
                  </a:lnTo>
                  <a:lnTo>
                    <a:pt x="169865" y="142184"/>
                  </a:lnTo>
                  <a:lnTo>
                    <a:pt x="186205" y="138526"/>
                  </a:lnTo>
                  <a:lnTo>
                    <a:pt x="202057" y="145476"/>
                  </a:lnTo>
                  <a:lnTo>
                    <a:pt x="217422" y="144745"/>
                  </a:lnTo>
                  <a:lnTo>
                    <a:pt x="220105" y="139867"/>
                  </a:lnTo>
                  <a:lnTo>
                    <a:pt x="203765" y="130965"/>
                  </a:lnTo>
                  <a:lnTo>
                    <a:pt x="203765" y="124746"/>
                  </a:lnTo>
                  <a:lnTo>
                    <a:pt x="217666" y="120600"/>
                  </a:lnTo>
                  <a:lnTo>
                    <a:pt x="226568" y="127673"/>
                  </a:lnTo>
                  <a:lnTo>
                    <a:pt x="233640" y="128526"/>
                  </a:lnTo>
                  <a:lnTo>
                    <a:pt x="246444" y="138160"/>
                  </a:lnTo>
                  <a:lnTo>
                    <a:pt x="245103" y="148891"/>
                  </a:lnTo>
                  <a:lnTo>
                    <a:pt x="252785" y="152793"/>
                  </a:lnTo>
                  <a:lnTo>
                    <a:pt x="258394" y="161938"/>
                  </a:lnTo>
                  <a:lnTo>
                    <a:pt x="281197" y="169743"/>
                  </a:lnTo>
                  <a:lnTo>
                    <a:pt x="283880" y="176084"/>
                  </a:lnTo>
                  <a:lnTo>
                    <a:pt x="259370" y="183888"/>
                  </a:lnTo>
                  <a:lnTo>
                    <a:pt x="260101" y="187302"/>
                  </a:lnTo>
                  <a:lnTo>
                    <a:pt x="268028" y="187912"/>
                  </a:lnTo>
                  <a:lnTo>
                    <a:pt x="276076" y="184742"/>
                  </a:lnTo>
                  <a:lnTo>
                    <a:pt x="290465" y="177791"/>
                  </a:lnTo>
                  <a:lnTo>
                    <a:pt x="304488" y="177791"/>
                  </a:lnTo>
                  <a:lnTo>
                    <a:pt x="296806" y="185839"/>
                  </a:lnTo>
                  <a:lnTo>
                    <a:pt x="304488" y="193034"/>
                  </a:lnTo>
                  <a:lnTo>
                    <a:pt x="316195" y="192180"/>
                  </a:lnTo>
                  <a:lnTo>
                    <a:pt x="322292" y="202179"/>
                  </a:lnTo>
                  <a:lnTo>
                    <a:pt x="335218" y="209862"/>
                  </a:lnTo>
                  <a:lnTo>
                    <a:pt x="338510" y="216934"/>
                  </a:lnTo>
                  <a:lnTo>
                    <a:pt x="339729" y="222909"/>
                  </a:lnTo>
                  <a:lnTo>
                    <a:pt x="345582" y="227299"/>
                  </a:lnTo>
                  <a:lnTo>
                    <a:pt x="345582" y="247298"/>
                  </a:lnTo>
                  <a:lnTo>
                    <a:pt x="334730" y="248273"/>
                  </a:lnTo>
                  <a:lnTo>
                    <a:pt x="327779" y="258516"/>
                  </a:lnTo>
                  <a:lnTo>
                    <a:pt x="301805" y="278881"/>
                  </a:lnTo>
                  <a:lnTo>
                    <a:pt x="304244" y="291075"/>
                  </a:lnTo>
                  <a:lnTo>
                    <a:pt x="318633" y="302537"/>
                  </a:lnTo>
                  <a:lnTo>
                    <a:pt x="318633" y="319487"/>
                  </a:lnTo>
                  <a:lnTo>
                    <a:pt x="306683" y="314487"/>
                  </a:lnTo>
                  <a:lnTo>
                    <a:pt x="290221" y="324121"/>
                  </a:lnTo>
                  <a:lnTo>
                    <a:pt x="264979" y="325584"/>
                  </a:lnTo>
                  <a:lnTo>
                    <a:pt x="255833" y="320950"/>
                  </a:lnTo>
                  <a:lnTo>
                    <a:pt x="248761" y="316195"/>
                  </a:lnTo>
                  <a:lnTo>
                    <a:pt x="243517" y="321438"/>
                  </a:lnTo>
                  <a:lnTo>
                    <a:pt x="243517" y="330096"/>
                  </a:lnTo>
                  <a:lnTo>
                    <a:pt x="230592" y="340095"/>
                  </a:lnTo>
                  <a:lnTo>
                    <a:pt x="229372" y="355094"/>
                  </a:lnTo>
                  <a:lnTo>
                    <a:pt x="244981" y="366678"/>
                  </a:lnTo>
                  <a:lnTo>
                    <a:pt x="263028" y="368020"/>
                  </a:lnTo>
                  <a:lnTo>
                    <a:pt x="274125" y="351314"/>
                  </a:lnTo>
                  <a:lnTo>
                    <a:pt x="283270" y="349485"/>
                  </a:lnTo>
                  <a:lnTo>
                    <a:pt x="296562" y="364118"/>
                  </a:lnTo>
                  <a:lnTo>
                    <a:pt x="298757" y="361191"/>
                  </a:lnTo>
                  <a:lnTo>
                    <a:pt x="297050" y="349241"/>
                  </a:lnTo>
                  <a:lnTo>
                    <a:pt x="309488" y="351314"/>
                  </a:lnTo>
                  <a:lnTo>
                    <a:pt x="312171" y="356801"/>
                  </a:lnTo>
                  <a:lnTo>
                    <a:pt x="328267" y="356801"/>
                  </a:lnTo>
                  <a:lnTo>
                    <a:pt x="331315" y="376190"/>
                  </a:lnTo>
                  <a:lnTo>
                    <a:pt x="345826" y="389482"/>
                  </a:lnTo>
                  <a:lnTo>
                    <a:pt x="359240" y="390945"/>
                  </a:lnTo>
                  <a:lnTo>
                    <a:pt x="363142" y="404480"/>
                  </a:lnTo>
                  <a:lnTo>
                    <a:pt x="354606" y="405944"/>
                  </a:lnTo>
                  <a:lnTo>
                    <a:pt x="356557" y="413992"/>
                  </a:lnTo>
                  <a:lnTo>
                    <a:pt x="364483" y="416553"/>
                  </a:lnTo>
                  <a:lnTo>
                    <a:pt x="382287" y="433015"/>
                  </a:lnTo>
                  <a:lnTo>
                    <a:pt x="391798" y="430332"/>
                  </a:lnTo>
                  <a:lnTo>
                    <a:pt x="402529" y="433990"/>
                  </a:lnTo>
                  <a:lnTo>
                    <a:pt x="401066" y="449965"/>
                  </a:lnTo>
                  <a:lnTo>
                    <a:pt x="416431" y="460208"/>
                  </a:lnTo>
                  <a:lnTo>
                    <a:pt x="427527" y="460208"/>
                  </a:lnTo>
                  <a:lnTo>
                    <a:pt x="458378" y="471426"/>
                  </a:lnTo>
                  <a:lnTo>
                    <a:pt x="466792" y="468256"/>
                  </a:lnTo>
                  <a:lnTo>
                    <a:pt x="460939" y="455330"/>
                  </a:lnTo>
                  <a:lnTo>
                    <a:pt x="439843" y="441185"/>
                  </a:lnTo>
                  <a:lnTo>
                    <a:pt x="428259" y="425332"/>
                  </a:lnTo>
                  <a:lnTo>
                    <a:pt x="406431" y="397652"/>
                  </a:lnTo>
                  <a:lnTo>
                    <a:pt x="409846" y="385458"/>
                  </a:lnTo>
                  <a:lnTo>
                    <a:pt x="418016" y="383385"/>
                  </a:lnTo>
                  <a:lnTo>
                    <a:pt x="429356" y="397652"/>
                  </a:lnTo>
                  <a:lnTo>
                    <a:pt x="436551" y="396188"/>
                  </a:lnTo>
                  <a:lnTo>
                    <a:pt x="444965" y="407529"/>
                  </a:lnTo>
                  <a:lnTo>
                    <a:pt x="456305" y="404724"/>
                  </a:lnTo>
                  <a:lnTo>
                    <a:pt x="456305" y="404724"/>
                  </a:lnTo>
                  <a:lnTo>
                    <a:pt x="471426" y="422894"/>
                  </a:lnTo>
                  <a:lnTo>
                    <a:pt x="483498" y="441673"/>
                  </a:lnTo>
                  <a:lnTo>
                    <a:pt x="488864" y="440697"/>
                  </a:lnTo>
                  <a:lnTo>
                    <a:pt x="488864" y="429235"/>
                  </a:lnTo>
                  <a:lnTo>
                    <a:pt x="493985" y="420333"/>
                  </a:lnTo>
                  <a:lnTo>
                    <a:pt x="484108" y="411919"/>
                  </a:lnTo>
                  <a:lnTo>
                    <a:pt x="488376" y="403383"/>
                  </a:lnTo>
                  <a:lnTo>
                    <a:pt x="500205" y="404724"/>
                  </a:lnTo>
                  <a:lnTo>
                    <a:pt x="500205" y="396432"/>
                  </a:lnTo>
                  <a:lnTo>
                    <a:pt x="490327" y="383750"/>
                  </a:lnTo>
                  <a:lnTo>
                    <a:pt x="490327" y="376922"/>
                  </a:lnTo>
                  <a:lnTo>
                    <a:pt x="484596" y="372654"/>
                  </a:lnTo>
                  <a:lnTo>
                    <a:pt x="484596" y="365215"/>
                  </a:lnTo>
                  <a:lnTo>
                    <a:pt x="469841" y="346558"/>
                  </a:lnTo>
                  <a:lnTo>
                    <a:pt x="459964" y="343753"/>
                  </a:lnTo>
                  <a:lnTo>
                    <a:pt x="445087" y="324365"/>
                  </a:lnTo>
                  <a:lnTo>
                    <a:pt x="441063" y="316317"/>
                  </a:lnTo>
                  <a:lnTo>
                    <a:pt x="432649" y="310585"/>
                  </a:lnTo>
                  <a:lnTo>
                    <a:pt x="417650" y="292538"/>
                  </a:lnTo>
                  <a:lnTo>
                    <a:pt x="423503" y="278759"/>
                  </a:lnTo>
                  <a:lnTo>
                    <a:pt x="437283" y="290953"/>
                  </a:lnTo>
                  <a:lnTo>
                    <a:pt x="442770" y="287295"/>
                  </a:lnTo>
                  <a:lnTo>
                    <a:pt x="439477" y="281807"/>
                  </a:lnTo>
                  <a:lnTo>
                    <a:pt x="431551" y="264369"/>
                  </a:lnTo>
                  <a:lnTo>
                    <a:pt x="451794" y="254248"/>
                  </a:lnTo>
                  <a:lnTo>
                    <a:pt x="467402" y="271442"/>
                  </a:lnTo>
                  <a:lnTo>
                    <a:pt x="471061" y="278759"/>
                  </a:lnTo>
                  <a:lnTo>
                    <a:pt x="488376" y="278759"/>
                  </a:lnTo>
                  <a:lnTo>
                    <a:pt x="490327" y="286807"/>
                  </a:lnTo>
                  <a:lnTo>
                    <a:pt x="482157" y="301928"/>
                  </a:lnTo>
                  <a:lnTo>
                    <a:pt x="495327" y="319121"/>
                  </a:lnTo>
                  <a:lnTo>
                    <a:pt x="501912" y="324365"/>
                  </a:lnTo>
                  <a:lnTo>
                    <a:pt x="510569" y="327291"/>
                  </a:lnTo>
                  <a:lnTo>
                    <a:pt x="518740" y="336559"/>
                  </a:lnTo>
                  <a:lnTo>
                    <a:pt x="522764" y="327535"/>
                  </a:lnTo>
                  <a:lnTo>
                    <a:pt x="517276" y="311073"/>
                  </a:lnTo>
                  <a:lnTo>
                    <a:pt x="517276" y="294245"/>
                  </a:lnTo>
                  <a:lnTo>
                    <a:pt x="529592" y="306561"/>
                  </a:lnTo>
                  <a:lnTo>
                    <a:pt x="542518" y="298269"/>
                  </a:lnTo>
                  <a:lnTo>
                    <a:pt x="538250" y="269125"/>
                  </a:lnTo>
                  <a:lnTo>
                    <a:pt x="555810" y="267662"/>
                  </a:lnTo>
                  <a:lnTo>
                    <a:pt x="558127" y="251931"/>
                  </a:lnTo>
                  <a:lnTo>
                    <a:pt x="549347" y="249371"/>
                  </a:lnTo>
                  <a:lnTo>
                    <a:pt x="550810" y="244127"/>
                  </a:lnTo>
                  <a:lnTo>
                    <a:pt x="543494" y="240957"/>
                  </a:lnTo>
                  <a:lnTo>
                    <a:pt x="522398" y="251809"/>
                  </a:lnTo>
                  <a:lnTo>
                    <a:pt x="519715" y="243761"/>
                  </a:lnTo>
                  <a:lnTo>
                    <a:pt x="524593" y="240103"/>
                  </a:lnTo>
                  <a:lnTo>
                    <a:pt x="521544" y="237420"/>
                  </a:lnTo>
                  <a:lnTo>
                    <a:pt x="498132" y="240225"/>
                  </a:lnTo>
                  <a:lnTo>
                    <a:pt x="498132" y="240225"/>
                  </a:lnTo>
                  <a:lnTo>
                    <a:pt x="501302" y="227665"/>
                  </a:lnTo>
                  <a:lnTo>
                    <a:pt x="494473" y="223641"/>
                  </a:lnTo>
                  <a:lnTo>
                    <a:pt x="484596" y="221568"/>
                  </a:lnTo>
                  <a:lnTo>
                    <a:pt x="484596" y="215349"/>
                  </a:lnTo>
                  <a:lnTo>
                    <a:pt x="471670" y="215959"/>
                  </a:lnTo>
                  <a:lnTo>
                    <a:pt x="459110" y="221690"/>
                  </a:lnTo>
                  <a:lnTo>
                    <a:pt x="447038" y="205350"/>
                  </a:lnTo>
                  <a:lnTo>
                    <a:pt x="429234" y="195472"/>
                  </a:lnTo>
                  <a:lnTo>
                    <a:pt x="401310" y="189010"/>
                  </a:lnTo>
                  <a:lnTo>
                    <a:pt x="406187" y="180108"/>
                  </a:lnTo>
                  <a:lnTo>
                    <a:pt x="429722" y="184254"/>
                  </a:lnTo>
                  <a:lnTo>
                    <a:pt x="430454" y="181083"/>
                  </a:lnTo>
                  <a:lnTo>
                    <a:pt x="416187" y="174011"/>
                  </a:lnTo>
                  <a:lnTo>
                    <a:pt x="451550" y="172060"/>
                  </a:lnTo>
                  <a:lnTo>
                    <a:pt x="449964" y="169865"/>
                  </a:lnTo>
                  <a:lnTo>
                    <a:pt x="418991" y="161573"/>
                  </a:lnTo>
                  <a:lnTo>
                    <a:pt x="433868" y="155719"/>
                  </a:lnTo>
                  <a:lnTo>
                    <a:pt x="441551" y="155719"/>
                  </a:lnTo>
                  <a:lnTo>
                    <a:pt x="444111" y="151573"/>
                  </a:lnTo>
                  <a:lnTo>
                    <a:pt x="428869" y="140965"/>
                  </a:lnTo>
                  <a:lnTo>
                    <a:pt x="421186" y="148647"/>
                  </a:lnTo>
                  <a:lnTo>
                    <a:pt x="405212" y="152915"/>
                  </a:lnTo>
                  <a:lnTo>
                    <a:pt x="405212" y="146818"/>
                  </a:lnTo>
                  <a:lnTo>
                    <a:pt x="379482" y="143038"/>
                  </a:lnTo>
                  <a:lnTo>
                    <a:pt x="406309" y="136331"/>
                  </a:lnTo>
                  <a:lnTo>
                    <a:pt x="416065" y="127795"/>
                  </a:lnTo>
                  <a:lnTo>
                    <a:pt x="398383" y="120844"/>
                  </a:lnTo>
                  <a:lnTo>
                    <a:pt x="384238" y="121576"/>
                  </a:lnTo>
                  <a:lnTo>
                    <a:pt x="372775" y="134502"/>
                  </a:lnTo>
                  <a:lnTo>
                    <a:pt x="372775" y="134502"/>
                  </a:lnTo>
                  <a:lnTo>
                    <a:pt x="360338" y="133282"/>
                  </a:lnTo>
                  <a:lnTo>
                    <a:pt x="364362" y="123283"/>
                  </a:lnTo>
                  <a:lnTo>
                    <a:pt x="370337" y="118405"/>
                  </a:lnTo>
                  <a:lnTo>
                    <a:pt x="369727" y="117796"/>
                  </a:lnTo>
                  <a:lnTo>
                    <a:pt x="354240" y="123649"/>
                  </a:lnTo>
                  <a:lnTo>
                    <a:pt x="345217" y="114259"/>
                  </a:lnTo>
                  <a:lnTo>
                    <a:pt x="369239" y="107065"/>
                  </a:lnTo>
                  <a:lnTo>
                    <a:pt x="365703" y="93651"/>
                  </a:lnTo>
                  <a:lnTo>
                    <a:pt x="355704" y="87676"/>
                  </a:lnTo>
                  <a:lnTo>
                    <a:pt x="341071" y="87676"/>
                  </a:lnTo>
                  <a:lnTo>
                    <a:pt x="339729" y="9621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3" name="Freihandform: Form 522">
              <a:extLst>
                <a:ext uri="{FF2B5EF4-FFF2-40B4-BE49-F238E27FC236}">
                  <a16:creationId xmlns:a16="http://schemas.microsoft.com/office/drawing/2014/main" id="{492A3DAF-955D-466D-B0FE-DCD148BE5A26}"/>
                </a:ext>
              </a:extLst>
            </p:cNvPr>
            <p:cNvSpPr/>
            <p:nvPr/>
          </p:nvSpPr>
          <p:spPr>
            <a:xfrm>
              <a:off x="2935665" y="4630759"/>
              <a:ext cx="1219" cy="2072"/>
            </a:xfrm>
            <a:custGeom>
              <a:avLst/>
              <a:gdLst>
                <a:gd name="connsiteX0" fmla="*/ 854 w 1219"/>
                <a:gd name="connsiteY0" fmla="*/ 0 h 2072"/>
                <a:gd name="connsiteX1" fmla="*/ 0 w 1219"/>
                <a:gd name="connsiteY1" fmla="*/ 122 h 2072"/>
                <a:gd name="connsiteX2" fmla="*/ 1219 w 1219"/>
                <a:gd name="connsiteY2" fmla="*/ 2073 h 2072"/>
                <a:gd name="connsiteX3" fmla="*/ 1219 w 1219"/>
                <a:gd name="connsiteY3" fmla="*/ 2073 h 2072"/>
                <a:gd name="connsiteX4" fmla="*/ 854 w 1219"/>
                <a:gd name="connsiteY4" fmla="*/ 0 h 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" h="2072">
                  <a:moveTo>
                    <a:pt x="854" y="0"/>
                  </a:moveTo>
                  <a:lnTo>
                    <a:pt x="0" y="122"/>
                  </a:lnTo>
                  <a:lnTo>
                    <a:pt x="1219" y="2073"/>
                  </a:lnTo>
                  <a:lnTo>
                    <a:pt x="1219" y="2073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4" name="Freihandform: Form 523">
              <a:extLst>
                <a:ext uri="{FF2B5EF4-FFF2-40B4-BE49-F238E27FC236}">
                  <a16:creationId xmlns:a16="http://schemas.microsoft.com/office/drawing/2014/main" id="{FB79CB42-4FCA-4AB2-A83E-AFB83BCDEE44}"/>
                </a:ext>
              </a:extLst>
            </p:cNvPr>
            <p:cNvSpPr/>
            <p:nvPr/>
          </p:nvSpPr>
          <p:spPr>
            <a:xfrm>
              <a:off x="2266937" y="1587828"/>
              <a:ext cx="47923" cy="14389"/>
            </a:xfrm>
            <a:custGeom>
              <a:avLst/>
              <a:gdLst>
                <a:gd name="connsiteX0" fmla="*/ 24632 w 47923"/>
                <a:gd name="connsiteY0" fmla="*/ 4146 h 14389"/>
                <a:gd name="connsiteX1" fmla="*/ 5609 w 47923"/>
                <a:gd name="connsiteY1" fmla="*/ 5000 h 14389"/>
                <a:gd name="connsiteX2" fmla="*/ 0 w 47923"/>
                <a:gd name="connsiteY2" fmla="*/ 10609 h 14389"/>
                <a:gd name="connsiteX3" fmla="*/ 9268 w 47923"/>
                <a:gd name="connsiteY3" fmla="*/ 14389 h 14389"/>
                <a:gd name="connsiteX4" fmla="*/ 30851 w 47923"/>
                <a:gd name="connsiteY4" fmla="*/ 11950 h 14389"/>
                <a:gd name="connsiteX5" fmla="*/ 39143 w 47923"/>
                <a:gd name="connsiteY5" fmla="*/ 5243 h 14389"/>
                <a:gd name="connsiteX6" fmla="*/ 47923 w 47923"/>
                <a:gd name="connsiteY6" fmla="*/ 2927 h 14389"/>
                <a:gd name="connsiteX7" fmla="*/ 47923 w 47923"/>
                <a:gd name="connsiteY7" fmla="*/ 1707 h 14389"/>
                <a:gd name="connsiteX8" fmla="*/ 44143 w 47923"/>
                <a:gd name="connsiteY8" fmla="*/ 0 h 14389"/>
                <a:gd name="connsiteX9" fmla="*/ 24632 w 47923"/>
                <a:gd name="connsiteY9" fmla="*/ 4146 h 1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23" h="14389">
                  <a:moveTo>
                    <a:pt x="24632" y="4146"/>
                  </a:moveTo>
                  <a:lnTo>
                    <a:pt x="5609" y="5000"/>
                  </a:lnTo>
                  <a:lnTo>
                    <a:pt x="0" y="10609"/>
                  </a:lnTo>
                  <a:lnTo>
                    <a:pt x="9268" y="14389"/>
                  </a:lnTo>
                  <a:lnTo>
                    <a:pt x="30851" y="11950"/>
                  </a:lnTo>
                  <a:lnTo>
                    <a:pt x="39143" y="5243"/>
                  </a:lnTo>
                  <a:lnTo>
                    <a:pt x="47923" y="2927"/>
                  </a:lnTo>
                  <a:lnTo>
                    <a:pt x="47923" y="1707"/>
                  </a:lnTo>
                  <a:lnTo>
                    <a:pt x="44143" y="0"/>
                  </a:lnTo>
                  <a:lnTo>
                    <a:pt x="24632" y="414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5" name="Freihandform: Form 524">
              <a:extLst>
                <a:ext uri="{FF2B5EF4-FFF2-40B4-BE49-F238E27FC236}">
                  <a16:creationId xmlns:a16="http://schemas.microsoft.com/office/drawing/2014/main" id="{C4C285BD-B38F-44DA-A2C6-B7BDB6890077}"/>
                </a:ext>
              </a:extLst>
            </p:cNvPr>
            <p:cNvSpPr/>
            <p:nvPr/>
          </p:nvSpPr>
          <p:spPr>
            <a:xfrm>
              <a:off x="2856525" y="1560269"/>
              <a:ext cx="2926" cy="1219"/>
            </a:xfrm>
            <a:custGeom>
              <a:avLst/>
              <a:gdLst>
                <a:gd name="connsiteX0" fmla="*/ 0 w 2926"/>
                <a:gd name="connsiteY0" fmla="*/ 1219 h 1219"/>
                <a:gd name="connsiteX1" fmla="*/ 366 w 2926"/>
                <a:gd name="connsiteY1" fmla="*/ 1219 h 1219"/>
                <a:gd name="connsiteX2" fmla="*/ 2926 w 2926"/>
                <a:gd name="connsiteY2" fmla="*/ 0 h 1219"/>
                <a:gd name="connsiteX3" fmla="*/ 0 w 2926"/>
                <a:gd name="connsiteY3" fmla="*/ 1219 h 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6" h="1219">
                  <a:moveTo>
                    <a:pt x="0" y="1219"/>
                  </a:moveTo>
                  <a:lnTo>
                    <a:pt x="366" y="1219"/>
                  </a:lnTo>
                  <a:lnTo>
                    <a:pt x="2926" y="0"/>
                  </a:lnTo>
                  <a:lnTo>
                    <a:pt x="0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6" name="Freihandform: Form 525">
              <a:extLst>
                <a:ext uri="{FF2B5EF4-FFF2-40B4-BE49-F238E27FC236}">
                  <a16:creationId xmlns:a16="http://schemas.microsoft.com/office/drawing/2014/main" id="{0C6B49CE-5DAA-4E5E-88E1-CEAD04F7D6E1}"/>
                </a:ext>
              </a:extLst>
            </p:cNvPr>
            <p:cNvSpPr/>
            <p:nvPr/>
          </p:nvSpPr>
          <p:spPr>
            <a:xfrm>
              <a:off x="2747997" y="1684527"/>
              <a:ext cx="10243" cy="8779"/>
            </a:xfrm>
            <a:custGeom>
              <a:avLst/>
              <a:gdLst>
                <a:gd name="connsiteX0" fmla="*/ 9755 w 10243"/>
                <a:gd name="connsiteY0" fmla="*/ 6707 h 8779"/>
                <a:gd name="connsiteX1" fmla="*/ 4634 w 10243"/>
                <a:gd name="connsiteY1" fmla="*/ 4146 h 8779"/>
                <a:gd name="connsiteX2" fmla="*/ 488 w 10243"/>
                <a:gd name="connsiteY2" fmla="*/ 0 h 8779"/>
                <a:gd name="connsiteX3" fmla="*/ 0 w 10243"/>
                <a:gd name="connsiteY3" fmla="*/ 854 h 8779"/>
                <a:gd name="connsiteX4" fmla="*/ 6829 w 10243"/>
                <a:gd name="connsiteY4" fmla="*/ 8780 h 8779"/>
                <a:gd name="connsiteX5" fmla="*/ 10243 w 10243"/>
                <a:gd name="connsiteY5" fmla="*/ 8780 h 8779"/>
                <a:gd name="connsiteX6" fmla="*/ 9755 w 10243"/>
                <a:gd name="connsiteY6" fmla="*/ 6707 h 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3" h="8779">
                  <a:moveTo>
                    <a:pt x="9755" y="6707"/>
                  </a:moveTo>
                  <a:lnTo>
                    <a:pt x="4634" y="4146"/>
                  </a:lnTo>
                  <a:lnTo>
                    <a:pt x="488" y="0"/>
                  </a:lnTo>
                  <a:lnTo>
                    <a:pt x="0" y="854"/>
                  </a:lnTo>
                  <a:lnTo>
                    <a:pt x="6829" y="8780"/>
                  </a:lnTo>
                  <a:lnTo>
                    <a:pt x="10243" y="8780"/>
                  </a:lnTo>
                  <a:lnTo>
                    <a:pt x="9755" y="6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7" name="Freihandform: Form 526">
              <a:extLst>
                <a:ext uri="{FF2B5EF4-FFF2-40B4-BE49-F238E27FC236}">
                  <a16:creationId xmlns:a16="http://schemas.microsoft.com/office/drawing/2014/main" id="{91934C1C-5FCF-49BA-A179-7ABCC5823540}"/>
                </a:ext>
              </a:extLst>
            </p:cNvPr>
            <p:cNvSpPr/>
            <p:nvPr/>
          </p:nvSpPr>
          <p:spPr>
            <a:xfrm>
              <a:off x="2838843" y="1570024"/>
              <a:ext cx="21827" cy="12681"/>
            </a:xfrm>
            <a:custGeom>
              <a:avLst/>
              <a:gdLst>
                <a:gd name="connsiteX0" fmla="*/ 20974 w 21827"/>
                <a:gd name="connsiteY0" fmla="*/ 1097 h 12681"/>
                <a:gd name="connsiteX1" fmla="*/ 17194 w 21827"/>
                <a:gd name="connsiteY1" fmla="*/ 0 h 12681"/>
                <a:gd name="connsiteX2" fmla="*/ 10365 w 21827"/>
                <a:gd name="connsiteY2" fmla="*/ 2683 h 12681"/>
                <a:gd name="connsiteX3" fmla="*/ 9024 w 21827"/>
                <a:gd name="connsiteY3" fmla="*/ 8658 h 12681"/>
                <a:gd name="connsiteX4" fmla="*/ 0 w 21827"/>
                <a:gd name="connsiteY4" fmla="*/ 12072 h 12681"/>
                <a:gd name="connsiteX5" fmla="*/ 9511 w 21827"/>
                <a:gd name="connsiteY5" fmla="*/ 12682 h 12681"/>
                <a:gd name="connsiteX6" fmla="*/ 21828 w 21827"/>
                <a:gd name="connsiteY6" fmla="*/ 5975 h 12681"/>
                <a:gd name="connsiteX7" fmla="*/ 20974 w 21827"/>
                <a:gd name="connsiteY7" fmla="*/ 1097 h 1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27" h="12681">
                  <a:moveTo>
                    <a:pt x="20974" y="1097"/>
                  </a:moveTo>
                  <a:lnTo>
                    <a:pt x="17194" y="0"/>
                  </a:lnTo>
                  <a:lnTo>
                    <a:pt x="10365" y="2683"/>
                  </a:lnTo>
                  <a:lnTo>
                    <a:pt x="9024" y="8658"/>
                  </a:lnTo>
                  <a:lnTo>
                    <a:pt x="0" y="12072"/>
                  </a:lnTo>
                  <a:lnTo>
                    <a:pt x="9511" y="12682"/>
                  </a:lnTo>
                  <a:lnTo>
                    <a:pt x="21828" y="5975"/>
                  </a:lnTo>
                  <a:lnTo>
                    <a:pt x="20974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8" name="Freihandform: Form 527">
              <a:extLst>
                <a:ext uri="{FF2B5EF4-FFF2-40B4-BE49-F238E27FC236}">
                  <a16:creationId xmlns:a16="http://schemas.microsoft.com/office/drawing/2014/main" id="{631A7806-198D-465A-AE69-F2875842DA19}"/>
                </a:ext>
              </a:extLst>
            </p:cNvPr>
            <p:cNvSpPr/>
            <p:nvPr/>
          </p:nvSpPr>
          <p:spPr>
            <a:xfrm>
              <a:off x="2826162" y="1556611"/>
              <a:ext cx="13535" cy="3780"/>
            </a:xfrm>
            <a:custGeom>
              <a:avLst/>
              <a:gdLst>
                <a:gd name="connsiteX0" fmla="*/ 13536 w 13535"/>
                <a:gd name="connsiteY0" fmla="*/ 0 h 3780"/>
                <a:gd name="connsiteX1" fmla="*/ 976 w 13535"/>
                <a:gd name="connsiteY1" fmla="*/ 2073 h 3780"/>
                <a:gd name="connsiteX2" fmla="*/ 0 w 13535"/>
                <a:gd name="connsiteY2" fmla="*/ 2805 h 3780"/>
                <a:gd name="connsiteX3" fmla="*/ 2927 w 13535"/>
                <a:gd name="connsiteY3" fmla="*/ 3780 h 3780"/>
                <a:gd name="connsiteX4" fmla="*/ 13536 w 13535"/>
                <a:gd name="connsiteY4" fmla="*/ 244 h 3780"/>
                <a:gd name="connsiteX5" fmla="*/ 13536 w 13535"/>
                <a:gd name="connsiteY5" fmla="*/ 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35" h="3780">
                  <a:moveTo>
                    <a:pt x="13536" y="0"/>
                  </a:moveTo>
                  <a:lnTo>
                    <a:pt x="976" y="2073"/>
                  </a:lnTo>
                  <a:lnTo>
                    <a:pt x="0" y="2805"/>
                  </a:lnTo>
                  <a:lnTo>
                    <a:pt x="2927" y="3780"/>
                  </a:lnTo>
                  <a:lnTo>
                    <a:pt x="13536" y="244"/>
                  </a:lnTo>
                  <a:lnTo>
                    <a:pt x="13536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29" name="Freihandform: Form 528">
              <a:extLst>
                <a:ext uri="{FF2B5EF4-FFF2-40B4-BE49-F238E27FC236}">
                  <a16:creationId xmlns:a16="http://schemas.microsoft.com/office/drawing/2014/main" id="{EC6A7026-C2D6-4AD7-A9F5-3A1AD0E664C2}"/>
                </a:ext>
              </a:extLst>
            </p:cNvPr>
            <p:cNvSpPr/>
            <p:nvPr/>
          </p:nvSpPr>
          <p:spPr>
            <a:xfrm>
              <a:off x="2734827" y="1687454"/>
              <a:ext cx="5121" cy="12925"/>
            </a:xfrm>
            <a:custGeom>
              <a:avLst/>
              <a:gdLst>
                <a:gd name="connsiteX0" fmla="*/ 5122 w 5121"/>
                <a:gd name="connsiteY0" fmla="*/ 12926 h 12925"/>
                <a:gd name="connsiteX1" fmla="*/ 2927 w 5121"/>
                <a:gd name="connsiteY1" fmla="*/ 1951 h 12925"/>
                <a:gd name="connsiteX2" fmla="*/ 854 w 5121"/>
                <a:gd name="connsiteY2" fmla="*/ 0 h 12925"/>
                <a:gd name="connsiteX3" fmla="*/ 0 w 5121"/>
                <a:gd name="connsiteY3" fmla="*/ 1341 h 12925"/>
                <a:gd name="connsiteX4" fmla="*/ 2317 w 5121"/>
                <a:gd name="connsiteY4" fmla="*/ 12926 h 12925"/>
                <a:gd name="connsiteX5" fmla="*/ 5122 w 5121"/>
                <a:gd name="connsiteY5" fmla="*/ 12926 h 1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21" h="12925">
                  <a:moveTo>
                    <a:pt x="5122" y="12926"/>
                  </a:moveTo>
                  <a:lnTo>
                    <a:pt x="2927" y="1951"/>
                  </a:lnTo>
                  <a:lnTo>
                    <a:pt x="854" y="0"/>
                  </a:lnTo>
                  <a:lnTo>
                    <a:pt x="0" y="1341"/>
                  </a:lnTo>
                  <a:lnTo>
                    <a:pt x="2317" y="12926"/>
                  </a:lnTo>
                  <a:lnTo>
                    <a:pt x="5122" y="12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0" name="Freihandform: Form 529">
              <a:extLst>
                <a:ext uri="{FF2B5EF4-FFF2-40B4-BE49-F238E27FC236}">
                  <a16:creationId xmlns:a16="http://schemas.microsoft.com/office/drawing/2014/main" id="{0073DBE1-AED5-4190-B215-94864443F8A1}"/>
                </a:ext>
              </a:extLst>
            </p:cNvPr>
            <p:cNvSpPr/>
            <p:nvPr/>
          </p:nvSpPr>
          <p:spPr>
            <a:xfrm>
              <a:off x="2982003" y="1256025"/>
              <a:ext cx="5365" cy="1097"/>
            </a:xfrm>
            <a:custGeom>
              <a:avLst/>
              <a:gdLst>
                <a:gd name="connsiteX0" fmla="*/ 488 w 5365"/>
                <a:gd name="connsiteY0" fmla="*/ 0 h 1097"/>
                <a:gd name="connsiteX1" fmla="*/ 0 w 5365"/>
                <a:gd name="connsiteY1" fmla="*/ 122 h 1097"/>
                <a:gd name="connsiteX2" fmla="*/ 1951 w 5365"/>
                <a:gd name="connsiteY2" fmla="*/ 1097 h 1097"/>
                <a:gd name="connsiteX3" fmla="*/ 5365 w 5365"/>
                <a:gd name="connsiteY3" fmla="*/ 366 h 1097"/>
                <a:gd name="connsiteX4" fmla="*/ 488 w 5365"/>
                <a:gd name="connsiteY4" fmla="*/ 0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65" h="1097">
                  <a:moveTo>
                    <a:pt x="488" y="0"/>
                  </a:moveTo>
                  <a:lnTo>
                    <a:pt x="0" y="122"/>
                  </a:lnTo>
                  <a:lnTo>
                    <a:pt x="1951" y="1097"/>
                  </a:lnTo>
                  <a:lnTo>
                    <a:pt x="5365" y="366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1" name="Freihandform: Form 530">
              <a:extLst>
                <a:ext uri="{FF2B5EF4-FFF2-40B4-BE49-F238E27FC236}">
                  <a16:creationId xmlns:a16="http://schemas.microsoft.com/office/drawing/2014/main" id="{D049A0C8-F9DE-4088-9A25-4F90D9835E4B}"/>
                </a:ext>
              </a:extLst>
            </p:cNvPr>
            <p:cNvSpPr/>
            <p:nvPr/>
          </p:nvSpPr>
          <p:spPr>
            <a:xfrm>
              <a:off x="2626543" y="1279925"/>
              <a:ext cx="7438" cy="7560"/>
            </a:xfrm>
            <a:custGeom>
              <a:avLst/>
              <a:gdLst>
                <a:gd name="connsiteX0" fmla="*/ 1219 w 7438"/>
                <a:gd name="connsiteY0" fmla="*/ 0 h 7560"/>
                <a:gd name="connsiteX1" fmla="*/ 0 w 7438"/>
                <a:gd name="connsiteY1" fmla="*/ 610 h 7560"/>
                <a:gd name="connsiteX2" fmla="*/ 732 w 7438"/>
                <a:gd name="connsiteY2" fmla="*/ 6829 h 7560"/>
                <a:gd name="connsiteX3" fmla="*/ 4268 w 7438"/>
                <a:gd name="connsiteY3" fmla="*/ 7560 h 7560"/>
                <a:gd name="connsiteX4" fmla="*/ 7438 w 7438"/>
                <a:gd name="connsiteY4" fmla="*/ 6463 h 7560"/>
                <a:gd name="connsiteX5" fmla="*/ 5609 w 7438"/>
                <a:gd name="connsiteY5" fmla="*/ 0 h 7560"/>
                <a:gd name="connsiteX6" fmla="*/ 1219 w 7438"/>
                <a:gd name="connsiteY6" fmla="*/ 0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38" h="7560">
                  <a:moveTo>
                    <a:pt x="1219" y="0"/>
                  </a:moveTo>
                  <a:lnTo>
                    <a:pt x="0" y="610"/>
                  </a:lnTo>
                  <a:lnTo>
                    <a:pt x="732" y="6829"/>
                  </a:lnTo>
                  <a:lnTo>
                    <a:pt x="4268" y="7560"/>
                  </a:lnTo>
                  <a:lnTo>
                    <a:pt x="7438" y="6463"/>
                  </a:lnTo>
                  <a:lnTo>
                    <a:pt x="5609" y="0"/>
                  </a:lnTo>
                  <a:lnTo>
                    <a:pt x="121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2" name="Freihandform: Form 531">
              <a:extLst>
                <a:ext uri="{FF2B5EF4-FFF2-40B4-BE49-F238E27FC236}">
                  <a16:creationId xmlns:a16="http://schemas.microsoft.com/office/drawing/2014/main" id="{AFDC858F-EB7F-4E95-83D5-2701C8413826}"/>
                </a:ext>
              </a:extLst>
            </p:cNvPr>
            <p:cNvSpPr/>
            <p:nvPr/>
          </p:nvSpPr>
          <p:spPr>
            <a:xfrm>
              <a:off x="2497285" y="1270901"/>
              <a:ext cx="341924" cy="96455"/>
            </a:xfrm>
            <a:custGeom>
              <a:avLst/>
              <a:gdLst>
                <a:gd name="connsiteX0" fmla="*/ 161207 w 341924"/>
                <a:gd name="connsiteY0" fmla="*/ 80482 h 96455"/>
                <a:gd name="connsiteX1" fmla="*/ 161207 w 341924"/>
                <a:gd name="connsiteY1" fmla="*/ 80482 h 96455"/>
                <a:gd name="connsiteX2" fmla="*/ 173523 w 341924"/>
                <a:gd name="connsiteY2" fmla="*/ 87066 h 96455"/>
                <a:gd name="connsiteX3" fmla="*/ 169499 w 341924"/>
                <a:gd name="connsiteY3" fmla="*/ 93773 h 96455"/>
                <a:gd name="connsiteX4" fmla="*/ 207179 w 341924"/>
                <a:gd name="connsiteY4" fmla="*/ 94383 h 96455"/>
                <a:gd name="connsiteX5" fmla="*/ 224738 w 341924"/>
                <a:gd name="connsiteY5" fmla="*/ 90603 h 96455"/>
                <a:gd name="connsiteX6" fmla="*/ 227787 w 341924"/>
                <a:gd name="connsiteY6" fmla="*/ 81335 h 96455"/>
                <a:gd name="connsiteX7" fmla="*/ 238152 w 341924"/>
                <a:gd name="connsiteY7" fmla="*/ 84506 h 96455"/>
                <a:gd name="connsiteX8" fmla="*/ 241932 w 341924"/>
                <a:gd name="connsiteY8" fmla="*/ 91090 h 96455"/>
                <a:gd name="connsiteX9" fmla="*/ 257175 w 341924"/>
                <a:gd name="connsiteY9" fmla="*/ 93529 h 96455"/>
                <a:gd name="connsiteX10" fmla="*/ 263638 w 341924"/>
                <a:gd name="connsiteY10" fmla="*/ 77189 h 96455"/>
                <a:gd name="connsiteX11" fmla="*/ 276198 w 341924"/>
                <a:gd name="connsiteY11" fmla="*/ 77921 h 96455"/>
                <a:gd name="connsiteX12" fmla="*/ 279978 w 341924"/>
                <a:gd name="connsiteY12" fmla="*/ 92432 h 96455"/>
                <a:gd name="connsiteX13" fmla="*/ 298513 w 341924"/>
                <a:gd name="connsiteY13" fmla="*/ 96456 h 96455"/>
                <a:gd name="connsiteX14" fmla="*/ 305951 w 341924"/>
                <a:gd name="connsiteY14" fmla="*/ 90359 h 96455"/>
                <a:gd name="connsiteX15" fmla="*/ 321072 w 341924"/>
                <a:gd name="connsiteY15" fmla="*/ 91456 h 96455"/>
                <a:gd name="connsiteX16" fmla="*/ 325462 w 341924"/>
                <a:gd name="connsiteY16" fmla="*/ 87676 h 96455"/>
                <a:gd name="connsiteX17" fmla="*/ 318633 w 341924"/>
                <a:gd name="connsiteY17" fmla="*/ 79506 h 96455"/>
                <a:gd name="connsiteX18" fmla="*/ 328633 w 341924"/>
                <a:gd name="connsiteY18" fmla="*/ 73409 h 96455"/>
                <a:gd name="connsiteX19" fmla="*/ 334730 w 341924"/>
                <a:gd name="connsiteY19" fmla="*/ 78896 h 96455"/>
                <a:gd name="connsiteX20" fmla="*/ 341924 w 341924"/>
                <a:gd name="connsiteY20" fmla="*/ 77677 h 96455"/>
                <a:gd name="connsiteX21" fmla="*/ 340949 w 341924"/>
                <a:gd name="connsiteY21" fmla="*/ 73409 h 96455"/>
                <a:gd name="connsiteX22" fmla="*/ 325950 w 341924"/>
                <a:gd name="connsiteY22" fmla="*/ 71580 h 96455"/>
                <a:gd name="connsiteX23" fmla="*/ 327535 w 341924"/>
                <a:gd name="connsiteY23" fmla="*/ 63654 h 96455"/>
                <a:gd name="connsiteX24" fmla="*/ 339120 w 341924"/>
                <a:gd name="connsiteY24" fmla="*/ 59873 h 96455"/>
                <a:gd name="connsiteX25" fmla="*/ 337900 w 341924"/>
                <a:gd name="connsiteY25" fmla="*/ 55362 h 96455"/>
                <a:gd name="connsiteX26" fmla="*/ 331681 w 341924"/>
                <a:gd name="connsiteY26" fmla="*/ 50850 h 96455"/>
                <a:gd name="connsiteX27" fmla="*/ 315707 w 341924"/>
                <a:gd name="connsiteY27" fmla="*/ 52191 h 96455"/>
                <a:gd name="connsiteX28" fmla="*/ 315707 w 341924"/>
                <a:gd name="connsiteY28" fmla="*/ 52191 h 96455"/>
                <a:gd name="connsiteX29" fmla="*/ 313634 w 341924"/>
                <a:gd name="connsiteY29" fmla="*/ 47191 h 96455"/>
                <a:gd name="connsiteX30" fmla="*/ 300830 w 341924"/>
                <a:gd name="connsiteY30" fmla="*/ 44265 h 96455"/>
                <a:gd name="connsiteX31" fmla="*/ 283148 w 341924"/>
                <a:gd name="connsiteY31" fmla="*/ 44631 h 96455"/>
                <a:gd name="connsiteX32" fmla="*/ 271198 w 341924"/>
                <a:gd name="connsiteY32" fmla="*/ 45484 h 96455"/>
                <a:gd name="connsiteX33" fmla="*/ 264979 w 341924"/>
                <a:gd name="connsiteY33" fmla="*/ 42070 h 96455"/>
                <a:gd name="connsiteX34" fmla="*/ 241200 w 341924"/>
                <a:gd name="connsiteY34" fmla="*/ 52435 h 96455"/>
                <a:gd name="connsiteX35" fmla="*/ 232299 w 341924"/>
                <a:gd name="connsiteY35" fmla="*/ 55362 h 96455"/>
                <a:gd name="connsiteX36" fmla="*/ 216446 w 341924"/>
                <a:gd name="connsiteY36" fmla="*/ 54996 h 96455"/>
                <a:gd name="connsiteX37" fmla="*/ 220348 w 341924"/>
                <a:gd name="connsiteY37" fmla="*/ 58166 h 96455"/>
                <a:gd name="connsiteX38" fmla="*/ 208398 w 341924"/>
                <a:gd name="connsiteY38" fmla="*/ 61946 h 96455"/>
                <a:gd name="connsiteX39" fmla="*/ 196570 w 341924"/>
                <a:gd name="connsiteY39" fmla="*/ 58654 h 96455"/>
                <a:gd name="connsiteX40" fmla="*/ 192912 w 341924"/>
                <a:gd name="connsiteY40" fmla="*/ 52801 h 96455"/>
                <a:gd name="connsiteX41" fmla="*/ 187912 w 341924"/>
                <a:gd name="connsiteY41" fmla="*/ 52557 h 96455"/>
                <a:gd name="connsiteX42" fmla="*/ 189741 w 341924"/>
                <a:gd name="connsiteY42" fmla="*/ 57434 h 96455"/>
                <a:gd name="connsiteX43" fmla="*/ 170474 w 341924"/>
                <a:gd name="connsiteY43" fmla="*/ 56947 h 96455"/>
                <a:gd name="connsiteX44" fmla="*/ 164743 w 341924"/>
                <a:gd name="connsiteY44" fmla="*/ 50728 h 96455"/>
                <a:gd name="connsiteX45" fmla="*/ 159012 w 341924"/>
                <a:gd name="connsiteY45" fmla="*/ 49874 h 96455"/>
                <a:gd name="connsiteX46" fmla="*/ 160841 w 341924"/>
                <a:gd name="connsiteY46" fmla="*/ 59508 h 96455"/>
                <a:gd name="connsiteX47" fmla="*/ 149866 w 341924"/>
                <a:gd name="connsiteY47" fmla="*/ 59020 h 96455"/>
                <a:gd name="connsiteX48" fmla="*/ 140233 w 341924"/>
                <a:gd name="connsiteY48" fmla="*/ 51094 h 96455"/>
                <a:gd name="connsiteX49" fmla="*/ 138526 w 341924"/>
                <a:gd name="connsiteY49" fmla="*/ 42802 h 96455"/>
                <a:gd name="connsiteX50" fmla="*/ 129136 w 341924"/>
                <a:gd name="connsiteY50" fmla="*/ 41826 h 96455"/>
                <a:gd name="connsiteX51" fmla="*/ 113649 w 341924"/>
                <a:gd name="connsiteY51" fmla="*/ 47313 h 96455"/>
                <a:gd name="connsiteX52" fmla="*/ 104504 w 341924"/>
                <a:gd name="connsiteY52" fmla="*/ 42070 h 96455"/>
                <a:gd name="connsiteX53" fmla="*/ 112674 w 341924"/>
                <a:gd name="connsiteY53" fmla="*/ 34997 h 96455"/>
                <a:gd name="connsiteX54" fmla="*/ 92554 w 341924"/>
                <a:gd name="connsiteY54" fmla="*/ 26949 h 96455"/>
                <a:gd name="connsiteX55" fmla="*/ 119869 w 341924"/>
                <a:gd name="connsiteY55" fmla="*/ 26949 h 96455"/>
                <a:gd name="connsiteX56" fmla="*/ 132916 w 341924"/>
                <a:gd name="connsiteY56" fmla="*/ 29754 h 96455"/>
                <a:gd name="connsiteX57" fmla="*/ 147915 w 341924"/>
                <a:gd name="connsiteY57" fmla="*/ 28656 h 96455"/>
                <a:gd name="connsiteX58" fmla="*/ 148159 w 341924"/>
                <a:gd name="connsiteY58" fmla="*/ 27803 h 96455"/>
                <a:gd name="connsiteX59" fmla="*/ 130234 w 341924"/>
                <a:gd name="connsiteY59" fmla="*/ 27437 h 96455"/>
                <a:gd name="connsiteX60" fmla="*/ 121942 w 341924"/>
                <a:gd name="connsiteY60" fmla="*/ 23047 h 96455"/>
                <a:gd name="connsiteX61" fmla="*/ 111577 w 341924"/>
                <a:gd name="connsiteY61" fmla="*/ 24266 h 96455"/>
                <a:gd name="connsiteX62" fmla="*/ 99626 w 341924"/>
                <a:gd name="connsiteY62" fmla="*/ 18291 h 96455"/>
                <a:gd name="connsiteX63" fmla="*/ 111577 w 341924"/>
                <a:gd name="connsiteY63" fmla="*/ 14633 h 96455"/>
                <a:gd name="connsiteX64" fmla="*/ 121698 w 341924"/>
                <a:gd name="connsiteY64" fmla="*/ 14999 h 96455"/>
                <a:gd name="connsiteX65" fmla="*/ 121454 w 341924"/>
                <a:gd name="connsiteY65" fmla="*/ 14145 h 96455"/>
                <a:gd name="connsiteX66" fmla="*/ 111211 w 341924"/>
                <a:gd name="connsiteY66" fmla="*/ 13170 h 96455"/>
                <a:gd name="connsiteX67" fmla="*/ 100724 w 341924"/>
                <a:gd name="connsiteY67" fmla="*/ 16828 h 96455"/>
                <a:gd name="connsiteX68" fmla="*/ 83896 w 341924"/>
                <a:gd name="connsiteY68" fmla="*/ 14389 h 96455"/>
                <a:gd name="connsiteX69" fmla="*/ 68043 w 341924"/>
                <a:gd name="connsiteY69" fmla="*/ 22559 h 96455"/>
                <a:gd name="connsiteX70" fmla="*/ 60361 w 341924"/>
                <a:gd name="connsiteY70" fmla="*/ 23169 h 96455"/>
                <a:gd name="connsiteX71" fmla="*/ 60361 w 341924"/>
                <a:gd name="connsiteY71" fmla="*/ 23169 h 96455"/>
                <a:gd name="connsiteX72" fmla="*/ 62312 w 341924"/>
                <a:gd name="connsiteY72" fmla="*/ 3536 h 96455"/>
                <a:gd name="connsiteX73" fmla="*/ 55483 w 341924"/>
                <a:gd name="connsiteY73" fmla="*/ 3292 h 96455"/>
                <a:gd name="connsiteX74" fmla="*/ 48655 w 341924"/>
                <a:gd name="connsiteY74" fmla="*/ 5365 h 96455"/>
                <a:gd name="connsiteX75" fmla="*/ 23779 w 341924"/>
                <a:gd name="connsiteY75" fmla="*/ 0 h 96455"/>
                <a:gd name="connsiteX76" fmla="*/ 6829 w 341924"/>
                <a:gd name="connsiteY76" fmla="*/ 732 h 96455"/>
                <a:gd name="connsiteX77" fmla="*/ 0 w 341924"/>
                <a:gd name="connsiteY77" fmla="*/ 6463 h 96455"/>
                <a:gd name="connsiteX78" fmla="*/ 13779 w 341924"/>
                <a:gd name="connsiteY78" fmla="*/ 10731 h 96455"/>
                <a:gd name="connsiteX79" fmla="*/ 19389 w 341924"/>
                <a:gd name="connsiteY79" fmla="*/ 16462 h 96455"/>
                <a:gd name="connsiteX80" fmla="*/ 29876 w 341924"/>
                <a:gd name="connsiteY80" fmla="*/ 18535 h 96455"/>
                <a:gd name="connsiteX81" fmla="*/ 34509 w 341924"/>
                <a:gd name="connsiteY81" fmla="*/ 24144 h 96455"/>
                <a:gd name="connsiteX82" fmla="*/ 52313 w 341924"/>
                <a:gd name="connsiteY82" fmla="*/ 26461 h 96455"/>
                <a:gd name="connsiteX83" fmla="*/ 59751 w 341924"/>
                <a:gd name="connsiteY83" fmla="*/ 25242 h 96455"/>
                <a:gd name="connsiteX84" fmla="*/ 76214 w 341924"/>
                <a:gd name="connsiteY84" fmla="*/ 25730 h 96455"/>
                <a:gd name="connsiteX85" fmla="*/ 85115 w 341924"/>
                <a:gd name="connsiteY85" fmla="*/ 39753 h 96455"/>
                <a:gd name="connsiteX86" fmla="*/ 99017 w 341924"/>
                <a:gd name="connsiteY86" fmla="*/ 48167 h 96455"/>
                <a:gd name="connsiteX87" fmla="*/ 92432 w 341924"/>
                <a:gd name="connsiteY87" fmla="*/ 56215 h 96455"/>
                <a:gd name="connsiteX88" fmla="*/ 101577 w 341924"/>
                <a:gd name="connsiteY88" fmla="*/ 61093 h 96455"/>
                <a:gd name="connsiteX89" fmla="*/ 103041 w 341924"/>
                <a:gd name="connsiteY89" fmla="*/ 70604 h 96455"/>
                <a:gd name="connsiteX90" fmla="*/ 93773 w 341924"/>
                <a:gd name="connsiteY90" fmla="*/ 71214 h 96455"/>
                <a:gd name="connsiteX91" fmla="*/ 96700 w 341924"/>
                <a:gd name="connsiteY91" fmla="*/ 82554 h 96455"/>
                <a:gd name="connsiteX92" fmla="*/ 103650 w 341924"/>
                <a:gd name="connsiteY92" fmla="*/ 86213 h 96455"/>
                <a:gd name="connsiteX93" fmla="*/ 119625 w 341924"/>
                <a:gd name="connsiteY93" fmla="*/ 82311 h 96455"/>
                <a:gd name="connsiteX94" fmla="*/ 140233 w 341924"/>
                <a:gd name="connsiteY94" fmla="*/ 89627 h 96455"/>
                <a:gd name="connsiteX95" fmla="*/ 161207 w 341924"/>
                <a:gd name="connsiteY95" fmla="*/ 80482 h 9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41924" h="96455">
                  <a:moveTo>
                    <a:pt x="161207" y="80482"/>
                  </a:moveTo>
                  <a:lnTo>
                    <a:pt x="161207" y="80482"/>
                  </a:lnTo>
                  <a:lnTo>
                    <a:pt x="173523" y="87066"/>
                  </a:lnTo>
                  <a:lnTo>
                    <a:pt x="169499" y="93773"/>
                  </a:lnTo>
                  <a:lnTo>
                    <a:pt x="207179" y="94383"/>
                  </a:lnTo>
                  <a:lnTo>
                    <a:pt x="224738" y="90603"/>
                  </a:lnTo>
                  <a:lnTo>
                    <a:pt x="227787" y="81335"/>
                  </a:lnTo>
                  <a:lnTo>
                    <a:pt x="238152" y="84506"/>
                  </a:lnTo>
                  <a:lnTo>
                    <a:pt x="241932" y="91090"/>
                  </a:lnTo>
                  <a:lnTo>
                    <a:pt x="257175" y="93529"/>
                  </a:lnTo>
                  <a:lnTo>
                    <a:pt x="263638" y="77189"/>
                  </a:lnTo>
                  <a:lnTo>
                    <a:pt x="276198" y="77921"/>
                  </a:lnTo>
                  <a:lnTo>
                    <a:pt x="279978" y="92432"/>
                  </a:lnTo>
                  <a:lnTo>
                    <a:pt x="298513" y="96456"/>
                  </a:lnTo>
                  <a:lnTo>
                    <a:pt x="305951" y="90359"/>
                  </a:lnTo>
                  <a:lnTo>
                    <a:pt x="321072" y="91456"/>
                  </a:lnTo>
                  <a:lnTo>
                    <a:pt x="325462" y="87676"/>
                  </a:lnTo>
                  <a:lnTo>
                    <a:pt x="318633" y="79506"/>
                  </a:lnTo>
                  <a:lnTo>
                    <a:pt x="328633" y="73409"/>
                  </a:lnTo>
                  <a:lnTo>
                    <a:pt x="334730" y="78896"/>
                  </a:lnTo>
                  <a:lnTo>
                    <a:pt x="341924" y="77677"/>
                  </a:lnTo>
                  <a:lnTo>
                    <a:pt x="340949" y="73409"/>
                  </a:lnTo>
                  <a:lnTo>
                    <a:pt x="325950" y="71580"/>
                  </a:lnTo>
                  <a:lnTo>
                    <a:pt x="327535" y="63654"/>
                  </a:lnTo>
                  <a:lnTo>
                    <a:pt x="339120" y="59873"/>
                  </a:lnTo>
                  <a:lnTo>
                    <a:pt x="337900" y="55362"/>
                  </a:lnTo>
                  <a:lnTo>
                    <a:pt x="331681" y="50850"/>
                  </a:lnTo>
                  <a:lnTo>
                    <a:pt x="315707" y="52191"/>
                  </a:lnTo>
                  <a:lnTo>
                    <a:pt x="315707" y="52191"/>
                  </a:lnTo>
                  <a:lnTo>
                    <a:pt x="313634" y="47191"/>
                  </a:lnTo>
                  <a:lnTo>
                    <a:pt x="300830" y="44265"/>
                  </a:lnTo>
                  <a:lnTo>
                    <a:pt x="283148" y="44631"/>
                  </a:lnTo>
                  <a:lnTo>
                    <a:pt x="271198" y="45484"/>
                  </a:lnTo>
                  <a:lnTo>
                    <a:pt x="264979" y="42070"/>
                  </a:lnTo>
                  <a:lnTo>
                    <a:pt x="241200" y="52435"/>
                  </a:lnTo>
                  <a:lnTo>
                    <a:pt x="232299" y="55362"/>
                  </a:lnTo>
                  <a:lnTo>
                    <a:pt x="216446" y="54996"/>
                  </a:lnTo>
                  <a:lnTo>
                    <a:pt x="220348" y="58166"/>
                  </a:lnTo>
                  <a:lnTo>
                    <a:pt x="208398" y="61946"/>
                  </a:lnTo>
                  <a:lnTo>
                    <a:pt x="196570" y="58654"/>
                  </a:lnTo>
                  <a:lnTo>
                    <a:pt x="192912" y="52801"/>
                  </a:lnTo>
                  <a:lnTo>
                    <a:pt x="187912" y="52557"/>
                  </a:lnTo>
                  <a:lnTo>
                    <a:pt x="189741" y="57434"/>
                  </a:lnTo>
                  <a:lnTo>
                    <a:pt x="170474" y="56947"/>
                  </a:lnTo>
                  <a:lnTo>
                    <a:pt x="164743" y="50728"/>
                  </a:lnTo>
                  <a:lnTo>
                    <a:pt x="159012" y="49874"/>
                  </a:lnTo>
                  <a:lnTo>
                    <a:pt x="160841" y="59508"/>
                  </a:lnTo>
                  <a:lnTo>
                    <a:pt x="149866" y="59020"/>
                  </a:lnTo>
                  <a:lnTo>
                    <a:pt x="140233" y="51094"/>
                  </a:lnTo>
                  <a:lnTo>
                    <a:pt x="138526" y="42802"/>
                  </a:lnTo>
                  <a:lnTo>
                    <a:pt x="129136" y="41826"/>
                  </a:lnTo>
                  <a:lnTo>
                    <a:pt x="113649" y="47313"/>
                  </a:lnTo>
                  <a:lnTo>
                    <a:pt x="104504" y="42070"/>
                  </a:lnTo>
                  <a:lnTo>
                    <a:pt x="112674" y="34997"/>
                  </a:lnTo>
                  <a:lnTo>
                    <a:pt x="92554" y="26949"/>
                  </a:lnTo>
                  <a:lnTo>
                    <a:pt x="119869" y="26949"/>
                  </a:lnTo>
                  <a:lnTo>
                    <a:pt x="132916" y="29754"/>
                  </a:lnTo>
                  <a:lnTo>
                    <a:pt x="147915" y="28656"/>
                  </a:lnTo>
                  <a:lnTo>
                    <a:pt x="148159" y="27803"/>
                  </a:lnTo>
                  <a:lnTo>
                    <a:pt x="130234" y="27437"/>
                  </a:lnTo>
                  <a:lnTo>
                    <a:pt x="121942" y="23047"/>
                  </a:lnTo>
                  <a:lnTo>
                    <a:pt x="111577" y="24266"/>
                  </a:lnTo>
                  <a:lnTo>
                    <a:pt x="99626" y="18291"/>
                  </a:lnTo>
                  <a:lnTo>
                    <a:pt x="111577" y="14633"/>
                  </a:lnTo>
                  <a:lnTo>
                    <a:pt x="121698" y="14999"/>
                  </a:lnTo>
                  <a:lnTo>
                    <a:pt x="121454" y="14145"/>
                  </a:lnTo>
                  <a:lnTo>
                    <a:pt x="111211" y="13170"/>
                  </a:lnTo>
                  <a:lnTo>
                    <a:pt x="100724" y="16828"/>
                  </a:lnTo>
                  <a:lnTo>
                    <a:pt x="83896" y="14389"/>
                  </a:lnTo>
                  <a:lnTo>
                    <a:pt x="68043" y="22559"/>
                  </a:lnTo>
                  <a:lnTo>
                    <a:pt x="60361" y="23169"/>
                  </a:lnTo>
                  <a:lnTo>
                    <a:pt x="60361" y="23169"/>
                  </a:lnTo>
                  <a:lnTo>
                    <a:pt x="62312" y="3536"/>
                  </a:lnTo>
                  <a:lnTo>
                    <a:pt x="55483" y="3292"/>
                  </a:lnTo>
                  <a:lnTo>
                    <a:pt x="48655" y="5365"/>
                  </a:lnTo>
                  <a:lnTo>
                    <a:pt x="23779" y="0"/>
                  </a:lnTo>
                  <a:lnTo>
                    <a:pt x="6829" y="732"/>
                  </a:lnTo>
                  <a:lnTo>
                    <a:pt x="0" y="6463"/>
                  </a:lnTo>
                  <a:lnTo>
                    <a:pt x="13779" y="10731"/>
                  </a:lnTo>
                  <a:lnTo>
                    <a:pt x="19389" y="16462"/>
                  </a:lnTo>
                  <a:lnTo>
                    <a:pt x="29876" y="18535"/>
                  </a:lnTo>
                  <a:lnTo>
                    <a:pt x="34509" y="24144"/>
                  </a:lnTo>
                  <a:lnTo>
                    <a:pt x="52313" y="26461"/>
                  </a:lnTo>
                  <a:lnTo>
                    <a:pt x="59751" y="25242"/>
                  </a:lnTo>
                  <a:lnTo>
                    <a:pt x="76214" y="25730"/>
                  </a:lnTo>
                  <a:lnTo>
                    <a:pt x="85115" y="39753"/>
                  </a:lnTo>
                  <a:lnTo>
                    <a:pt x="99017" y="48167"/>
                  </a:lnTo>
                  <a:lnTo>
                    <a:pt x="92432" y="56215"/>
                  </a:lnTo>
                  <a:lnTo>
                    <a:pt x="101577" y="61093"/>
                  </a:lnTo>
                  <a:lnTo>
                    <a:pt x="103041" y="70604"/>
                  </a:lnTo>
                  <a:lnTo>
                    <a:pt x="93773" y="71214"/>
                  </a:lnTo>
                  <a:lnTo>
                    <a:pt x="96700" y="82554"/>
                  </a:lnTo>
                  <a:lnTo>
                    <a:pt x="103650" y="86213"/>
                  </a:lnTo>
                  <a:lnTo>
                    <a:pt x="119625" y="82311"/>
                  </a:lnTo>
                  <a:lnTo>
                    <a:pt x="140233" y="89627"/>
                  </a:lnTo>
                  <a:lnTo>
                    <a:pt x="161207" y="8048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3" name="Freihandform: Form 532">
              <a:extLst>
                <a:ext uri="{FF2B5EF4-FFF2-40B4-BE49-F238E27FC236}">
                  <a16:creationId xmlns:a16="http://schemas.microsoft.com/office/drawing/2014/main" id="{B12A1409-BB71-4BA2-A534-964B8F6BFD70}"/>
                </a:ext>
              </a:extLst>
            </p:cNvPr>
            <p:cNvSpPr/>
            <p:nvPr/>
          </p:nvSpPr>
          <p:spPr>
            <a:xfrm>
              <a:off x="2522649" y="1243465"/>
              <a:ext cx="46825" cy="5975"/>
            </a:xfrm>
            <a:custGeom>
              <a:avLst/>
              <a:gdLst>
                <a:gd name="connsiteX0" fmla="*/ 39631 w 46825"/>
                <a:gd name="connsiteY0" fmla="*/ 5975 h 5975"/>
                <a:gd name="connsiteX1" fmla="*/ 46826 w 46825"/>
                <a:gd name="connsiteY1" fmla="*/ 610 h 5975"/>
                <a:gd name="connsiteX2" fmla="*/ 41216 w 46825"/>
                <a:gd name="connsiteY2" fmla="*/ 0 h 5975"/>
                <a:gd name="connsiteX3" fmla="*/ 28047 w 46825"/>
                <a:gd name="connsiteY3" fmla="*/ 2073 h 5975"/>
                <a:gd name="connsiteX4" fmla="*/ 7316 w 46825"/>
                <a:gd name="connsiteY4" fmla="*/ 488 h 5975"/>
                <a:gd name="connsiteX5" fmla="*/ 0 w 46825"/>
                <a:gd name="connsiteY5" fmla="*/ 2317 h 5975"/>
                <a:gd name="connsiteX6" fmla="*/ 366 w 46825"/>
                <a:gd name="connsiteY6" fmla="*/ 4512 h 5975"/>
                <a:gd name="connsiteX7" fmla="*/ 5122 w 46825"/>
                <a:gd name="connsiteY7" fmla="*/ 3902 h 5975"/>
                <a:gd name="connsiteX8" fmla="*/ 39631 w 46825"/>
                <a:gd name="connsiteY8" fmla="*/ 5975 h 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25" h="5975">
                  <a:moveTo>
                    <a:pt x="39631" y="5975"/>
                  </a:moveTo>
                  <a:lnTo>
                    <a:pt x="46826" y="610"/>
                  </a:lnTo>
                  <a:lnTo>
                    <a:pt x="41216" y="0"/>
                  </a:lnTo>
                  <a:lnTo>
                    <a:pt x="28047" y="2073"/>
                  </a:lnTo>
                  <a:lnTo>
                    <a:pt x="7316" y="488"/>
                  </a:lnTo>
                  <a:lnTo>
                    <a:pt x="0" y="2317"/>
                  </a:lnTo>
                  <a:lnTo>
                    <a:pt x="366" y="4512"/>
                  </a:lnTo>
                  <a:lnTo>
                    <a:pt x="5122" y="3902"/>
                  </a:lnTo>
                  <a:lnTo>
                    <a:pt x="39631" y="5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4" name="Freihandform: Form 533">
              <a:extLst>
                <a:ext uri="{FF2B5EF4-FFF2-40B4-BE49-F238E27FC236}">
                  <a16:creationId xmlns:a16="http://schemas.microsoft.com/office/drawing/2014/main" id="{D662729D-2E79-4341-BE15-1C5C3EE5EACB}"/>
                </a:ext>
              </a:extLst>
            </p:cNvPr>
            <p:cNvSpPr/>
            <p:nvPr/>
          </p:nvSpPr>
          <p:spPr>
            <a:xfrm>
              <a:off x="2356199" y="1300777"/>
              <a:ext cx="21705" cy="3170"/>
            </a:xfrm>
            <a:custGeom>
              <a:avLst/>
              <a:gdLst>
                <a:gd name="connsiteX0" fmla="*/ 21706 w 21705"/>
                <a:gd name="connsiteY0" fmla="*/ 1219 h 3170"/>
                <a:gd name="connsiteX1" fmla="*/ 14755 w 21705"/>
                <a:gd name="connsiteY1" fmla="*/ 0 h 3170"/>
                <a:gd name="connsiteX2" fmla="*/ 0 w 21705"/>
                <a:gd name="connsiteY2" fmla="*/ 1951 h 3170"/>
                <a:gd name="connsiteX3" fmla="*/ 3658 w 21705"/>
                <a:gd name="connsiteY3" fmla="*/ 3170 h 3170"/>
                <a:gd name="connsiteX4" fmla="*/ 21706 w 21705"/>
                <a:gd name="connsiteY4" fmla="*/ 1219 h 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05" h="3170">
                  <a:moveTo>
                    <a:pt x="21706" y="1219"/>
                  </a:moveTo>
                  <a:lnTo>
                    <a:pt x="14755" y="0"/>
                  </a:lnTo>
                  <a:lnTo>
                    <a:pt x="0" y="1951"/>
                  </a:lnTo>
                  <a:lnTo>
                    <a:pt x="3658" y="3170"/>
                  </a:lnTo>
                  <a:lnTo>
                    <a:pt x="21706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5" name="Freihandform: Form 534">
              <a:extLst>
                <a:ext uri="{FF2B5EF4-FFF2-40B4-BE49-F238E27FC236}">
                  <a16:creationId xmlns:a16="http://schemas.microsoft.com/office/drawing/2014/main" id="{3A355552-D149-4A45-9F8C-24453E6E5AE0}"/>
                </a:ext>
              </a:extLst>
            </p:cNvPr>
            <p:cNvSpPr/>
            <p:nvPr/>
          </p:nvSpPr>
          <p:spPr>
            <a:xfrm>
              <a:off x="2422047" y="1584291"/>
              <a:ext cx="3536" cy="2316"/>
            </a:xfrm>
            <a:custGeom>
              <a:avLst/>
              <a:gdLst>
                <a:gd name="connsiteX0" fmla="*/ 366 w 3536"/>
                <a:gd name="connsiteY0" fmla="*/ 2317 h 2316"/>
                <a:gd name="connsiteX1" fmla="*/ 3536 w 3536"/>
                <a:gd name="connsiteY1" fmla="*/ 854 h 2316"/>
                <a:gd name="connsiteX2" fmla="*/ 3536 w 3536"/>
                <a:gd name="connsiteY2" fmla="*/ 0 h 2316"/>
                <a:gd name="connsiteX3" fmla="*/ 1097 w 3536"/>
                <a:gd name="connsiteY3" fmla="*/ 610 h 2316"/>
                <a:gd name="connsiteX4" fmla="*/ 0 w 3536"/>
                <a:gd name="connsiteY4" fmla="*/ 1951 h 2316"/>
                <a:gd name="connsiteX5" fmla="*/ 366 w 3536"/>
                <a:gd name="connsiteY5" fmla="*/ 2317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36" h="2316">
                  <a:moveTo>
                    <a:pt x="366" y="2317"/>
                  </a:moveTo>
                  <a:lnTo>
                    <a:pt x="3536" y="854"/>
                  </a:lnTo>
                  <a:lnTo>
                    <a:pt x="3536" y="0"/>
                  </a:lnTo>
                  <a:lnTo>
                    <a:pt x="1097" y="610"/>
                  </a:lnTo>
                  <a:lnTo>
                    <a:pt x="0" y="1951"/>
                  </a:lnTo>
                  <a:lnTo>
                    <a:pt x="366" y="23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6" name="Freihandform: Form 535">
              <a:extLst>
                <a:ext uri="{FF2B5EF4-FFF2-40B4-BE49-F238E27FC236}">
                  <a16:creationId xmlns:a16="http://schemas.microsoft.com/office/drawing/2014/main" id="{5D5A4DEB-877F-4CCD-B406-DA37EAA25DDF}"/>
                </a:ext>
              </a:extLst>
            </p:cNvPr>
            <p:cNvSpPr/>
            <p:nvPr/>
          </p:nvSpPr>
          <p:spPr>
            <a:xfrm>
              <a:off x="2820552" y="1404915"/>
              <a:ext cx="90236" cy="38167"/>
            </a:xfrm>
            <a:custGeom>
              <a:avLst/>
              <a:gdLst>
                <a:gd name="connsiteX0" fmla="*/ 70116 w 90236"/>
                <a:gd name="connsiteY0" fmla="*/ 10975 h 38167"/>
                <a:gd name="connsiteX1" fmla="*/ 61824 w 90236"/>
                <a:gd name="connsiteY1" fmla="*/ 10121 h 38167"/>
                <a:gd name="connsiteX2" fmla="*/ 42070 w 90236"/>
                <a:gd name="connsiteY2" fmla="*/ 0 h 38167"/>
                <a:gd name="connsiteX3" fmla="*/ 15121 w 90236"/>
                <a:gd name="connsiteY3" fmla="*/ 2561 h 38167"/>
                <a:gd name="connsiteX4" fmla="*/ 10853 w 90236"/>
                <a:gd name="connsiteY4" fmla="*/ 122 h 38167"/>
                <a:gd name="connsiteX5" fmla="*/ 0 w 90236"/>
                <a:gd name="connsiteY5" fmla="*/ 2073 h 38167"/>
                <a:gd name="connsiteX6" fmla="*/ 3049 w 90236"/>
                <a:gd name="connsiteY6" fmla="*/ 9999 h 38167"/>
                <a:gd name="connsiteX7" fmla="*/ 8902 w 90236"/>
                <a:gd name="connsiteY7" fmla="*/ 13536 h 38167"/>
                <a:gd name="connsiteX8" fmla="*/ 13170 w 90236"/>
                <a:gd name="connsiteY8" fmla="*/ 35485 h 38167"/>
                <a:gd name="connsiteX9" fmla="*/ 19877 w 90236"/>
                <a:gd name="connsiteY9" fmla="*/ 38168 h 38167"/>
                <a:gd name="connsiteX10" fmla="*/ 26949 w 90236"/>
                <a:gd name="connsiteY10" fmla="*/ 36095 h 38167"/>
                <a:gd name="connsiteX11" fmla="*/ 29876 w 90236"/>
                <a:gd name="connsiteY11" fmla="*/ 30729 h 38167"/>
                <a:gd name="connsiteX12" fmla="*/ 62556 w 90236"/>
                <a:gd name="connsiteY12" fmla="*/ 28900 h 38167"/>
                <a:gd name="connsiteX13" fmla="*/ 88408 w 90236"/>
                <a:gd name="connsiteY13" fmla="*/ 34631 h 38167"/>
                <a:gd name="connsiteX14" fmla="*/ 90237 w 90236"/>
                <a:gd name="connsiteY14" fmla="*/ 32071 h 38167"/>
                <a:gd name="connsiteX15" fmla="*/ 75604 w 90236"/>
                <a:gd name="connsiteY15" fmla="*/ 26461 h 38167"/>
                <a:gd name="connsiteX16" fmla="*/ 77067 w 90236"/>
                <a:gd name="connsiteY16" fmla="*/ 16584 h 38167"/>
                <a:gd name="connsiteX17" fmla="*/ 70116 w 90236"/>
                <a:gd name="connsiteY17" fmla="*/ 10975 h 38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0236" h="38167">
                  <a:moveTo>
                    <a:pt x="70116" y="10975"/>
                  </a:moveTo>
                  <a:lnTo>
                    <a:pt x="61824" y="10121"/>
                  </a:lnTo>
                  <a:lnTo>
                    <a:pt x="42070" y="0"/>
                  </a:lnTo>
                  <a:lnTo>
                    <a:pt x="15121" y="2561"/>
                  </a:lnTo>
                  <a:lnTo>
                    <a:pt x="10853" y="122"/>
                  </a:lnTo>
                  <a:lnTo>
                    <a:pt x="0" y="2073"/>
                  </a:lnTo>
                  <a:lnTo>
                    <a:pt x="3049" y="9999"/>
                  </a:lnTo>
                  <a:lnTo>
                    <a:pt x="8902" y="13536"/>
                  </a:lnTo>
                  <a:lnTo>
                    <a:pt x="13170" y="35485"/>
                  </a:lnTo>
                  <a:lnTo>
                    <a:pt x="19877" y="38168"/>
                  </a:lnTo>
                  <a:lnTo>
                    <a:pt x="26949" y="36095"/>
                  </a:lnTo>
                  <a:lnTo>
                    <a:pt x="29876" y="30729"/>
                  </a:lnTo>
                  <a:lnTo>
                    <a:pt x="62556" y="28900"/>
                  </a:lnTo>
                  <a:lnTo>
                    <a:pt x="88408" y="34631"/>
                  </a:lnTo>
                  <a:lnTo>
                    <a:pt x="90237" y="32071"/>
                  </a:lnTo>
                  <a:lnTo>
                    <a:pt x="75604" y="26461"/>
                  </a:lnTo>
                  <a:lnTo>
                    <a:pt x="77067" y="16584"/>
                  </a:lnTo>
                  <a:lnTo>
                    <a:pt x="70116" y="10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7" name="Freihandform: Form 536">
              <a:extLst>
                <a:ext uri="{FF2B5EF4-FFF2-40B4-BE49-F238E27FC236}">
                  <a16:creationId xmlns:a16="http://schemas.microsoft.com/office/drawing/2014/main" id="{D5E90A14-B420-4035-91AB-E3C28D5E45C3}"/>
                </a:ext>
              </a:extLst>
            </p:cNvPr>
            <p:cNvSpPr/>
            <p:nvPr/>
          </p:nvSpPr>
          <p:spPr>
            <a:xfrm>
              <a:off x="2361686" y="1224198"/>
              <a:ext cx="2073" cy="365"/>
            </a:xfrm>
            <a:custGeom>
              <a:avLst/>
              <a:gdLst>
                <a:gd name="connsiteX0" fmla="*/ 0 w 2073"/>
                <a:gd name="connsiteY0" fmla="*/ 366 h 365"/>
                <a:gd name="connsiteX1" fmla="*/ 2073 w 2073"/>
                <a:gd name="connsiteY1" fmla="*/ 366 h 365"/>
                <a:gd name="connsiteX2" fmla="*/ 488 w 2073"/>
                <a:gd name="connsiteY2" fmla="*/ 0 h 365"/>
                <a:gd name="connsiteX3" fmla="*/ 0 w 2073"/>
                <a:gd name="connsiteY3" fmla="*/ 366 h 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3" h="365">
                  <a:moveTo>
                    <a:pt x="0" y="366"/>
                  </a:moveTo>
                  <a:lnTo>
                    <a:pt x="2073" y="366"/>
                  </a:lnTo>
                  <a:lnTo>
                    <a:pt x="488" y="0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8" name="Freihandform: Form 537">
              <a:extLst>
                <a:ext uri="{FF2B5EF4-FFF2-40B4-BE49-F238E27FC236}">
                  <a16:creationId xmlns:a16="http://schemas.microsoft.com/office/drawing/2014/main" id="{537A3ED3-DE03-4ED1-AA14-E5900F481FFD}"/>
                </a:ext>
              </a:extLst>
            </p:cNvPr>
            <p:cNvSpPr/>
            <p:nvPr/>
          </p:nvSpPr>
          <p:spPr>
            <a:xfrm>
              <a:off x="2383513" y="1235051"/>
              <a:ext cx="17437" cy="4389"/>
            </a:xfrm>
            <a:custGeom>
              <a:avLst/>
              <a:gdLst>
                <a:gd name="connsiteX0" fmla="*/ 15974 w 17437"/>
                <a:gd name="connsiteY0" fmla="*/ 1707 h 4389"/>
                <a:gd name="connsiteX1" fmla="*/ 5975 w 17437"/>
                <a:gd name="connsiteY1" fmla="*/ 0 h 4389"/>
                <a:gd name="connsiteX2" fmla="*/ 0 w 17437"/>
                <a:gd name="connsiteY2" fmla="*/ 1707 h 4389"/>
                <a:gd name="connsiteX3" fmla="*/ 4878 w 17437"/>
                <a:gd name="connsiteY3" fmla="*/ 4390 h 4389"/>
                <a:gd name="connsiteX4" fmla="*/ 17438 w 17437"/>
                <a:gd name="connsiteY4" fmla="*/ 3414 h 4389"/>
                <a:gd name="connsiteX5" fmla="*/ 15974 w 17437"/>
                <a:gd name="connsiteY5" fmla="*/ 1707 h 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37" h="4389">
                  <a:moveTo>
                    <a:pt x="15974" y="1707"/>
                  </a:moveTo>
                  <a:lnTo>
                    <a:pt x="5975" y="0"/>
                  </a:lnTo>
                  <a:lnTo>
                    <a:pt x="0" y="1707"/>
                  </a:lnTo>
                  <a:lnTo>
                    <a:pt x="4878" y="4390"/>
                  </a:lnTo>
                  <a:lnTo>
                    <a:pt x="17438" y="3414"/>
                  </a:lnTo>
                  <a:lnTo>
                    <a:pt x="15974" y="1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39" name="Freihandform: Form 538">
              <a:extLst>
                <a:ext uri="{FF2B5EF4-FFF2-40B4-BE49-F238E27FC236}">
                  <a16:creationId xmlns:a16="http://schemas.microsoft.com/office/drawing/2014/main" id="{0B9DCA30-A841-4311-965D-B93E5E3D7B0F}"/>
                </a:ext>
              </a:extLst>
            </p:cNvPr>
            <p:cNvSpPr/>
            <p:nvPr/>
          </p:nvSpPr>
          <p:spPr>
            <a:xfrm>
              <a:off x="2620080" y="1250293"/>
              <a:ext cx="15974" cy="10974"/>
            </a:xfrm>
            <a:custGeom>
              <a:avLst/>
              <a:gdLst>
                <a:gd name="connsiteX0" fmla="*/ 11950 w 15974"/>
                <a:gd name="connsiteY0" fmla="*/ 2927 h 10974"/>
                <a:gd name="connsiteX1" fmla="*/ 854 w 15974"/>
                <a:gd name="connsiteY1" fmla="*/ 0 h 10974"/>
                <a:gd name="connsiteX2" fmla="*/ 0 w 15974"/>
                <a:gd name="connsiteY2" fmla="*/ 6463 h 10974"/>
                <a:gd name="connsiteX3" fmla="*/ 12804 w 15974"/>
                <a:gd name="connsiteY3" fmla="*/ 10975 h 10974"/>
                <a:gd name="connsiteX4" fmla="*/ 15975 w 15974"/>
                <a:gd name="connsiteY4" fmla="*/ 8658 h 10974"/>
                <a:gd name="connsiteX5" fmla="*/ 11950 w 15974"/>
                <a:gd name="connsiteY5" fmla="*/ 2927 h 1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74" h="10974">
                  <a:moveTo>
                    <a:pt x="11950" y="2927"/>
                  </a:moveTo>
                  <a:lnTo>
                    <a:pt x="854" y="0"/>
                  </a:lnTo>
                  <a:lnTo>
                    <a:pt x="0" y="6463"/>
                  </a:lnTo>
                  <a:lnTo>
                    <a:pt x="12804" y="10975"/>
                  </a:lnTo>
                  <a:lnTo>
                    <a:pt x="15975" y="8658"/>
                  </a:lnTo>
                  <a:lnTo>
                    <a:pt x="11950" y="29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0" name="Freihandform: Form 539">
              <a:extLst>
                <a:ext uri="{FF2B5EF4-FFF2-40B4-BE49-F238E27FC236}">
                  <a16:creationId xmlns:a16="http://schemas.microsoft.com/office/drawing/2014/main" id="{C685DE86-6AC2-4525-8964-6A6E27C8C724}"/>
                </a:ext>
              </a:extLst>
            </p:cNvPr>
            <p:cNvSpPr/>
            <p:nvPr/>
          </p:nvSpPr>
          <p:spPr>
            <a:xfrm>
              <a:off x="2346809" y="1287364"/>
              <a:ext cx="19266" cy="6340"/>
            </a:xfrm>
            <a:custGeom>
              <a:avLst/>
              <a:gdLst>
                <a:gd name="connsiteX0" fmla="*/ 0 w 19266"/>
                <a:gd name="connsiteY0" fmla="*/ 488 h 6340"/>
                <a:gd name="connsiteX1" fmla="*/ 488 w 19266"/>
                <a:gd name="connsiteY1" fmla="*/ 4024 h 6340"/>
                <a:gd name="connsiteX2" fmla="*/ 3902 w 19266"/>
                <a:gd name="connsiteY2" fmla="*/ 6341 h 6340"/>
                <a:gd name="connsiteX3" fmla="*/ 19267 w 19266"/>
                <a:gd name="connsiteY3" fmla="*/ 5243 h 6340"/>
                <a:gd name="connsiteX4" fmla="*/ 4024 w 19266"/>
                <a:gd name="connsiteY4" fmla="*/ 0 h 6340"/>
                <a:gd name="connsiteX5" fmla="*/ 0 w 19266"/>
                <a:gd name="connsiteY5" fmla="*/ 488 h 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6" h="6340">
                  <a:moveTo>
                    <a:pt x="0" y="488"/>
                  </a:moveTo>
                  <a:lnTo>
                    <a:pt x="488" y="4024"/>
                  </a:lnTo>
                  <a:lnTo>
                    <a:pt x="3902" y="6341"/>
                  </a:lnTo>
                  <a:lnTo>
                    <a:pt x="19267" y="5243"/>
                  </a:lnTo>
                  <a:lnTo>
                    <a:pt x="4024" y="0"/>
                  </a:lnTo>
                  <a:lnTo>
                    <a:pt x="0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1" name="Freihandform: Form 540">
              <a:extLst>
                <a:ext uri="{FF2B5EF4-FFF2-40B4-BE49-F238E27FC236}">
                  <a16:creationId xmlns:a16="http://schemas.microsoft.com/office/drawing/2014/main" id="{616D5A9D-2E24-40BF-A3B5-0ECF9FEBF0EA}"/>
                </a:ext>
              </a:extLst>
            </p:cNvPr>
            <p:cNvSpPr/>
            <p:nvPr/>
          </p:nvSpPr>
          <p:spPr>
            <a:xfrm>
              <a:off x="2294740" y="1404062"/>
              <a:ext cx="42435" cy="24632"/>
            </a:xfrm>
            <a:custGeom>
              <a:avLst/>
              <a:gdLst>
                <a:gd name="connsiteX0" fmla="*/ 5000 w 42435"/>
                <a:gd name="connsiteY0" fmla="*/ 1585 h 24632"/>
                <a:gd name="connsiteX1" fmla="*/ 0 w 42435"/>
                <a:gd name="connsiteY1" fmla="*/ 9511 h 24632"/>
                <a:gd name="connsiteX2" fmla="*/ 14877 w 42435"/>
                <a:gd name="connsiteY2" fmla="*/ 14755 h 24632"/>
                <a:gd name="connsiteX3" fmla="*/ 31217 w 42435"/>
                <a:gd name="connsiteY3" fmla="*/ 24632 h 24632"/>
                <a:gd name="connsiteX4" fmla="*/ 34997 w 42435"/>
                <a:gd name="connsiteY4" fmla="*/ 24022 h 24632"/>
                <a:gd name="connsiteX5" fmla="*/ 42436 w 42435"/>
                <a:gd name="connsiteY5" fmla="*/ 6097 h 24632"/>
                <a:gd name="connsiteX6" fmla="*/ 40972 w 42435"/>
                <a:gd name="connsiteY6" fmla="*/ 4756 h 24632"/>
                <a:gd name="connsiteX7" fmla="*/ 27681 w 42435"/>
                <a:gd name="connsiteY7" fmla="*/ 0 h 24632"/>
                <a:gd name="connsiteX8" fmla="*/ 5000 w 42435"/>
                <a:gd name="connsiteY8" fmla="*/ 1585 h 24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435" h="24632">
                  <a:moveTo>
                    <a:pt x="5000" y="1585"/>
                  </a:moveTo>
                  <a:lnTo>
                    <a:pt x="0" y="9511"/>
                  </a:lnTo>
                  <a:lnTo>
                    <a:pt x="14877" y="14755"/>
                  </a:lnTo>
                  <a:lnTo>
                    <a:pt x="31217" y="24632"/>
                  </a:lnTo>
                  <a:lnTo>
                    <a:pt x="34997" y="24022"/>
                  </a:lnTo>
                  <a:lnTo>
                    <a:pt x="42436" y="6097"/>
                  </a:lnTo>
                  <a:lnTo>
                    <a:pt x="40972" y="4756"/>
                  </a:lnTo>
                  <a:lnTo>
                    <a:pt x="27681" y="0"/>
                  </a:lnTo>
                  <a:lnTo>
                    <a:pt x="5000" y="1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2" name="Freihandform: Form 541">
              <a:extLst>
                <a:ext uri="{FF2B5EF4-FFF2-40B4-BE49-F238E27FC236}">
                  <a16:creationId xmlns:a16="http://schemas.microsoft.com/office/drawing/2014/main" id="{F2F10CE2-65DE-4762-956B-5DE9C2392C3C}"/>
                </a:ext>
              </a:extLst>
            </p:cNvPr>
            <p:cNvSpPr/>
            <p:nvPr/>
          </p:nvSpPr>
          <p:spPr>
            <a:xfrm>
              <a:off x="2494115" y="1430523"/>
              <a:ext cx="7316" cy="4633"/>
            </a:xfrm>
            <a:custGeom>
              <a:avLst/>
              <a:gdLst>
                <a:gd name="connsiteX0" fmla="*/ 7316 w 7316"/>
                <a:gd name="connsiteY0" fmla="*/ 2195 h 4633"/>
                <a:gd name="connsiteX1" fmla="*/ 2683 w 7316"/>
                <a:gd name="connsiteY1" fmla="*/ 0 h 4633"/>
                <a:gd name="connsiteX2" fmla="*/ 0 w 7316"/>
                <a:gd name="connsiteY2" fmla="*/ 366 h 4633"/>
                <a:gd name="connsiteX3" fmla="*/ 610 w 7316"/>
                <a:gd name="connsiteY3" fmla="*/ 2927 h 4633"/>
                <a:gd name="connsiteX4" fmla="*/ 6097 w 7316"/>
                <a:gd name="connsiteY4" fmla="*/ 4634 h 4633"/>
                <a:gd name="connsiteX5" fmla="*/ 7316 w 7316"/>
                <a:gd name="connsiteY5" fmla="*/ 2195 h 4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16" h="4633">
                  <a:moveTo>
                    <a:pt x="7316" y="2195"/>
                  </a:moveTo>
                  <a:lnTo>
                    <a:pt x="2683" y="0"/>
                  </a:lnTo>
                  <a:lnTo>
                    <a:pt x="0" y="366"/>
                  </a:lnTo>
                  <a:lnTo>
                    <a:pt x="610" y="2927"/>
                  </a:lnTo>
                  <a:lnTo>
                    <a:pt x="6097" y="4634"/>
                  </a:lnTo>
                  <a:lnTo>
                    <a:pt x="7316" y="21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3" name="Freihandform: Form 542">
              <a:extLst>
                <a:ext uri="{FF2B5EF4-FFF2-40B4-BE49-F238E27FC236}">
                  <a16:creationId xmlns:a16="http://schemas.microsoft.com/office/drawing/2014/main" id="{548CBD51-68B6-422D-AED7-740C371CAE6D}"/>
                </a:ext>
              </a:extLst>
            </p:cNvPr>
            <p:cNvSpPr/>
            <p:nvPr/>
          </p:nvSpPr>
          <p:spPr>
            <a:xfrm>
              <a:off x="2390098" y="1589413"/>
              <a:ext cx="9877" cy="3292"/>
            </a:xfrm>
            <a:custGeom>
              <a:avLst/>
              <a:gdLst>
                <a:gd name="connsiteX0" fmla="*/ 0 w 9877"/>
                <a:gd name="connsiteY0" fmla="*/ 1341 h 3292"/>
                <a:gd name="connsiteX1" fmla="*/ 0 w 9877"/>
                <a:gd name="connsiteY1" fmla="*/ 1707 h 3292"/>
                <a:gd name="connsiteX2" fmla="*/ 3414 w 9877"/>
                <a:gd name="connsiteY2" fmla="*/ 3292 h 3292"/>
                <a:gd name="connsiteX3" fmla="*/ 9877 w 9877"/>
                <a:gd name="connsiteY3" fmla="*/ 0 h 3292"/>
                <a:gd name="connsiteX4" fmla="*/ 5122 w 9877"/>
                <a:gd name="connsiteY4" fmla="*/ 0 h 3292"/>
                <a:gd name="connsiteX5" fmla="*/ 0 w 9877"/>
                <a:gd name="connsiteY5" fmla="*/ 1341 h 3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77" h="3292">
                  <a:moveTo>
                    <a:pt x="0" y="1341"/>
                  </a:moveTo>
                  <a:lnTo>
                    <a:pt x="0" y="1707"/>
                  </a:lnTo>
                  <a:lnTo>
                    <a:pt x="3414" y="3292"/>
                  </a:lnTo>
                  <a:lnTo>
                    <a:pt x="9877" y="0"/>
                  </a:lnTo>
                  <a:lnTo>
                    <a:pt x="5122" y="0"/>
                  </a:lnTo>
                  <a:lnTo>
                    <a:pt x="0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4" name="Freihandform: Form 543">
              <a:extLst>
                <a:ext uri="{FF2B5EF4-FFF2-40B4-BE49-F238E27FC236}">
                  <a16:creationId xmlns:a16="http://schemas.microsoft.com/office/drawing/2014/main" id="{D88B6D8A-84B1-4E11-9480-0279068B356C}"/>
                </a:ext>
              </a:extLst>
            </p:cNvPr>
            <p:cNvSpPr/>
            <p:nvPr/>
          </p:nvSpPr>
          <p:spPr>
            <a:xfrm>
              <a:off x="2384489" y="1399062"/>
              <a:ext cx="120966" cy="98406"/>
            </a:xfrm>
            <a:custGeom>
              <a:avLst/>
              <a:gdLst>
                <a:gd name="connsiteX0" fmla="*/ 116454 w 120966"/>
                <a:gd name="connsiteY0" fmla="*/ 51581 h 98406"/>
                <a:gd name="connsiteX1" fmla="*/ 115601 w 120966"/>
                <a:gd name="connsiteY1" fmla="*/ 49996 h 98406"/>
                <a:gd name="connsiteX2" fmla="*/ 102065 w 120966"/>
                <a:gd name="connsiteY2" fmla="*/ 49020 h 98406"/>
                <a:gd name="connsiteX3" fmla="*/ 102065 w 120966"/>
                <a:gd name="connsiteY3" fmla="*/ 39997 h 98406"/>
                <a:gd name="connsiteX4" fmla="*/ 98041 w 120966"/>
                <a:gd name="connsiteY4" fmla="*/ 38168 h 98406"/>
                <a:gd name="connsiteX5" fmla="*/ 77555 w 120966"/>
                <a:gd name="connsiteY5" fmla="*/ 39143 h 98406"/>
                <a:gd name="connsiteX6" fmla="*/ 84140 w 120966"/>
                <a:gd name="connsiteY6" fmla="*/ 28656 h 98406"/>
                <a:gd name="connsiteX7" fmla="*/ 96700 w 120966"/>
                <a:gd name="connsiteY7" fmla="*/ 14511 h 98406"/>
                <a:gd name="connsiteX8" fmla="*/ 98285 w 120966"/>
                <a:gd name="connsiteY8" fmla="*/ 10609 h 98406"/>
                <a:gd name="connsiteX9" fmla="*/ 105358 w 120966"/>
                <a:gd name="connsiteY9" fmla="*/ 7195 h 98406"/>
                <a:gd name="connsiteX10" fmla="*/ 107918 w 120966"/>
                <a:gd name="connsiteY10" fmla="*/ 1585 h 98406"/>
                <a:gd name="connsiteX11" fmla="*/ 95968 w 120966"/>
                <a:gd name="connsiteY11" fmla="*/ 1585 h 98406"/>
                <a:gd name="connsiteX12" fmla="*/ 78896 w 120966"/>
                <a:gd name="connsiteY12" fmla="*/ 6707 h 98406"/>
                <a:gd name="connsiteX13" fmla="*/ 65239 w 120966"/>
                <a:gd name="connsiteY13" fmla="*/ 5853 h 98406"/>
                <a:gd name="connsiteX14" fmla="*/ 55727 w 120966"/>
                <a:gd name="connsiteY14" fmla="*/ 854 h 98406"/>
                <a:gd name="connsiteX15" fmla="*/ 42680 w 120966"/>
                <a:gd name="connsiteY15" fmla="*/ 4390 h 98406"/>
                <a:gd name="connsiteX16" fmla="*/ 36948 w 120966"/>
                <a:gd name="connsiteY16" fmla="*/ 0 h 98406"/>
                <a:gd name="connsiteX17" fmla="*/ 32802 w 120966"/>
                <a:gd name="connsiteY17" fmla="*/ 1097 h 98406"/>
                <a:gd name="connsiteX18" fmla="*/ 33778 w 120966"/>
                <a:gd name="connsiteY18" fmla="*/ 6707 h 98406"/>
                <a:gd name="connsiteX19" fmla="*/ 44875 w 120966"/>
                <a:gd name="connsiteY19" fmla="*/ 13292 h 98406"/>
                <a:gd name="connsiteX20" fmla="*/ 31095 w 120966"/>
                <a:gd name="connsiteY20" fmla="*/ 15730 h 98406"/>
                <a:gd name="connsiteX21" fmla="*/ 31095 w 120966"/>
                <a:gd name="connsiteY21" fmla="*/ 18047 h 98406"/>
                <a:gd name="connsiteX22" fmla="*/ 35485 w 120966"/>
                <a:gd name="connsiteY22" fmla="*/ 22071 h 98406"/>
                <a:gd name="connsiteX23" fmla="*/ 47313 w 120966"/>
                <a:gd name="connsiteY23" fmla="*/ 22925 h 98406"/>
                <a:gd name="connsiteX24" fmla="*/ 50484 w 120966"/>
                <a:gd name="connsiteY24" fmla="*/ 28778 h 98406"/>
                <a:gd name="connsiteX25" fmla="*/ 44753 w 120966"/>
                <a:gd name="connsiteY25" fmla="*/ 30485 h 98406"/>
                <a:gd name="connsiteX26" fmla="*/ 51947 w 120966"/>
                <a:gd name="connsiteY26" fmla="*/ 44143 h 98406"/>
                <a:gd name="connsiteX27" fmla="*/ 38046 w 120966"/>
                <a:gd name="connsiteY27" fmla="*/ 48289 h 98406"/>
                <a:gd name="connsiteX28" fmla="*/ 32924 w 120966"/>
                <a:gd name="connsiteY28" fmla="*/ 50362 h 98406"/>
                <a:gd name="connsiteX29" fmla="*/ 32924 w 120966"/>
                <a:gd name="connsiteY29" fmla="*/ 50362 h 98406"/>
                <a:gd name="connsiteX30" fmla="*/ 12804 w 120966"/>
                <a:gd name="connsiteY30" fmla="*/ 36461 h 98406"/>
                <a:gd name="connsiteX31" fmla="*/ 2195 w 120966"/>
                <a:gd name="connsiteY31" fmla="*/ 37192 h 98406"/>
                <a:gd name="connsiteX32" fmla="*/ 0 w 120966"/>
                <a:gd name="connsiteY32" fmla="*/ 45118 h 98406"/>
                <a:gd name="connsiteX33" fmla="*/ 3658 w 120966"/>
                <a:gd name="connsiteY33" fmla="*/ 52313 h 98406"/>
                <a:gd name="connsiteX34" fmla="*/ 19023 w 120966"/>
                <a:gd name="connsiteY34" fmla="*/ 59873 h 98406"/>
                <a:gd name="connsiteX35" fmla="*/ 21706 w 120966"/>
                <a:gd name="connsiteY35" fmla="*/ 63897 h 98406"/>
                <a:gd name="connsiteX36" fmla="*/ 37192 w 120966"/>
                <a:gd name="connsiteY36" fmla="*/ 66336 h 98406"/>
                <a:gd name="connsiteX37" fmla="*/ 42923 w 120966"/>
                <a:gd name="connsiteY37" fmla="*/ 73287 h 98406"/>
                <a:gd name="connsiteX38" fmla="*/ 55971 w 120966"/>
                <a:gd name="connsiteY38" fmla="*/ 76823 h 98406"/>
                <a:gd name="connsiteX39" fmla="*/ 67068 w 120966"/>
                <a:gd name="connsiteY39" fmla="*/ 98407 h 98406"/>
                <a:gd name="connsiteX40" fmla="*/ 84993 w 120966"/>
                <a:gd name="connsiteY40" fmla="*/ 95480 h 98406"/>
                <a:gd name="connsiteX41" fmla="*/ 84993 w 120966"/>
                <a:gd name="connsiteY41" fmla="*/ 92798 h 98406"/>
                <a:gd name="connsiteX42" fmla="*/ 77921 w 120966"/>
                <a:gd name="connsiteY42" fmla="*/ 90237 h 98406"/>
                <a:gd name="connsiteX43" fmla="*/ 77921 w 120966"/>
                <a:gd name="connsiteY43" fmla="*/ 79506 h 98406"/>
                <a:gd name="connsiteX44" fmla="*/ 93041 w 120966"/>
                <a:gd name="connsiteY44" fmla="*/ 86579 h 98406"/>
                <a:gd name="connsiteX45" fmla="*/ 114015 w 120966"/>
                <a:gd name="connsiteY45" fmla="*/ 81823 h 98406"/>
                <a:gd name="connsiteX46" fmla="*/ 117430 w 120966"/>
                <a:gd name="connsiteY46" fmla="*/ 74994 h 98406"/>
                <a:gd name="connsiteX47" fmla="*/ 112918 w 120966"/>
                <a:gd name="connsiteY47" fmla="*/ 62434 h 98406"/>
                <a:gd name="connsiteX48" fmla="*/ 120966 w 120966"/>
                <a:gd name="connsiteY48" fmla="*/ 56825 h 98406"/>
                <a:gd name="connsiteX49" fmla="*/ 116454 w 120966"/>
                <a:gd name="connsiteY49" fmla="*/ 51581 h 98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20966" h="98406">
                  <a:moveTo>
                    <a:pt x="116454" y="51581"/>
                  </a:moveTo>
                  <a:lnTo>
                    <a:pt x="115601" y="49996"/>
                  </a:lnTo>
                  <a:lnTo>
                    <a:pt x="102065" y="49020"/>
                  </a:lnTo>
                  <a:lnTo>
                    <a:pt x="102065" y="39997"/>
                  </a:lnTo>
                  <a:lnTo>
                    <a:pt x="98041" y="38168"/>
                  </a:lnTo>
                  <a:lnTo>
                    <a:pt x="77555" y="39143"/>
                  </a:lnTo>
                  <a:lnTo>
                    <a:pt x="84140" y="28656"/>
                  </a:lnTo>
                  <a:lnTo>
                    <a:pt x="96700" y="14511"/>
                  </a:lnTo>
                  <a:lnTo>
                    <a:pt x="98285" y="10609"/>
                  </a:lnTo>
                  <a:lnTo>
                    <a:pt x="105358" y="7195"/>
                  </a:lnTo>
                  <a:lnTo>
                    <a:pt x="107918" y="1585"/>
                  </a:lnTo>
                  <a:lnTo>
                    <a:pt x="95968" y="1585"/>
                  </a:lnTo>
                  <a:lnTo>
                    <a:pt x="78896" y="6707"/>
                  </a:lnTo>
                  <a:lnTo>
                    <a:pt x="65239" y="5853"/>
                  </a:lnTo>
                  <a:lnTo>
                    <a:pt x="55727" y="854"/>
                  </a:lnTo>
                  <a:lnTo>
                    <a:pt x="42680" y="4390"/>
                  </a:lnTo>
                  <a:lnTo>
                    <a:pt x="36948" y="0"/>
                  </a:lnTo>
                  <a:lnTo>
                    <a:pt x="32802" y="1097"/>
                  </a:lnTo>
                  <a:lnTo>
                    <a:pt x="33778" y="6707"/>
                  </a:lnTo>
                  <a:lnTo>
                    <a:pt x="44875" y="13292"/>
                  </a:lnTo>
                  <a:lnTo>
                    <a:pt x="31095" y="15730"/>
                  </a:lnTo>
                  <a:lnTo>
                    <a:pt x="31095" y="18047"/>
                  </a:lnTo>
                  <a:lnTo>
                    <a:pt x="35485" y="22071"/>
                  </a:lnTo>
                  <a:lnTo>
                    <a:pt x="47313" y="22925"/>
                  </a:lnTo>
                  <a:lnTo>
                    <a:pt x="50484" y="28778"/>
                  </a:lnTo>
                  <a:lnTo>
                    <a:pt x="44753" y="30485"/>
                  </a:lnTo>
                  <a:lnTo>
                    <a:pt x="51947" y="44143"/>
                  </a:lnTo>
                  <a:lnTo>
                    <a:pt x="38046" y="48289"/>
                  </a:lnTo>
                  <a:lnTo>
                    <a:pt x="32924" y="50362"/>
                  </a:lnTo>
                  <a:lnTo>
                    <a:pt x="32924" y="50362"/>
                  </a:lnTo>
                  <a:lnTo>
                    <a:pt x="12804" y="36461"/>
                  </a:lnTo>
                  <a:lnTo>
                    <a:pt x="2195" y="37192"/>
                  </a:lnTo>
                  <a:lnTo>
                    <a:pt x="0" y="45118"/>
                  </a:lnTo>
                  <a:lnTo>
                    <a:pt x="3658" y="52313"/>
                  </a:lnTo>
                  <a:lnTo>
                    <a:pt x="19023" y="59873"/>
                  </a:lnTo>
                  <a:lnTo>
                    <a:pt x="21706" y="63897"/>
                  </a:lnTo>
                  <a:lnTo>
                    <a:pt x="37192" y="66336"/>
                  </a:lnTo>
                  <a:lnTo>
                    <a:pt x="42923" y="73287"/>
                  </a:lnTo>
                  <a:lnTo>
                    <a:pt x="55971" y="76823"/>
                  </a:lnTo>
                  <a:lnTo>
                    <a:pt x="67068" y="98407"/>
                  </a:lnTo>
                  <a:lnTo>
                    <a:pt x="84993" y="95480"/>
                  </a:lnTo>
                  <a:lnTo>
                    <a:pt x="84993" y="92798"/>
                  </a:lnTo>
                  <a:lnTo>
                    <a:pt x="77921" y="90237"/>
                  </a:lnTo>
                  <a:lnTo>
                    <a:pt x="77921" y="79506"/>
                  </a:lnTo>
                  <a:lnTo>
                    <a:pt x="93041" y="86579"/>
                  </a:lnTo>
                  <a:lnTo>
                    <a:pt x="114015" y="81823"/>
                  </a:lnTo>
                  <a:lnTo>
                    <a:pt x="117430" y="74994"/>
                  </a:lnTo>
                  <a:lnTo>
                    <a:pt x="112918" y="62434"/>
                  </a:lnTo>
                  <a:lnTo>
                    <a:pt x="120966" y="56825"/>
                  </a:lnTo>
                  <a:lnTo>
                    <a:pt x="116454" y="5158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5" name="Freihandform: Form 544">
              <a:extLst>
                <a:ext uri="{FF2B5EF4-FFF2-40B4-BE49-F238E27FC236}">
                  <a16:creationId xmlns:a16="http://schemas.microsoft.com/office/drawing/2014/main" id="{9B22BB33-CC55-4A4E-8482-277070DD8661}"/>
                </a:ext>
              </a:extLst>
            </p:cNvPr>
            <p:cNvSpPr/>
            <p:nvPr/>
          </p:nvSpPr>
          <p:spPr>
            <a:xfrm>
              <a:off x="2948957" y="4665634"/>
              <a:ext cx="21217" cy="14754"/>
            </a:xfrm>
            <a:custGeom>
              <a:avLst/>
              <a:gdLst>
                <a:gd name="connsiteX0" fmla="*/ 7317 w 21217"/>
                <a:gd name="connsiteY0" fmla="*/ 366 h 14754"/>
                <a:gd name="connsiteX1" fmla="*/ 6951 w 21217"/>
                <a:gd name="connsiteY1" fmla="*/ 732 h 14754"/>
                <a:gd name="connsiteX2" fmla="*/ 7073 w 21217"/>
                <a:gd name="connsiteY2" fmla="*/ 366 h 14754"/>
                <a:gd name="connsiteX3" fmla="*/ 0 w 21217"/>
                <a:gd name="connsiteY3" fmla="*/ 0 h 14754"/>
                <a:gd name="connsiteX4" fmla="*/ 1341 w 21217"/>
                <a:gd name="connsiteY4" fmla="*/ 3658 h 14754"/>
                <a:gd name="connsiteX5" fmla="*/ 7561 w 21217"/>
                <a:gd name="connsiteY5" fmla="*/ 8902 h 14754"/>
                <a:gd name="connsiteX6" fmla="*/ 16828 w 21217"/>
                <a:gd name="connsiteY6" fmla="*/ 14755 h 14754"/>
                <a:gd name="connsiteX7" fmla="*/ 19633 w 21217"/>
                <a:gd name="connsiteY7" fmla="*/ 9389 h 14754"/>
                <a:gd name="connsiteX8" fmla="*/ 21218 w 21217"/>
                <a:gd name="connsiteY8" fmla="*/ 7072 h 14754"/>
                <a:gd name="connsiteX9" fmla="*/ 12194 w 21217"/>
                <a:gd name="connsiteY9" fmla="*/ 610 h 14754"/>
                <a:gd name="connsiteX10" fmla="*/ 7317 w 21217"/>
                <a:gd name="connsiteY10" fmla="*/ 366 h 1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17" h="14754">
                  <a:moveTo>
                    <a:pt x="7317" y="366"/>
                  </a:moveTo>
                  <a:lnTo>
                    <a:pt x="6951" y="732"/>
                  </a:lnTo>
                  <a:lnTo>
                    <a:pt x="7073" y="366"/>
                  </a:lnTo>
                  <a:lnTo>
                    <a:pt x="0" y="0"/>
                  </a:lnTo>
                  <a:lnTo>
                    <a:pt x="1341" y="3658"/>
                  </a:lnTo>
                  <a:lnTo>
                    <a:pt x="7561" y="8902"/>
                  </a:lnTo>
                  <a:lnTo>
                    <a:pt x="16828" y="14755"/>
                  </a:lnTo>
                  <a:lnTo>
                    <a:pt x="19633" y="9389"/>
                  </a:lnTo>
                  <a:lnTo>
                    <a:pt x="21218" y="7072"/>
                  </a:lnTo>
                  <a:lnTo>
                    <a:pt x="12194" y="610"/>
                  </a:lnTo>
                  <a:lnTo>
                    <a:pt x="7317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6" name="Freihandform: Form 545">
              <a:extLst>
                <a:ext uri="{FF2B5EF4-FFF2-40B4-BE49-F238E27FC236}">
                  <a16:creationId xmlns:a16="http://schemas.microsoft.com/office/drawing/2014/main" id="{C8CAEC05-CE58-4990-8716-578AC1CFEE2D}"/>
                </a:ext>
              </a:extLst>
            </p:cNvPr>
            <p:cNvSpPr/>
            <p:nvPr/>
          </p:nvSpPr>
          <p:spPr>
            <a:xfrm>
              <a:off x="2376929" y="1283583"/>
              <a:ext cx="102674" cy="59751"/>
            </a:xfrm>
            <a:custGeom>
              <a:avLst/>
              <a:gdLst>
                <a:gd name="connsiteX0" fmla="*/ 81457 w 102674"/>
                <a:gd name="connsiteY0" fmla="*/ 122 h 59751"/>
                <a:gd name="connsiteX1" fmla="*/ 89139 w 102674"/>
                <a:gd name="connsiteY1" fmla="*/ 4024 h 59751"/>
                <a:gd name="connsiteX2" fmla="*/ 74750 w 102674"/>
                <a:gd name="connsiteY2" fmla="*/ 8170 h 59751"/>
                <a:gd name="connsiteX3" fmla="*/ 64507 w 102674"/>
                <a:gd name="connsiteY3" fmla="*/ 3780 h 59751"/>
                <a:gd name="connsiteX4" fmla="*/ 39387 w 102674"/>
                <a:gd name="connsiteY4" fmla="*/ 5243 h 59751"/>
                <a:gd name="connsiteX5" fmla="*/ 41216 w 102674"/>
                <a:gd name="connsiteY5" fmla="*/ 7560 h 59751"/>
                <a:gd name="connsiteX6" fmla="*/ 43777 w 102674"/>
                <a:gd name="connsiteY6" fmla="*/ 10121 h 59751"/>
                <a:gd name="connsiteX7" fmla="*/ 43289 w 102674"/>
                <a:gd name="connsiteY7" fmla="*/ 10121 h 59751"/>
                <a:gd name="connsiteX8" fmla="*/ 44875 w 102674"/>
                <a:gd name="connsiteY8" fmla="*/ 12072 h 59751"/>
                <a:gd name="connsiteX9" fmla="*/ 55240 w 102674"/>
                <a:gd name="connsiteY9" fmla="*/ 15243 h 59751"/>
                <a:gd name="connsiteX10" fmla="*/ 56703 w 102674"/>
                <a:gd name="connsiteY10" fmla="*/ 19755 h 59751"/>
                <a:gd name="connsiteX11" fmla="*/ 70238 w 102674"/>
                <a:gd name="connsiteY11" fmla="*/ 25608 h 59751"/>
                <a:gd name="connsiteX12" fmla="*/ 60849 w 102674"/>
                <a:gd name="connsiteY12" fmla="*/ 29632 h 59751"/>
                <a:gd name="connsiteX13" fmla="*/ 42558 w 102674"/>
                <a:gd name="connsiteY13" fmla="*/ 24388 h 59751"/>
                <a:gd name="connsiteX14" fmla="*/ 32680 w 102674"/>
                <a:gd name="connsiteY14" fmla="*/ 18779 h 59751"/>
                <a:gd name="connsiteX15" fmla="*/ 22193 w 102674"/>
                <a:gd name="connsiteY15" fmla="*/ 11950 h 59751"/>
                <a:gd name="connsiteX16" fmla="*/ 17682 w 102674"/>
                <a:gd name="connsiteY16" fmla="*/ 13901 h 59751"/>
                <a:gd name="connsiteX17" fmla="*/ 18779 w 102674"/>
                <a:gd name="connsiteY17" fmla="*/ 20120 h 59751"/>
                <a:gd name="connsiteX18" fmla="*/ 19877 w 102674"/>
                <a:gd name="connsiteY18" fmla="*/ 24266 h 59751"/>
                <a:gd name="connsiteX19" fmla="*/ 26705 w 102674"/>
                <a:gd name="connsiteY19" fmla="*/ 28656 h 59751"/>
                <a:gd name="connsiteX20" fmla="*/ 22071 w 102674"/>
                <a:gd name="connsiteY20" fmla="*/ 35607 h 59751"/>
                <a:gd name="connsiteX21" fmla="*/ 1707 w 102674"/>
                <a:gd name="connsiteY21" fmla="*/ 36217 h 59751"/>
                <a:gd name="connsiteX22" fmla="*/ 0 w 102674"/>
                <a:gd name="connsiteY22" fmla="*/ 37192 h 59751"/>
                <a:gd name="connsiteX23" fmla="*/ 732 w 102674"/>
                <a:gd name="connsiteY23" fmla="*/ 38168 h 59751"/>
                <a:gd name="connsiteX24" fmla="*/ 14877 w 102674"/>
                <a:gd name="connsiteY24" fmla="*/ 38168 h 59751"/>
                <a:gd name="connsiteX25" fmla="*/ 19023 w 102674"/>
                <a:gd name="connsiteY25" fmla="*/ 36339 h 59751"/>
                <a:gd name="connsiteX26" fmla="*/ 43167 w 102674"/>
                <a:gd name="connsiteY26" fmla="*/ 35729 h 59751"/>
                <a:gd name="connsiteX27" fmla="*/ 50240 w 102674"/>
                <a:gd name="connsiteY27" fmla="*/ 32680 h 59751"/>
                <a:gd name="connsiteX28" fmla="*/ 58410 w 102674"/>
                <a:gd name="connsiteY28" fmla="*/ 31949 h 59751"/>
                <a:gd name="connsiteX29" fmla="*/ 68287 w 102674"/>
                <a:gd name="connsiteY29" fmla="*/ 39509 h 59751"/>
                <a:gd name="connsiteX30" fmla="*/ 51216 w 102674"/>
                <a:gd name="connsiteY30" fmla="*/ 43655 h 59751"/>
                <a:gd name="connsiteX31" fmla="*/ 43167 w 102674"/>
                <a:gd name="connsiteY31" fmla="*/ 45362 h 59751"/>
                <a:gd name="connsiteX32" fmla="*/ 42314 w 102674"/>
                <a:gd name="connsiteY32" fmla="*/ 46094 h 59751"/>
                <a:gd name="connsiteX33" fmla="*/ 48411 w 102674"/>
                <a:gd name="connsiteY33" fmla="*/ 47801 h 59751"/>
                <a:gd name="connsiteX34" fmla="*/ 49752 w 102674"/>
                <a:gd name="connsiteY34" fmla="*/ 59751 h 59751"/>
                <a:gd name="connsiteX35" fmla="*/ 90725 w 102674"/>
                <a:gd name="connsiteY35" fmla="*/ 53410 h 59751"/>
                <a:gd name="connsiteX36" fmla="*/ 94627 w 102674"/>
                <a:gd name="connsiteY36" fmla="*/ 48777 h 59751"/>
                <a:gd name="connsiteX37" fmla="*/ 87310 w 102674"/>
                <a:gd name="connsiteY37" fmla="*/ 42070 h 59751"/>
                <a:gd name="connsiteX38" fmla="*/ 92676 w 102674"/>
                <a:gd name="connsiteY38" fmla="*/ 37436 h 59751"/>
                <a:gd name="connsiteX39" fmla="*/ 98163 w 102674"/>
                <a:gd name="connsiteY39" fmla="*/ 38290 h 59751"/>
                <a:gd name="connsiteX40" fmla="*/ 102675 w 102674"/>
                <a:gd name="connsiteY40" fmla="*/ 40607 h 59751"/>
                <a:gd name="connsiteX41" fmla="*/ 101334 w 102674"/>
                <a:gd name="connsiteY41" fmla="*/ 35973 h 59751"/>
                <a:gd name="connsiteX42" fmla="*/ 98407 w 102674"/>
                <a:gd name="connsiteY42" fmla="*/ 33412 h 59751"/>
                <a:gd name="connsiteX43" fmla="*/ 94139 w 102674"/>
                <a:gd name="connsiteY43" fmla="*/ 8780 h 59751"/>
                <a:gd name="connsiteX44" fmla="*/ 89993 w 102674"/>
                <a:gd name="connsiteY44" fmla="*/ 4512 h 59751"/>
                <a:gd name="connsiteX45" fmla="*/ 88773 w 102674"/>
                <a:gd name="connsiteY45" fmla="*/ 488 h 59751"/>
                <a:gd name="connsiteX46" fmla="*/ 82067 w 102674"/>
                <a:gd name="connsiteY46" fmla="*/ 0 h 59751"/>
                <a:gd name="connsiteX47" fmla="*/ 81457 w 102674"/>
                <a:gd name="connsiteY47" fmla="*/ 122 h 59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2674" h="59751">
                  <a:moveTo>
                    <a:pt x="81457" y="122"/>
                  </a:moveTo>
                  <a:lnTo>
                    <a:pt x="89139" y="4024"/>
                  </a:lnTo>
                  <a:lnTo>
                    <a:pt x="74750" y="8170"/>
                  </a:lnTo>
                  <a:lnTo>
                    <a:pt x="64507" y="3780"/>
                  </a:lnTo>
                  <a:lnTo>
                    <a:pt x="39387" y="5243"/>
                  </a:lnTo>
                  <a:lnTo>
                    <a:pt x="41216" y="7560"/>
                  </a:lnTo>
                  <a:lnTo>
                    <a:pt x="43777" y="10121"/>
                  </a:lnTo>
                  <a:lnTo>
                    <a:pt x="43289" y="10121"/>
                  </a:lnTo>
                  <a:lnTo>
                    <a:pt x="44875" y="12072"/>
                  </a:lnTo>
                  <a:lnTo>
                    <a:pt x="55240" y="15243"/>
                  </a:lnTo>
                  <a:lnTo>
                    <a:pt x="56703" y="19755"/>
                  </a:lnTo>
                  <a:lnTo>
                    <a:pt x="70238" y="25608"/>
                  </a:lnTo>
                  <a:lnTo>
                    <a:pt x="60849" y="29632"/>
                  </a:lnTo>
                  <a:lnTo>
                    <a:pt x="42558" y="24388"/>
                  </a:lnTo>
                  <a:lnTo>
                    <a:pt x="32680" y="18779"/>
                  </a:lnTo>
                  <a:lnTo>
                    <a:pt x="22193" y="11950"/>
                  </a:lnTo>
                  <a:lnTo>
                    <a:pt x="17682" y="13901"/>
                  </a:lnTo>
                  <a:lnTo>
                    <a:pt x="18779" y="20120"/>
                  </a:lnTo>
                  <a:lnTo>
                    <a:pt x="19877" y="24266"/>
                  </a:lnTo>
                  <a:lnTo>
                    <a:pt x="26705" y="28656"/>
                  </a:lnTo>
                  <a:lnTo>
                    <a:pt x="22071" y="35607"/>
                  </a:lnTo>
                  <a:lnTo>
                    <a:pt x="1707" y="36217"/>
                  </a:lnTo>
                  <a:lnTo>
                    <a:pt x="0" y="37192"/>
                  </a:lnTo>
                  <a:lnTo>
                    <a:pt x="732" y="38168"/>
                  </a:lnTo>
                  <a:lnTo>
                    <a:pt x="14877" y="38168"/>
                  </a:lnTo>
                  <a:lnTo>
                    <a:pt x="19023" y="36339"/>
                  </a:lnTo>
                  <a:lnTo>
                    <a:pt x="43167" y="35729"/>
                  </a:lnTo>
                  <a:lnTo>
                    <a:pt x="50240" y="32680"/>
                  </a:lnTo>
                  <a:lnTo>
                    <a:pt x="58410" y="31949"/>
                  </a:lnTo>
                  <a:lnTo>
                    <a:pt x="68287" y="39509"/>
                  </a:lnTo>
                  <a:lnTo>
                    <a:pt x="51216" y="43655"/>
                  </a:lnTo>
                  <a:lnTo>
                    <a:pt x="43167" y="45362"/>
                  </a:lnTo>
                  <a:lnTo>
                    <a:pt x="42314" y="46094"/>
                  </a:lnTo>
                  <a:lnTo>
                    <a:pt x="48411" y="47801"/>
                  </a:lnTo>
                  <a:lnTo>
                    <a:pt x="49752" y="59751"/>
                  </a:lnTo>
                  <a:lnTo>
                    <a:pt x="90725" y="53410"/>
                  </a:lnTo>
                  <a:lnTo>
                    <a:pt x="94627" y="48777"/>
                  </a:lnTo>
                  <a:lnTo>
                    <a:pt x="87310" y="42070"/>
                  </a:lnTo>
                  <a:lnTo>
                    <a:pt x="92676" y="37436"/>
                  </a:lnTo>
                  <a:lnTo>
                    <a:pt x="98163" y="38290"/>
                  </a:lnTo>
                  <a:lnTo>
                    <a:pt x="102675" y="40607"/>
                  </a:lnTo>
                  <a:lnTo>
                    <a:pt x="101334" y="35973"/>
                  </a:lnTo>
                  <a:lnTo>
                    <a:pt x="98407" y="33412"/>
                  </a:lnTo>
                  <a:lnTo>
                    <a:pt x="94139" y="8780"/>
                  </a:lnTo>
                  <a:lnTo>
                    <a:pt x="89993" y="4512"/>
                  </a:lnTo>
                  <a:lnTo>
                    <a:pt x="88773" y="488"/>
                  </a:lnTo>
                  <a:lnTo>
                    <a:pt x="82067" y="0"/>
                  </a:lnTo>
                  <a:lnTo>
                    <a:pt x="81457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7" name="Freihandform: Form 546">
              <a:extLst>
                <a:ext uri="{FF2B5EF4-FFF2-40B4-BE49-F238E27FC236}">
                  <a16:creationId xmlns:a16="http://schemas.microsoft.com/office/drawing/2014/main" id="{2A7BC33F-AE92-432D-A43C-04BF779E955B}"/>
                </a:ext>
              </a:extLst>
            </p:cNvPr>
            <p:cNvSpPr/>
            <p:nvPr/>
          </p:nvSpPr>
          <p:spPr>
            <a:xfrm>
              <a:off x="2695562" y="1613435"/>
              <a:ext cx="5487" cy="2926"/>
            </a:xfrm>
            <a:custGeom>
              <a:avLst/>
              <a:gdLst>
                <a:gd name="connsiteX0" fmla="*/ 0 w 5487"/>
                <a:gd name="connsiteY0" fmla="*/ 1707 h 2926"/>
                <a:gd name="connsiteX1" fmla="*/ 2561 w 5487"/>
                <a:gd name="connsiteY1" fmla="*/ 2927 h 2926"/>
                <a:gd name="connsiteX2" fmla="*/ 5488 w 5487"/>
                <a:gd name="connsiteY2" fmla="*/ 244 h 2926"/>
                <a:gd name="connsiteX3" fmla="*/ 5244 w 5487"/>
                <a:gd name="connsiteY3" fmla="*/ 0 h 2926"/>
                <a:gd name="connsiteX4" fmla="*/ 244 w 5487"/>
                <a:gd name="connsiteY4" fmla="*/ 1219 h 2926"/>
                <a:gd name="connsiteX5" fmla="*/ 0 w 5487"/>
                <a:gd name="connsiteY5" fmla="*/ 1707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87" h="2926">
                  <a:moveTo>
                    <a:pt x="0" y="1707"/>
                  </a:moveTo>
                  <a:lnTo>
                    <a:pt x="2561" y="2927"/>
                  </a:lnTo>
                  <a:lnTo>
                    <a:pt x="5488" y="244"/>
                  </a:lnTo>
                  <a:lnTo>
                    <a:pt x="5244" y="0"/>
                  </a:lnTo>
                  <a:lnTo>
                    <a:pt x="244" y="1219"/>
                  </a:lnTo>
                  <a:lnTo>
                    <a:pt x="0" y="1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8" name="Freihandform: Form 547">
              <a:extLst>
                <a:ext uri="{FF2B5EF4-FFF2-40B4-BE49-F238E27FC236}">
                  <a16:creationId xmlns:a16="http://schemas.microsoft.com/office/drawing/2014/main" id="{F02E7850-8740-4252-BB33-BB8E4E5D6135}"/>
                </a:ext>
              </a:extLst>
            </p:cNvPr>
            <p:cNvSpPr/>
            <p:nvPr/>
          </p:nvSpPr>
          <p:spPr>
            <a:xfrm>
              <a:off x="2540818" y="1313215"/>
              <a:ext cx="2438" cy="1463"/>
            </a:xfrm>
            <a:custGeom>
              <a:avLst/>
              <a:gdLst>
                <a:gd name="connsiteX0" fmla="*/ 1219 w 2438"/>
                <a:gd name="connsiteY0" fmla="*/ 0 h 1463"/>
                <a:gd name="connsiteX1" fmla="*/ 0 w 2438"/>
                <a:gd name="connsiteY1" fmla="*/ 0 h 1463"/>
                <a:gd name="connsiteX2" fmla="*/ 1219 w 2438"/>
                <a:gd name="connsiteY2" fmla="*/ 1463 h 1463"/>
                <a:gd name="connsiteX3" fmla="*/ 2439 w 2438"/>
                <a:gd name="connsiteY3" fmla="*/ 1463 h 1463"/>
                <a:gd name="connsiteX4" fmla="*/ 1219 w 2438"/>
                <a:gd name="connsiteY4" fmla="*/ 0 h 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8" h="1463">
                  <a:moveTo>
                    <a:pt x="1219" y="0"/>
                  </a:moveTo>
                  <a:lnTo>
                    <a:pt x="0" y="0"/>
                  </a:lnTo>
                  <a:lnTo>
                    <a:pt x="1219" y="1463"/>
                  </a:lnTo>
                  <a:lnTo>
                    <a:pt x="2439" y="1463"/>
                  </a:lnTo>
                  <a:lnTo>
                    <a:pt x="121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49" name="Freihandform: Form 548">
              <a:extLst>
                <a:ext uri="{FF2B5EF4-FFF2-40B4-BE49-F238E27FC236}">
                  <a16:creationId xmlns:a16="http://schemas.microsoft.com/office/drawing/2014/main" id="{F8B630D1-2BC2-41A6-A871-6C35725CD45C}"/>
                </a:ext>
              </a:extLst>
            </p:cNvPr>
            <p:cNvSpPr/>
            <p:nvPr/>
          </p:nvSpPr>
          <p:spPr>
            <a:xfrm>
              <a:off x="2453874" y="1389673"/>
              <a:ext cx="23168" cy="7560"/>
            </a:xfrm>
            <a:custGeom>
              <a:avLst/>
              <a:gdLst>
                <a:gd name="connsiteX0" fmla="*/ 23169 w 23168"/>
                <a:gd name="connsiteY0" fmla="*/ 366 h 7560"/>
                <a:gd name="connsiteX1" fmla="*/ 22681 w 23168"/>
                <a:gd name="connsiteY1" fmla="*/ 0 h 7560"/>
                <a:gd name="connsiteX2" fmla="*/ 9755 w 23168"/>
                <a:gd name="connsiteY2" fmla="*/ 732 h 7560"/>
                <a:gd name="connsiteX3" fmla="*/ 0 w 23168"/>
                <a:gd name="connsiteY3" fmla="*/ 5122 h 7560"/>
                <a:gd name="connsiteX4" fmla="*/ 0 w 23168"/>
                <a:gd name="connsiteY4" fmla="*/ 6219 h 7560"/>
                <a:gd name="connsiteX5" fmla="*/ 9146 w 23168"/>
                <a:gd name="connsiteY5" fmla="*/ 7560 h 7560"/>
                <a:gd name="connsiteX6" fmla="*/ 18047 w 23168"/>
                <a:gd name="connsiteY6" fmla="*/ 5243 h 7560"/>
                <a:gd name="connsiteX7" fmla="*/ 23169 w 23168"/>
                <a:gd name="connsiteY7" fmla="*/ 366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68" h="7560">
                  <a:moveTo>
                    <a:pt x="23169" y="366"/>
                  </a:moveTo>
                  <a:lnTo>
                    <a:pt x="22681" y="0"/>
                  </a:lnTo>
                  <a:lnTo>
                    <a:pt x="9755" y="732"/>
                  </a:lnTo>
                  <a:lnTo>
                    <a:pt x="0" y="5122"/>
                  </a:lnTo>
                  <a:lnTo>
                    <a:pt x="0" y="6219"/>
                  </a:lnTo>
                  <a:lnTo>
                    <a:pt x="9146" y="7560"/>
                  </a:lnTo>
                  <a:lnTo>
                    <a:pt x="18047" y="5243"/>
                  </a:lnTo>
                  <a:lnTo>
                    <a:pt x="23169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0" name="Freihandform: Form 549">
              <a:extLst>
                <a:ext uri="{FF2B5EF4-FFF2-40B4-BE49-F238E27FC236}">
                  <a16:creationId xmlns:a16="http://schemas.microsoft.com/office/drawing/2014/main" id="{05437F55-AA2F-43AE-8E50-5A9F8EF0A478}"/>
                </a:ext>
              </a:extLst>
            </p:cNvPr>
            <p:cNvSpPr/>
            <p:nvPr/>
          </p:nvSpPr>
          <p:spPr>
            <a:xfrm>
              <a:off x="2403024" y="1284559"/>
              <a:ext cx="2926" cy="3048"/>
            </a:xfrm>
            <a:custGeom>
              <a:avLst/>
              <a:gdLst>
                <a:gd name="connsiteX0" fmla="*/ 2927 w 2926"/>
                <a:gd name="connsiteY0" fmla="*/ 3049 h 3048"/>
                <a:gd name="connsiteX1" fmla="*/ 1341 w 2926"/>
                <a:gd name="connsiteY1" fmla="*/ 1585 h 3048"/>
                <a:gd name="connsiteX2" fmla="*/ 2317 w 2926"/>
                <a:gd name="connsiteY2" fmla="*/ 610 h 3048"/>
                <a:gd name="connsiteX3" fmla="*/ 1829 w 2926"/>
                <a:gd name="connsiteY3" fmla="*/ 0 h 3048"/>
                <a:gd name="connsiteX4" fmla="*/ 366 w 2926"/>
                <a:gd name="connsiteY4" fmla="*/ 122 h 3048"/>
                <a:gd name="connsiteX5" fmla="*/ 122 w 2926"/>
                <a:gd name="connsiteY5" fmla="*/ 732 h 3048"/>
                <a:gd name="connsiteX6" fmla="*/ 1098 w 2926"/>
                <a:gd name="connsiteY6" fmla="*/ 1219 h 3048"/>
                <a:gd name="connsiteX7" fmla="*/ 0 w 2926"/>
                <a:gd name="connsiteY7" fmla="*/ 3049 h 3048"/>
                <a:gd name="connsiteX8" fmla="*/ 2927 w 2926"/>
                <a:gd name="connsiteY8" fmla="*/ 3049 h 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26" h="3048">
                  <a:moveTo>
                    <a:pt x="2927" y="3049"/>
                  </a:moveTo>
                  <a:lnTo>
                    <a:pt x="1341" y="1585"/>
                  </a:lnTo>
                  <a:lnTo>
                    <a:pt x="2317" y="610"/>
                  </a:lnTo>
                  <a:lnTo>
                    <a:pt x="1829" y="0"/>
                  </a:lnTo>
                  <a:lnTo>
                    <a:pt x="366" y="122"/>
                  </a:lnTo>
                  <a:lnTo>
                    <a:pt x="122" y="732"/>
                  </a:lnTo>
                  <a:lnTo>
                    <a:pt x="1098" y="1219"/>
                  </a:lnTo>
                  <a:lnTo>
                    <a:pt x="0" y="3049"/>
                  </a:lnTo>
                  <a:lnTo>
                    <a:pt x="2927" y="304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1" name="Freihandform: Form 550">
              <a:extLst>
                <a:ext uri="{FF2B5EF4-FFF2-40B4-BE49-F238E27FC236}">
                  <a16:creationId xmlns:a16="http://schemas.microsoft.com/office/drawing/2014/main" id="{2A48BD43-FCAC-4D4A-83BF-1475DE95763A}"/>
                </a:ext>
              </a:extLst>
            </p:cNvPr>
            <p:cNvSpPr/>
            <p:nvPr/>
          </p:nvSpPr>
          <p:spPr>
            <a:xfrm>
              <a:off x="2505333" y="1323580"/>
              <a:ext cx="54873" cy="33533"/>
            </a:xfrm>
            <a:custGeom>
              <a:avLst/>
              <a:gdLst>
                <a:gd name="connsiteX0" fmla="*/ 22071 w 54873"/>
                <a:gd name="connsiteY0" fmla="*/ 27803 h 33533"/>
                <a:gd name="connsiteX1" fmla="*/ 37558 w 54873"/>
                <a:gd name="connsiteY1" fmla="*/ 32071 h 33533"/>
                <a:gd name="connsiteX2" fmla="*/ 49142 w 54873"/>
                <a:gd name="connsiteY2" fmla="*/ 33534 h 33533"/>
                <a:gd name="connsiteX3" fmla="*/ 54874 w 54873"/>
                <a:gd name="connsiteY3" fmla="*/ 26705 h 33533"/>
                <a:gd name="connsiteX4" fmla="*/ 53654 w 54873"/>
                <a:gd name="connsiteY4" fmla="*/ 19267 h 33533"/>
                <a:gd name="connsiteX5" fmla="*/ 44874 w 54873"/>
                <a:gd name="connsiteY5" fmla="*/ 14023 h 33533"/>
                <a:gd name="connsiteX6" fmla="*/ 50850 w 54873"/>
                <a:gd name="connsiteY6" fmla="*/ 9024 h 33533"/>
                <a:gd name="connsiteX7" fmla="*/ 44509 w 54873"/>
                <a:gd name="connsiteY7" fmla="*/ 4512 h 33533"/>
                <a:gd name="connsiteX8" fmla="*/ 39265 w 54873"/>
                <a:gd name="connsiteY8" fmla="*/ 610 h 33533"/>
                <a:gd name="connsiteX9" fmla="*/ 28778 w 54873"/>
                <a:gd name="connsiteY9" fmla="*/ 0 h 33533"/>
                <a:gd name="connsiteX10" fmla="*/ 19511 w 54873"/>
                <a:gd name="connsiteY10" fmla="*/ 1097 h 33533"/>
                <a:gd name="connsiteX11" fmla="*/ 14023 w 54873"/>
                <a:gd name="connsiteY11" fmla="*/ 4634 h 33533"/>
                <a:gd name="connsiteX12" fmla="*/ 3170 w 54873"/>
                <a:gd name="connsiteY12" fmla="*/ 9999 h 33533"/>
                <a:gd name="connsiteX13" fmla="*/ 0 w 54873"/>
                <a:gd name="connsiteY13" fmla="*/ 13901 h 33533"/>
                <a:gd name="connsiteX14" fmla="*/ 5975 w 54873"/>
                <a:gd name="connsiteY14" fmla="*/ 23779 h 33533"/>
                <a:gd name="connsiteX15" fmla="*/ 22071 w 54873"/>
                <a:gd name="connsiteY15" fmla="*/ 27803 h 3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873" h="33533">
                  <a:moveTo>
                    <a:pt x="22071" y="27803"/>
                  </a:moveTo>
                  <a:lnTo>
                    <a:pt x="37558" y="32071"/>
                  </a:lnTo>
                  <a:lnTo>
                    <a:pt x="49142" y="33534"/>
                  </a:lnTo>
                  <a:lnTo>
                    <a:pt x="54874" y="26705"/>
                  </a:lnTo>
                  <a:lnTo>
                    <a:pt x="53654" y="19267"/>
                  </a:lnTo>
                  <a:lnTo>
                    <a:pt x="44874" y="14023"/>
                  </a:lnTo>
                  <a:lnTo>
                    <a:pt x="50850" y="9024"/>
                  </a:lnTo>
                  <a:lnTo>
                    <a:pt x="44509" y="4512"/>
                  </a:lnTo>
                  <a:lnTo>
                    <a:pt x="39265" y="610"/>
                  </a:lnTo>
                  <a:lnTo>
                    <a:pt x="28778" y="0"/>
                  </a:lnTo>
                  <a:lnTo>
                    <a:pt x="19511" y="1097"/>
                  </a:lnTo>
                  <a:lnTo>
                    <a:pt x="14023" y="4634"/>
                  </a:lnTo>
                  <a:lnTo>
                    <a:pt x="3170" y="9999"/>
                  </a:lnTo>
                  <a:lnTo>
                    <a:pt x="0" y="13901"/>
                  </a:lnTo>
                  <a:lnTo>
                    <a:pt x="5975" y="23779"/>
                  </a:lnTo>
                  <a:lnTo>
                    <a:pt x="22071" y="2780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2" name="Freihandform: Form 551">
              <a:extLst>
                <a:ext uri="{FF2B5EF4-FFF2-40B4-BE49-F238E27FC236}">
                  <a16:creationId xmlns:a16="http://schemas.microsoft.com/office/drawing/2014/main" id="{5EF6EFB1-39EE-4AFA-B31C-E1224E4A6296}"/>
                </a:ext>
              </a:extLst>
            </p:cNvPr>
            <p:cNvSpPr/>
            <p:nvPr/>
          </p:nvSpPr>
          <p:spPr>
            <a:xfrm>
              <a:off x="3119553" y="1881341"/>
              <a:ext cx="6341" cy="10121"/>
            </a:xfrm>
            <a:custGeom>
              <a:avLst/>
              <a:gdLst>
                <a:gd name="connsiteX0" fmla="*/ 0 w 6341"/>
                <a:gd name="connsiteY0" fmla="*/ 3902 h 10121"/>
                <a:gd name="connsiteX1" fmla="*/ 5122 w 6341"/>
                <a:gd name="connsiteY1" fmla="*/ 10121 h 10121"/>
                <a:gd name="connsiteX2" fmla="*/ 6341 w 6341"/>
                <a:gd name="connsiteY2" fmla="*/ 9755 h 10121"/>
                <a:gd name="connsiteX3" fmla="*/ 5365 w 6341"/>
                <a:gd name="connsiteY3" fmla="*/ 2317 h 10121"/>
                <a:gd name="connsiteX4" fmla="*/ 2195 w 6341"/>
                <a:gd name="connsiteY4" fmla="*/ 0 h 10121"/>
                <a:gd name="connsiteX5" fmla="*/ 0 w 6341"/>
                <a:gd name="connsiteY5" fmla="*/ 3902 h 1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1" h="10121">
                  <a:moveTo>
                    <a:pt x="0" y="3902"/>
                  </a:moveTo>
                  <a:lnTo>
                    <a:pt x="5122" y="10121"/>
                  </a:lnTo>
                  <a:lnTo>
                    <a:pt x="6341" y="9755"/>
                  </a:lnTo>
                  <a:lnTo>
                    <a:pt x="5365" y="2317"/>
                  </a:lnTo>
                  <a:lnTo>
                    <a:pt x="2195" y="0"/>
                  </a:lnTo>
                  <a:lnTo>
                    <a:pt x="0" y="3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3" name="Freihandform: Form 552">
              <a:extLst>
                <a:ext uri="{FF2B5EF4-FFF2-40B4-BE49-F238E27FC236}">
                  <a16:creationId xmlns:a16="http://schemas.microsoft.com/office/drawing/2014/main" id="{08660F4D-505F-4D17-BA13-1790F8A9A312}"/>
                </a:ext>
              </a:extLst>
            </p:cNvPr>
            <p:cNvSpPr/>
            <p:nvPr/>
          </p:nvSpPr>
          <p:spPr>
            <a:xfrm>
              <a:off x="2332542" y="1331141"/>
              <a:ext cx="18900" cy="9145"/>
            </a:xfrm>
            <a:custGeom>
              <a:avLst/>
              <a:gdLst>
                <a:gd name="connsiteX0" fmla="*/ 0 w 18900"/>
                <a:gd name="connsiteY0" fmla="*/ 7438 h 9145"/>
                <a:gd name="connsiteX1" fmla="*/ 3292 w 18900"/>
                <a:gd name="connsiteY1" fmla="*/ 9146 h 9145"/>
                <a:gd name="connsiteX2" fmla="*/ 13292 w 18900"/>
                <a:gd name="connsiteY2" fmla="*/ 8414 h 9145"/>
                <a:gd name="connsiteX3" fmla="*/ 18901 w 18900"/>
                <a:gd name="connsiteY3" fmla="*/ 2439 h 9145"/>
                <a:gd name="connsiteX4" fmla="*/ 10365 w 18900"/>
                <a:gd name="connsiteY4" fmla="*/ 0 h 9145"/>
                <a:gd name="connsiteX5" fmla="*/ 0 w 18900"/>
                <a:gd name="connsiteY5" fmla="*/ 7438 h 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00" h="9145">
                  <a:moveTo>
                    <a:pt x="0" y="7438"/>
                  </a:moveTo>
                  <a:lnTo>
                    <a:pt x="3292" y="9146"/>
                  </a:lnTo>
                  <a:lnTo>
                    <a:pt x="13292" y="8414"/>
                  </a:lnTo>
                  <a:lnTo>
                    <a:pt x="18901" y="2439"/>
                  </a:lnTo>
                  <a:lnTo>
                    <a:pt x="10365" y="0"/>
                  </a:lnTo>
                  <a:lnTo>
                    <a:pt x="0" y="743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4" name="Freihandform: Form 553">
              <a:extLst>
                <a:ext uri="{FF2B5EF4-FFF2-40B4-BE49-F238E27FC236}">
                  <a16:creationId xmlns:a16="http://schemas.microsoft.com/office/drawing/2014/main" id="{78D84D50-DF5B-4401-A4E4-7FF09F8BC34E}"/>
                </a:ext>
              </a:extLst>
            </p:cNvPr>
            <p:cNvSpPr/>
            <p:nvPr/>
          </p:nvSpPr>
          <p:spPr>
            <a:xfrm>
              <a:off x="3255274" y="4073852"/>
              <a:ext cx="101333" cy="105845"/>
            </a:xfrm>
            <a:custGeom>
              <a:avLst/>
              <a:gdLst>
                <a:gd name="connsiteX0" fmla="*/ 99138 w 101333"/>
                <a:gd name="connsiteY0" fmla="*/ 59995 h 105845"/>
                <a:gd name="connsiteX1" fmla="*/ 87188 w 101333"/>
                <a:gd name="connsiteY1" fmla="*/ 49752 h 105845"/>
                <a:gd name="connsiteX2" fmla="*/ 86457 w 101333"/>
                <a:gd name="connsiteY2" fmla="*/ 49265 h 105845"/>
                <a:gd name="connsiteX3" fmla="*/ 85969 w 101333"/>
                <a:gd name="connsiteY3" fmla="*/ 48411 h 105845"/>
                <a:gd name="connsiteX4" fmla="*/ 80116 w 101333"/>
                <a:gd name="connsiteY4" fmla="*/ 39387 h 105845"/>
                <a:gd name="connsiteX5" fmla="*/ 68897 w 101333"/>
                <a:gd name="connsiteY5" fmla="*/ 34509 h 105845"/>
                <a:gd name="connsiteX6" fmla="*/ 66580 w 101333"/>
                <a:gd name="connsiteY6" fmla="*/ 33534 h 105845"/>
                <a:gd name="connsiteX7" fmla="*/ 65604 w 101333"/>
                <a:gd name="connsiteY7" fmla="*/ 31217 h 105845"/>
                <a:gd name="connsiteX8" fmla="*/ 63531 w 101333"/>
                <a:gd name="connsiteY8" fmla="*/ 26217 h 105845"/>
                <a:gd name="connsiteX9" fmla="*/ 61824 w 101333"/>
                <a:gd name="connsiteY9" fmla="*/ 22071 h 105845"/>
                <a:gd name="connsiteX10" fmla="*/ 56215 w 101333"/>
                <a:gd name="connsiteY10" fmla="*/ 19267 h 105845"/>
                <a:gd name="connsiteX11" fmla="*/ 32558 w 101333"/>
                <a:gd name="connsiteY11" fmla="*/ 16584 h 105845"/>
                <a:gd name="connsiteX12" fmla="*/ 29144 w 101333"/>
                <a:gd name="connsiteY12" fmla="*/ 16218 h 105845"/>
                <a:gd name="connsiteX13" fmla="*/ 27681 w 101333"/>
                <a:gd name="connsiteY13" fmla="*/ 13170 h 105845"/>
                <a:gd name="connsiteX14" fmla="*/ 26339 w 101333"/>
                <a:gd name="connsiteY14" fmla="*/ 10243 h 105845"/>
                <a:gd name="connsiteX15" fmla="*/ 23047 w 101333"/>
                <a:gd name="connsiteY15" fmla="*/ 3049 h 105845"/>
                <a:gd name="connsiteX16" fmla="*/ 17316 w 101333"/>
                <a:gd name="connsiteY16" fmla="*/ 0 h 105845"/>
                <a:gd name="connsiteX17" fmla="*/ 11097 w 101333"/>
                <a:gd name="connsiteY17" fmla="*/ 10853 h 105845"/>
                <a:gd name="connsiteX18" fmla="*/ 10243 w 101333"/>
                <a:gd name="connsiteY18" fmla="*/ 20364 h 105845"/>
                <a:gd name="connsiteX19" fmla="*/ 7438 w 101333"/>
                <a:gd name="connsiteY19" fmla="*/ 62190 h 105845"/>
                <a:gd name="connsiteX20" fmla="*/ 7073 w 101333"/>
                <a:gd name="connsiteY20" fmla="*/ 64507 h 105845"/>
                <a:gd name="connsiteX21" fmla="*/ 5731 w 101333"/>
                <a:gd name="connsiteY21" fmla="*/ 66093 h 105845"/>
                <a:gd name="connsiteX22" fmla="*/ 0 w 101333"/>
                <a:gd name="connsiteY22" fmla="*/ 72555 h 105845"/>
                <a:gd name="connsiteX23" fmla="*/ 610 w 101333"/>
                <a:gd name="connsiteY23" fmla="*/ 84750 h 105845"/>
                <a:gd name="connsiteX24" fmla="*/ 6951 w 101333"/>
                <a:gd name="connsiteY24" fmla="*/ 82920 h 105845"/>
                <a:gd name="connsiteX25" fmla="*/ 17560 w 101333"/>
                <a:gd name="connsiteY25" fmla="*/ 95358 h 105845"/>
                <a:gd name="connsiteX26" fmla="*/ 29388 w 101333"/>
                <a:gd name="connsiteY26" fmla="*/ 94505 h 105845"/>
                <a:gd name="connsiteX27" fmla="*/ 46704 w 101333"/>
                <a:gd name="connsiteY27" fmla="*/ 102187 h 105845"/>
                <a:gd name="connsiteX28" fmla="*/ 61337 w 101333"/>
                <a:gd name="connsiteY28" fmla="*/ 105845 h 105845"/>
                <a:gd name="connsiteX29" fmla="*/ 77189 w 101333"/>
                <a:gd name="connsiteY29" fmla="*/ 104992 h 105845"/>
                <a:gd name="connsiteX30" fmla="*/ 89261 w 101333"/>
                <a:gd name="connsiteY30" fmla="*/ 91090 h 105845"/>
                <a:gd name="connsiteX31" fmla="*/ 89261 w 101333"/>
                <a:gd name="connsiteY31" fmla="*/ 86335 h 105845"/>
                <a:gd name="connsiteX32" fmla="*/ 99626 w 101333"/>
                <a:gd name="connsiteY32" fmla="*/ 74506 h 105845"/>
                <a:gd name="connsiteX33" fmla="*/ 101333 w 101333"/>
                <a:gd name="connsiteY33" fmla="*/ 72433 h 105845"/>
                <a:gd name="connsiteX34" fmla="*/ 99992 w 101333"/>
                <a:gd name="connsiteY34" fmla="*/ 64995 h 105845"/>
                <a:gd name="connsiteX35" fmla="*/ 99138 w 101333"/>
                <a:gd name="connsiteY35" fmla="*/ 59995 h 105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1333" h="105845">
                  <a:moveTo>
                    <a:pt x="99138" y="59995"/>
                  </a:moveTo>
                  <a:lnTo>
                    <a:pt x="87188" y="49752"/>
                  </a:lnTo>
                  <a:lnTo>
                    <a:pt x="86457" y="49265"/>
                  </a:lnTo>
                  <a:lnTo>
                    <a:pt x="85969" y="48411"/>
                  </a:lnTo>
                  <a:lnTo>
                    <a:pt x="80116" y="39387"/>
                  </a:lnTo>
                  <a:lnTo>
                    <a:pt x="68897" y="34509"/>
                  </a:lnTo>
                  <a:lnTo>
                    <a:pt x="66580" y="33534"/>
                  </a:lnTo>
                  <a:lnTo>
                    <a:pt x="65604" y="31217"/>
                  </a:lnTo>
                  <a:lnTo>
                    <a:pt x="63531" y="26217"/>
                  </a:lnTo>
                  <a:lnTo>
                    <a:pt x="61824" y="22071"/>
                  </a:lnTo>
                  <a:lnTo>
                    <a:pt x="56215" y="19267"/>
                  </a:lnTo>
                  <a:lnTo>
                    <a:pt x="32558" y="16584"/>
                  </a:lnTo>
                  <a:lnTo>
                    <a:pt x="29144" y="16218"/>
                  </a:lnTo>
                  <a:lnTo>
                    <a:pt x="27681" y="13170"/>
                  </a:lnTo>
                  <a:lnTo>
                    <a:pt x="26339" y="10243"/>
                  </a:lnTo>
                  <a:lnTo>
                    <a:pt x="23047" y="3049"/>
                  </a:lnTo>
                  <a:lnTo>
                    <a:pt x="17316" y="0"/>
                  </a:lnTo>
                  <a:lnTo>
                    <a:pt x="11097" y="10853"/>
                  </a:lnTo>
                  <a:lnTo>
                    <a:pt x="10243" y="20364"/>
                  </a:lnTo>
                  <a:lnTo>
                    <a:pt x="7438" y="62190"/>
                  </a:lnTo>
                  <a:lnTo>
                    <a:pt x="7073" y="64507"/>
                  </a:lnTo>
                  <a:lnTo>
                    <a:pt x="5731" y="66093"/>
                  </a:lnTo>
                  <a:lnTo>
                    <a:pt x="0" y="72555"/>
                  </a:lnTo>
                  <a:lnTo>
                    <a:pt x="610" y="84750"/>
                  </a:lnTo>
                  <a:lnTo>
                    <a:pt x="6951" y="82920"/>
                  </a:lnTo>
                  <a:lnTo>
                    <a:pt x="17560" y="95358"/>
                  </a:lnTo>
                  <a:lnTo>
                    <a:pt x="29388" y="94505"/>
                  </a:lnTo>
                  <a:lnTo>
                    <a:pt x="46704" y="102187"/>
                  </a:lnTo>
                  <a:lnTo>
                    <a:pt x="61337" y="105845"/>
                  </a:lnTo>
                  <a:lnTo>
                    <a:pt x="77189" y="104992"/>
                  </a:lnTo>
                  <a:lnTo>
                    <a:pt x="89261" y="91090"/>
                  </a:lnTo>
                  <a:lnTo>
                    <a:pt x="89261" y="86335"/>
                  </a:lnTo>
                  <a:lnTo>
                    <a:pt x="99626" y="74506"/>
                  </a:lnTo>
                  <a:lnTo>
                    <a:pt x="101333" y="72433"/>
                  </a:lnTo>
                  <a:lnTo>
                    <a:pt x="99992" y="64995"/>
                  </a:lnTo>
                  <a:lnTo>
                    <a:pt x="99138" y="599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5" name="Freihandform: Form 554">
              <a:extLst>
                <a:ext uri="{FF2B5EF4-FFF2-40B4-BE49-F238E27FC236}">
                  <a16:creationId xmlns:a16="http://schemas.microsoft.com/office/drawing/2014/main" id="{B3C357CF-9A14-42BE-B206-899EED30E0A1}"/>
                </a:ext>
              </a:extLst>
            </p:cNvPr>
            <p:cNvSpPr/>
            <p:nvPr/>
          </p:nvSpPr>
          <p:spPr>
            <a:xfrm>
              <a:off x="2314495" y="1243465"/>
              <a:ext cx="28168" cy="21217"/>
            </a:xfrm>
            <a:custGeom>
              <a:avLst/>
              <a:gdLst>
                <a:gd name="connsiteX0" fmla="*/ 13414 w 28168"/>
                <a:gd name="connsiteY0" fmla="*/ 21218 h 21217"/>
                <a:gd name="connsiteX1" fmla="*/ 28168 w 28168"/>
                <a:gd name="connsiteY1" fmla="*/ 21218 h 21217"/>
                <a:gd name="connsiteX2" fmla="*/ 26217 w 28168"/>
                <a:gd name="connsiteY2" fmla="*/ 14145 h 21217"/>
                <a:gd name="connsiteX3" fmla="*/ 5975 w 28168"/>
                <a:gd name="connsiteY3" fmla="*/ 732 h 21217"/>
                <a:gd name="connsiteX4" fmla="*/ 0 w 28168"/>
                <a:gd name="connsiteY4" fmla="*/ 0 h 21217"/>
                <a:gd name="connsiteX5" fmla="*/ 2927 w 28168"/>
                <a:gd name="connsiteY5" fmla="*/ 8048 h 21217"/>
                <a:gd name="connsiteX6" fmla="*/ 13414 w 28168"/>
                <a:gd name="connsiteY6" fmla="*/ 21218 h 2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68" h="21217">
                  <a:moveTo>
                    <a:pt x="13414" y="21218"/>
                  </a:moveTo>
                  <a:lnTo>
                    <a:pt x="28168" y="21218"/>
                  </a:lnTo>
                  <a:lnTo>
                    <a:pt x="26217" y="14145"/>
                  </a:lnTo>
                  <a:lnTo>
                    <a:pt x="5975" y="732"/>
                  </a:lnTo>
                  <a:lnTo>
                    <a:pt x="0" y="0"/>
                  </a:lnTo>
                  <a:lnTo>
                    <a:pt x="2927" y="8048"/>
                  </a:lnTo>
                  <a:lnTo>
                    <a:pt x="13414" y="2121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6" name="Freihandform: Form 555">
              <a:extLst>
                <a:ext uri="{FF2B5EF4-FFF2-40B4-BE49-F238E27FC236}">
                  <a16:creationId xmlns:a16="http://schemas.microsoft.com/office/drawing/2014/main" id="{0E5C1694-7AB3-410E-A398-7F50B8189358}"/>
                </a:ext>
              </a:extLst>
            </p:cNvPr>
            <p:cNvSpPr/>
            <p:nvPr/>
          </p:nvSpPr>
          <p:spPr>
            <a:xfrm>
              <a:off x="3203815" y="4602590"/>
              <a:ext cx="25241" cy="19754"/>
            </a:xfrm>
            <a:custGeom>
              <a:avLst/>
              <a:gdLst>
                <a:gd name="connsiteX0" fmla="*/ 10731 w 25241"/>
                <a:gd name="connsiteY0" fmla="*/ 3781 h 19754"/>
                <a:gd name="connsiteX1" fmla="*/ 10731 w 25241"/>
                <a:gd name="connsiteY1" fmla="*/ 12560 h 19754"/>
                <a:gd name="connsiteX2" fmla="*/ 2195 w 25241"/>
                <a:gd name="connsiteY2" fmla="*/ 15243 h 19754"/>
                <a:gd name="connsiteX3" fmla="*/ 0 w 25241"/>
                <a:gd name="connsiteY3" fmla="*/ 17925 h 19754"/>
                <a:gd name="connsiteX4" fmla="*/ 5853 w 25241"/>
                <a:gd name="connsiteY4" fmla="*/ 19755 h 19754"/>
                <a:gd name="connsiteX5" fmla="*/ 12926 w 25241"/>
                <a:gd name="connsiteY5" fmla="*/ 9999 h 19754"/>
                <a:gd name="connsiteX6" fmla="*/ 25242 w 25241"/>
                <a:gd name="connsiteY6" fmla="*/ 5488 h 19754"/>
                <a:gd name="connsiteX7" fmla="*/ 24632 w 25241"/>
                <a:gd name="connsiteY7" fmla="*/ 0 h 19754"/>
                <a:gd name="connsiteX8" fmla="*/ 10731 w 25241"/>
                <a:gd name="connsiteY8" fmla="*/ 3781 h 19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41" h="19754">
                  <a:moveTo>
                    <a:pt x="10731" y="3781"/>
                  </a:moveTo>
                  <a:lnTo>
                    <a:pt x="10731" y="12560"/>
                  </a:lnTo>
                  <a:lnTo>
                    <a:pt x="2195" y="15243"/>
                  </a:lnTo>
                  <a:lnTo>
                    <a:pt x="0" y="17925"/>
                  </a:lnTo>
                  <a:lnTo>
                    <a:pt x="5853" y="19755"/>
                  </a:lnTo>
                  <a:lnTo>
                    <a:pt x="12926" y="9999"/>
                  </a:lnTo>
                  <a:lnTo>
                    <a:pt x="25242" y="5488"/>
                  </a:lnTo>
                  <a:lnTo>
                    <a:pt x="24632" y="0"/>
                  </a:lnTo>
                  <a:lnTo>
                    <a:pt x="10731" y="378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7" name="Freihandform: Form 556">
              <a:extLst>
                <a:ext uri="{FF2B5EF4-FFF2-40B4-BE49-F238E27FC236}">
                  <a16:creationId xmlns:a16="http://schemas.microsoft.com/office/drawing/2014/main" id="{7C25F184-09F4-4ECB-BBBC-044847067EDB}"/>
                </a:ext>
              </a:extLst>
            </p:cNvPr>
            <p:cNvSpPr/>
            <p:nvPr/>
          </p:nvSpPr>
          <p:spPr>
            <a:xfrm>
              <a:off x="3388678" y="4102264"/>
              <a:ext cx="4023" cy="4512"/>
            </a:xfrm>
            <a:custGeom>
              <a:avLst/>
              <a:gdLst>
                <a:gd name="connsiteX0" fmla="*/ 244 w 4023"/>
                <a:gd name="connsiteY0" fmla="*/ 4512 h 4512"/>
                <a:gd name="connsiteX1" fmla="*/ 3902 w 4023"/>
                <a:gd name="connsiteY1" fmla="*/ 610 h 4512"/>
                <a:gd name="connsiteX2" fmla="*/ 4024 w 4023"/>
                <a:gd name="connsiteY2" fmla="*/ 0 h 4512"/>
                <a:gd name="connsiteX3" fmla="*/ 0 w 4023"/>
                <a:gd name="connsiteY3" fmla="*/ 3781 h 4512"/>
                <a:gd name="connsiteX4" fmla="*/ 244 w 4023"/>
                <a:gd name="connsiteY4" fmla="*/ 4512 h 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3" h="4512">
                  <a:moveTo>
                    <a:pt x="244" y="4512"/>
                  </a:moveTo>
                  <a:lnTo>
                    <a:pt x="3902" y="610"/>
                  </a:lnTo>
                  <a:lnTo>
                    <a:pt x="4024" y="0"/>
                  </a:lnTo>
                  <a:lnTo>
                    <a:pt x="0" y="3781"/>
                  </a:lnTo>
                  <a:lnTo>
                    <a:pt x="244" y="451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8" name="Freihandform: Form 557">
              <a:extLst>
                <a:ext uri="{FF2B5EF4-FFF2-40B4-BE49-F238E27FC236}">
                  <a16:creationId xmlns:a16="http://schemas.microsoft.com/office/drawing/2014/main" id="{A70032D3-7DC1-4CCB-8A6A-CF036949EB37}"/>
                </a:ext>
              </a:extLst>
            </p:cNvPr>
            <p:cNvSpPr/>
            <p:nvPr/>
          </p:nvSpPr>
          <p:spPr>
            <a:xfrm>
              <a:off x="4047285" y="1332360"/>
              <a:ext cx="29631" cy="10243"/>
            </a:xfrm>
            <a:custGeom>
              <a:avLst/>
              <a:gdLst>
                <a:gd name="connsiteX0" fmla="*/ 17072 w 29631"/>
                <a:gd name="connsiteY0" fmla="*/ 7682 h 10243"/>
                <a:gd name="connsiteX1" fmla="*/ 13048 w 29631"/>
                <a:gd name="connsiteY1" fmla="*/ 0 h 10243"/>
                <a:gd name="connsiteX2" fmla="*/ 1463 w 29631"/>
                <a:gd name="connsiteY2" fmla="*/ 1463 h 10243"/>
                <a:gd name="connsiteX3" fmla="*/ 0 w 29631"/>
                <a:gd name="connsiteY3" fmla="*/ 4268 h 10243"/>
                <a:gd name="connsiteX4" fmla="*/ 7804 w 29631"/>
                <a:gd name="connsiteY4" fmla="*/ 9633 h 10243"/>
                <a:gd name="connsiteX5" fmla="*/ 19877 w 29631"/>
                <a:gd name="connsiteY5" fmla="*/ 9633 h 10243"/>
                <a:gd name="connsiteX6" fmla="*/ 29632 w 29631"/>
                <a:gd name="connsiteY6" fmla="*/ 10243 h 10243"/>
                <a:gd name="connsiteX7" fmla="*/ 29632 w 29631"/>
                <a:gd name="connsiteY7" fmla="*/ 10243 h 10243"/>
                <a:gd name="connsiteX8" fmla="*/ 17072 w 29631"/>
                <a:gd name="connsiteY8" fmla="*/ 7682 h 1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31" h="10243">
                  <a:moveTo>
                    <a:pt x="17072" y="7682"/>
                  </a:moveTo>
                  <a:lnTo>
                    <a:pt x="13048" y="0"/>
                  </a:lnTo>
                  <a:lnTo>
                    <a:pt x="1463" y="1463"/>
                  </a:lnTo>
                  <a:lnTo>
                    <a:pt x="0" y="4268"/>
                  </a:lnTo>
                  <a:lnTo>
                    <a:pt x="7804" y="9633"/>
                  </a:lnTo>
                  <a:lnTo>
                    <a:pt x="19877" y="9633"/>
                  </a:lnTo>
                  <a:lnTo>
                    <a:pt x="29632" y="10243"/>
                  </a:lnTo>
                  <a:lnTo>
                    <a:pt x="29632" y="10243"/>
                  </a:lnTo>
                  <a:lnTo>
                    <a:pt x="17072" y="768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59" name="Freihandform: Form 558">
              <a:extLst>
                <a:ext uri="{FF2B5EF4-FFF2-40B4-BE49-F238E27FC236}">
                  <a16:creationId xmlns:a16="http://schemas.microsoft.com/office/drawing/2014/main" id="{B1078FDE-A68C-4502-85E3-C61F2BDFFEB7}"/>
                </a:ext>
              </a:extLst>
            </p:cNvPr>
            <p:cNvSpPr/>
            <p:nvPr/>
          </p:nvSpPr>
          <p:spPr>
            <a:xfrm>
              <a:off x="3230276" y="4606005"/>
              <a:ext cx="23534" cy="18657"/>
            </a:xfrm>
            <a:custGeom>
              <a:avLst/>
              <a:gdLst>
                <a:gd name="connsiteX0" fmla="*/ 15487 w 23534"/>
                <a:gd name="connsiteY0" fmla="*/ 0 h 18657"/>
                <a:gd name="connsiteX1" fmla="*/ 15487 w 23534"/>
                <a:gd name="connsiteY1" fmla="*/ 4999 h 18657"/>
                <a:gd name="connsiteX2" fmla="*/ 5243 w 23534"/>
                <a:gd name="connsiteY2" fmla="*/ 9267 h 18657"/>
                <a:gd name="connsiteX3" fmla="*/ 0 w 23534"/>
                <a:gd name="connsiteY3" fmla="*/ 16828 h 18657"/>
                <a:gd name="connsiteX4" fmla="*/ 2317 w 23534"/>
                <a:gd name="connsiteY4" fmla="*/ 18657 h 18657"/>
                <a:gd name="connsiteX5" fmla="*/ 12316 w 23534"/>
                <a:gd name="connsiteY5" fmla="*/ 13413 h 18657"/>
                <a:gd name="connsiteX6" fmla="*/ 13292 w 23534"/>
                <a:gd name="connsiteY6" fmla="*/ 6707 h 18657"/>
                <a:gd name="connsiteX7" fmla="*/ 23535 w 23534"/>
                <a:gd name="connsiteY7" fmla="*/ 3414 h 18657"/>
                <a:gd name="connsiteX8" fmla="*/ 19998 w 23534"/>
                <a:gd name="connsiteY8" fmla="*/ 0 h 18657"/>
                <a:gd name="connsiteX9" fmla="*/ 15487 w 23534"/>
                <a:gd name="connsiteY9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34" h="18657">
                  <a:moveTo>
                    <a:pt x="15487" y="0"/>
                  </a:moveTo>
                  <a:lnTo>
                    <a:pt x="15487" y="4999"/>
                  </a:lnTo>
                  <a:lnTo>
                    <a:pt x="5243" y="9267"/>
                  </a:lnTo>
                  <a:lnTo>
                    <a:pt x="0" y="16828"/>
                  </a:lnTo>
                  <a:lnTo>
                    <a:pt x="2317" y="18657"/>
                  </a:lnTo>
                  <a:lnTo>
                    <a:pt x="12316" y="13413"/>
                  </a:lnTo>
                  <a:lnTo>
                    <a:pt x="13292" y="6707"/>
                  </a:lnTo>
                  <a:lnTo>
                    <a:pt x="23535" y="3414"/>
                  </a:lnTo>
                  <a:lnTo>
                    <a:pt x="19998" y="0"/>
                  </a:lnTo>
                  <a:lnTo>
                    <a:pt x="1548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0" name="Freihandform: Form 559">
              <a:extLst>
                <a:ext uri="{FF2B5EF4-FFF2-40B4-BE49-F238E27FC236}">
                  <a16:creationId xmlns:a16="http://schemas.microsoft.com/office/drawing/2014/main" id="{EF5BBC4B-1014-4CA9-8833-5938D0474C4A}"/>
                </a:ext>
              </a:extLst>
            </p:cNvPr>
            <p:cNvSpPr/>
            <p:nvPr/>
          </p:nvSpPr>
          <p:spPr>
            <a:xfrm>
              <a:off x="2948347" y="3341836"/>
              <a:ext cx="775426" cy="794327"/>
            </a:xfrm>
            <a:custGeom>
              <a:avLst/>
              <a:gdLst>
                <a:gd name="connsiteX0" fmla="*/ 736161 w 775426"/>
                <a:gd name="connsiteY0" fmla="*/ 195960 h 794327"/>
                <a:gd name="connsiteX1" fmla="*/ 727382 w 775426"/>
                <a:gd name="connsiteY1" fmla="*/ 193643 h 794327"/>
                <a:gd name="connsiteX2" fmla="*/ 697140 w 775426"/>
                <a:gd name="connsiteY2" fmla="*/ 170962 h 794327"/>
                <a:gd name="connsiteX3" fmla="*/ 676410 w 775426"/>
                <a:gd name="connsiteY3" fmla="*/ 165353 h 794327"/>
                <a:gd name="connsiteX4" fmla="*/ 659704 w 775426"/>
                <a:gd name="connsiteY4" fmla="*/ 154134 h 794327"/>
                <a:gd name="connsiteX5" fmla="*/ 637389 w 775426"/>
                <a:gd name="connsiteY5" fmla="*/ 156085 h 794327"/>
                <a:gd name="connsiteX6" fmla="*/ 609586 w 775426"/>
                <a:gd name="connsiteY6" fmla="*/ 149866 h 794327"/>
                <a:gd name="connsiteX7" fmla="*/ 603489 w 775426"/>
                <a:gd name="connsiteY7" fmla="*/ 148525 h 794327"/>
                <a:gd name="connsiteX8" fmla="*/ 593124 w 775426"/>
                <a:gd name="connsiteY8" fmla="*/ 150232 h 794327"/>
                <a:gd name="connsiteX9" fmla="*/ 580442 w 775426"/>
                <a:gd name="connsiteY9" fmla="*/ 160719 h 794327"/>
                <a:gd name="connsiteX10" fmla="*/ 572638 w 775426"/>
                <a:gd name="connsiteY10" fmla="*/ 150232 h 794327"/>
                <a:gd name="connsiteX11" fmla="*/ 581905 w 775426"/>
                <a:gd name="connsiteY11" fmla="*/ 135233 h 794327"/>
                <a:gd name="connsiteX12" fmla="*/ 577149 w 775426"/>
                <a:gd name="connsiteY12" fmla="*/ 130599 h 794327"/>
                <a:gd name="connsiteX13" fmla="*/ 572394 w 775426"/>
                <a:gd name="connsiteY13" fmla="*/ 125844 h 794327"/>
                <a:gd name="connsiteX14" fmla="*/ 553859 w 775426"/>
                <a:gd name="connsiteY14" fmla="*/ 126210 h 794327"/>
                <a:gd name="connsiteX15" fmla="*/ 532397 w 775426"/>
                <a:gd name="connsiteY15" fmla="*/ 114869 h 794327"/>
                <a:gd name="connsiteX16" fmla="*/ 531300 w 775426"/>
                <a:gd name="connsiteY16" fmla="*/ 114747 h 794327"/>
                <a:gd name="connsiteX17" fmla="*/ 514472 w 775426"/>
                <a:gd name="connsiteY17" fmla="*/ 113528 h 794327"/>
                <a:gd name="connsiteX18" fmla="*/ 510691 w 775426"/>
                <a:gd name="connsiteY18" fmla="*/ 121210 h 794327"/>
                <a:gd name="connsiteX19" fmla="*/ 491303 w 775426"/>
                <a:gd name="connsiteY19" fmla="*/ 137550 h 794327"/>
                <a:gd name="connsiteX20" fmla="*/ 478499 w 775426"/>
                <a:gd name="connsiteY20" fmla="*/ 137550 h 794327"/>
                <a:gd name="connsiteX21" fmla="*/ 478499 w 775426"/>
                <a:gd name="connsiteY21" fmla="*/ 128526 h 794327"/>
                <a:gd name="connsiteX22" fmla="*/ 496058 w 775426"/>
                <a:gd name="connsiteY22" fmla="*/ 119747 h 794327"/>
                <a:gd name="connsiteX23" fmla="*/ 501790 w 775426"/>
                <a:gd name="connsiteY23" fmla="*/ 108284 h 794327"/>
                <a:gd name="connsiteX24" fmla="*/ 492766 w 775426"/>
                <a:gd name="connsiteY24" fmla="*/ 104870 h 794327"/>
                <a:gd name="connsiteX25" fmla="*/ 485206 w 775426"/>
                <a:gd name="connsiteY25" fmla="*/ 103406 h 794327"/>
                <a:gd name="connsiteX26" fmla="*/ 478377 w 775426"/>
                <a:gd name="connsiteY26" fmla="*/ 96578 h 794327"/>
                <a:gd name="connsiteX27" fmla="*/ 467402 w 775426"/>
                <a:gd name="connsiteY27" fmla="*/ 97919 h 794327"/>
                <a:gd name="connsiteX28" fmla="*/ 457037 w 775426"/>
                <a:gd name="connsiteY28" fmla="*/ 91822 h 794327"/>
                <a:gd name="connsiteX29" fmla="*/ 466914 w 775426"/>
                <a:gd name="connsiteY29" fmla="*/ 84018 h 794327"/>
                <a:gd name="connsiteX30" fmla="*/ 474475 w 775426"/>
                <a:gd name="connsiteY30" fmla="*/ 80238 h 794327"/>
                <a:gd name="connsiteX31" fmla="*/ 476914 w 775426"/>
                <a:gd name="connsiteY31" fmla="*/ 66824 h 794327"/>
                <a:gd name="connsiteX32" fmla="*/ 457525 w 775426"/>
                <a:gd name="connsiteY32" fmla="*/ 50240 h 794327"/>
                <a:gd name="connsiteX33" fmla="*/ 450208 w 775426"/>
                <a:gd name="connsiteY33" fmla="*/ 29876 h 794327"/>
                <a:gd name="connsiteX34" fmla="*/ 443623 w 775426"/>
                <a:gd name="connsiteY34" fmla="*/ 15487 h 794327"/>
                <a:gd name="connsiteX35" fmla="*/ 440087 w 775426"/>
                <a:gd name="connsiteY35" fmla="*/ 28168 h 794327"/>
                <a:gd name="connsiteX36" fmla="*/ 439721 w 775426"/>
                <a:gd name="connsiteY36" fmla="*/ 29144 h 794327"/>
                <a:gd name="connsiteX37" fmla="*/ 439477 w 775426"/>
                <a:gd name="connsiteY37" fmla="*/ 29632 h 794327"/>
                <a:gd name="connsiteX38" fmla="*/ 430454 w 775426"/>
                <a:gd name="connsiteY38" fmla="*/ 48655 h 794327"/>
                <a:gd name="connsiteX39" fmla="*/ 430088 w 775426"/>
                <a:gd name="connsiteY39" fmla="*/ 49142 h 794327"/>
                <a:gd name="connsiteX40" fmla="*/ 429722 w 775426"/>
                <a:gd name="connsiteY40" fmla="*/ 49752 h 794327"/>
                <a:gd name="connsiteX41" fmla="*/ 421186 w 775426"/>
                <a:gd name="connsiteY41" fmla="*/ 60849 h 794327"/>
                <a:gd name="connsiteX42" fmla="*/ 418991 w 775426"/>
                <a:gd name="connsiteY42" fmla="*/ 63654 h 794327"/>
                <a:gd name="connsiteX43" fmla="*/ 415333 w 775426"/>
                <a:gd name="connsiteY43" fmla="*/ 63166 h 794327"/>
                <a:gd name="connsiteX44" fmla="*/ 402407 w 775426"/>
                <a:gd name="connsiteY44" fmla="*/ 61215 h 794327"/>
                <a:gd name="connsiteX45" fmla="*/ 392164 w 775426"/>
                <a:gd name="connsiteY45" fmla="*/ 59508 h 794327"/>
                <a:gd name="connsiteX46" fmla="*/ 391798 w 775426"/>
                <a:gd name="connsiteY46" fmla="*/ 59508 h 794327"/>
                <a:gd name="connsiteX47" fmla="*/ 391432 w 775426"/>
                <a:gd name="connsiteY47" fmla="*/ 59386 h 794327"/>
                <a:gd name="connsiteX48" fmla="*/ 384482 w 775426"/>
                <a:gd name="connsiteY48" fmla="*/ 57313 h 794327"/>
                <a:gd name="connsiteX49" fmla="*/ 382775 w 775426"/>
                <a:gd name="connsiteY49" fmla="*/ 56825 h 794327"/>
                <a:gd name="connsiteX50" fmla="*/ 382165 w 775426"/>
                <a:gd name="connsiteY50" fmla="*/ 56825 h 794327"/>
                <a:gd name="connsiteX51" fmla="*/ 364483 w 775426"/>
                <a:gd name="connsiteY51" fmla="*/ 57678 h 794327"/>
                <a:gd name="connsiteX52" fmla="*/ 361801 w 775426"/>
                <a:gd name="connsiteY52" fmla="*/ 57800 h 794327"/>
                <a:gd name="connsiteX53" fmla="*/ 359850 w 775426"/>
                <a:gd name="connsiteY53" fmla="*/ 55849 h 794327"/>
                <a:gd name="connsiteX54" fmla="*/ 357655 w 775426"/>
                <a:gd name="connsiteY54" fmla="*/ 53654 h 794327"/>
                <a:gd name="connsiteX55" fmla="*/ 356191 w 775426"/>
                <a:gd name="connsiteY55" fmla="*/ 53410 h 794327"/>
                <a:gd name="connsiteX56" fmla="*/ 355338 w 775426"/>
                <a:gd name="connsiteY56" fmla="*/ 54996 h 794327"/>
                <a:gd name="connsiteX57" fmla="*/ 354240 w 775426"/>
                <a:gd name="connsiteY57" fmla="*/ 57191 h 794327"/>
                <a:gd name="connsiteX58" fmla="*/ 352533 w 775426"/>
                <a:gd name="connsiteY58" fmla="*/ 60605 h 794327"/>
                <a:gd name="connsiteX59" fmla="*/ 348631 w 775426"/>
                <a:gd name="connsiteY59" fmla="*/ 60483 h 794327"/>
                <a:gd name="connsiteX60" fmla="*/ 335339 w 775426"/>
                <a:gd name="connsiteY60" fmla="*/ 60117 h 794327"/>
                <a:gd name="connsiteX61" fmla="*/ 334364 w 775426"/>
                <a:gd name="connsiteY61" fmla="*/ 62800 h 794327"/>
                <a:gd name="connsiteX62" fmla="*/ 333266 w 775426"/>
                <a:gd name="connsiteY62" fmla="*/ 65483 h 794327"/>
                <a:gd name="connsiteX63" fmla="*/ 321438 w 775426"/>
                <a:gd name="connsiteY63" fmla="*/ 69385 h 794327"/>
                <a:gd name="connsiteX64" fmla="*/ 317048 w 775426"/>
                <a:gd name="connsiteY64" fmla="*/ 75848 h 794327"/>
                <a:gd name="connsiteX65" fmla="*/ 315463 w 775426"/>
                <a:gd name="connsiteY65" fmla="*/ 78287 h 794327"/>
                <a:gd name="connsiteX66" fmla="*/ 312536 w 775426"/>
                <a:gd name="connsiteY66" fmla="*/ 78530 h 794327"/>
                <a:gd name="connsiteX67" fmla="*/ 302537 w 775426"/>
                <a:gd name="connsiteY67" fmla="*/ 79384 h 794327"/>
                <a:gd name="connsiteX68" fmla="*/ 301562 w 775426"/>
                <a:gd name="connsiteY68" fmla="*/ 79506 h 794327"/>
                <a:gd name="connsiteX69" fmla="*/ 300586 w 775426"/>
                <a:gd name="connsiteY69" fmla="*/ 79262 h 794327"/>
                <a:gd name="connsiteX70" fmla="*/ 287660 w 775426"/>
                <a:gd name="connsiteY70" fmla="*/ 75970 h 794327"/>
                <a:gd name="connsiteX71" fmla="*/ 286319 w 775426"/>
                <a:gd name="connsiteY71" fmla="*/ 75726 h 794327"/>
                <a:gd name="connsiteX72" fmla="*/ 284856 w 775426"/>
                <a:gd name="connsiteY72" fmla="*/ 75360 h 794327"/>
                <a:gd name="connsiteX73" fmla="*/ 283636 w 775426"/>
                <a:gd name="connsiteY73" fmla="*/ 74262 h 794327"/>
                <a:gd name="connsiteX74" fmla="*/ 272418 w 775426"/>
                <a:gd name="connsiteY74" fmla="*/ 63897 h 794327"/>
                <a:gd name="connsiteX75" fmla="*/ 270466 w 775426"/>
                <a:gd name="connsiteY75" fmla="*/ 62068 h 794327"/>
                <a:gd name="connsiteX76" fmla="*/ 270466 w 775426"/>
                <a:gd name="connsiteY76" fmla="*/ 38899 h 794327"/>
                <a:gd name="connsiteX77" fmla="*/ 270710 w 775426"/>
                <a:gd name="connsiteY77" fmla="*/ 38046 h 794327"/>
                <a:gd name="connsiteX78" fmla="*/ 275222 w 775426"/>
                <a:gd name="connsiteY78" fmla="*/ 23900 h 794327"/>
                <a:gd name="connsiteX79" fmla="*/ 275100 w 775426"/>
                <a:gd name="connsiteY79" fmla="*/ 22315 h 794327"/>
                <a:gd name="connsiteX80" fmla="*/ 274369 w 775426"/>
                <a:gd name="connsiteY80" fmla="*/ 11340 h 794327"/>
                <a:gd name="connsiteX81" fmla="*/ 261321 w 775426"/>
                <a:gd name="connsiteY81" fmla="*/ 732 h 794327"/>
                <a:gd name="connsiteX82" fmla="*/ 258394 w 775426"/>
                <a:gd name="connsiteY82" fmla="*/ 0 h 794327"/>
                <a:gd name="connsiteX83" fmla="*/ 254980 w 775426"/>
                <a:gd name="connsiteY83" fmla="*/ 13901 h 794327"/>
                <a:gd name="connsiteX84" fmla="*/ 254126 w 775426"/>
                <a:gd name="connsiteY84" fmla="*/ 17072 h 794327"/>
                <a:gd name="connsiteX85" fmla="*/ 251078 w 775426"/>
                <a:gd name="connsiteY85" fmla="*/ 18169 h 794327"/>
                <a:gd name="connsiteX86" fmla="*/ 247541 w 775426"/>
                <a:gd name="connsiteY86" fmla="*/ 19389 h 794327"/>
                <a:gd name="connsiteX87" fmla="*/ 221934 w 775426"/>
                <a:gd name="connsiteY87" fmla="*/ 28778 h 794327"/>
                <a:gd name="connsiteX88" fmla="*/ 219251 w 775426"/>
                <a:gd name="connsiteY88" fmla="*/ 29754 h 794327"/>
                <a:gd name="connsiteX89" fmla="*/ 216812 w 775426"/>
                <a:gd name="connsiteY89" fmla="*/ 28290 h 794327"/>
                <a:gd name="connsiteX90" fmla="*/ 195960 w 775426"/>
                <a:gd name="connsiteY90" fmla="*/ 16218 h 794327"/>
                <a:gd name="connsiteX91" fmla="*/ 187058 w 775426"/>
                <a:gd name="connsiteY91" fmla="*/ 16828 h 794327"/>
                <a:gd name="connsiteX92" fmla="*/ 186449 w 775426"/>
                <a:gd name="connsiteY92" fmla="*/ 19877 h 794327"/>
                <a:gd name="connsiteX93" fmla="*/ 186205 w 775426"/>
                <a:gd name="connsiteY93" fmla="*/ 21462 h 794327"/>
                <a:gd name="connsiteX94" fmla="*/ 189253 w 775426"/>
                <a:gd name="connsiteY94" fmla="*/ 23169 h 794327"/>
                <a:gd name="connsiteX95" fmla="*/ 192546 w 775426"/>
                <a:gd name="connsiteY95" fmla="*/ 24998 h 794327"/>
                <a:gd name="connsiteX96" fmla="*/ 192302 w 775426"/>
                <a:gd name="connsiteY96" fmla="*/ 28656 h 794327"/>
                <a:gd name="connsiteX97" fmla="*/ 191936 w 775426"/>
                <a:gd name="connsiteY97" fmla="*/ 39631 h 794327"/>
                <a:gd name="connsiteX98" fmla="*/ 191692 w 775426"/>
                <a:gd name="connsiteY98" fmla="*/ 47313 h 794327"/>
                <a:gd name="connsiteX99" fmla="*/ 199984 w 775426"/>
                <a:gd name="connsiteY99" fmla="*/ 46094 h 794327"/>
                <a:gd name="connsiteX100" fmla="*/ 203399 w 775426"/>
                <a:gd name="connsiteY100" fmla="*/ 45728 h 794327"/>
                <a:gd name="connsiteX101" fmla="*/ 205472 w 775426"/>
                <a:gd name="connsiteY101" fmla="*/ 48411 h 794327"/>
                <a:gd name="connsiteX102" fmla="*/ 206935 w 775426"/>
                <a:gd name="connsiteY102" fmla="*/ 50118 h 794327"/>
                <a:gd name="connsiteX103" fmla="*/ 207910 w 775426"/>
                <a:gd name="connsiteY103" fmla="*/ 51459 h 794327"/>
                <a:gd name="connsiteX104" fmla="*/ 209740 w 775426"/>
                <a:gd name="connsiteY104" fmla="*/ 53654 h 794327"/>
                <a:gd name="connsiteX105" fmla="*/ 209130 w 775426"/>
                <a:gd name="connsiteY105" fmla="*/ 56459 h 794327"/>
                <a:gd name="connsiteX106" fmla="*/ 207667 w 775426"/>
                <a:gd name="connsiteY106" fmla="*/ 63044 h 794327"/>
                <a:gd name="connsiteX107" fmla="*/ 207057 w 775426"/>
                <a:gd name="connsiteY107" fmla="*/ 65970 h 794327"/>
                <a:gd name="connsiteX108" fmla="*/ 204374 w 775426"/>
                <a:gd name="connsiteY108" fmla="*/ 67190 h 794327"/>
                <a:gd name="connsiteX109" fmla="*/ 167548 w 775426"/>
                <a:gd name="connsiteY109" fmla="*/ 84628 h 794327"/>
                <a:gd name="connsiteX110" fmla="*/ 167182 w 775426"/>
                <a:gd name="connsiteY110" fmla="*/ 84871 h 794327"/>
                <a:gd name="connsiteX111" fmla="*/ 166816 w 775426"/>
                <a:gd name="connsiteY111" fmla="*/ 84993 h 794327"/>
                <a:gd name="connsiteX112" fmla="*/ 152549 w 775426"/>
                <a:gd name="connsiteY112" fmla="*/ 89383 h 794327"/>
                <a:gd name="connsiteX113" fmla="*/ 150354 w 775426"/>
                <a:gd name="connsiteY113" fmla="*/ 90115 h 794327"/>
                <a:gd name="connsiteX114" fmla="*/ 148281 w 775426"/>
                <a:gd name="connsiteY114" fmla="*/ 89139 h 794327"/>
                <a:gd name="connsiteX115" fmla="*/ 133282 w 775426"/>
                <a:gd name="connsiteY115" fmla="*/ 82432 h 794327"/>
                <a:gd name="connsiteX116" fmla="*/ 131331 w 775426"/>
                <a:gd name="connsiteY116" fmla="*/ 81579 h 794327"/>
                <a:gd name="connsiteX117" fmla="*/ 130112 w 775426"/>
                <a:gd name="connsiteY117" fmla="*/ 80969 h 794327"/>
                <a:gd name="connsiteX118" fmla="*/ 127551 w 775426"/>
                <a:gd name="connsiteY118" fmla="*/ 79994 h 794327"/>
                <a:gd name="connsiteX119" fmla="*/ 118405 w 775426"/>
                <a:gd name="connsiteY119" fmla="*/ 76457 h 794327"/>
                <a:gd name="connsiteX120" fmla="*/ 117308 w 775426"/>
                <a:gd name="connsiteY120" fmla="*/ 76092 h 794327"/>
                <a:gd name="connsiteX121" fmla="*/ 116454 w 775426"/>
                <a:gd name="connsiteY121" fmla="*/ 75238 h 794327"/>
                <a:gd name="connsiteX122" fmla="*/ 105723 w 775426"/>
                <a:gd name="connsiteY122" fmla="*/ 65483 h 794327"/>
                <a:gd name="connsiteX123" fmla="*/ 77067 w 775426"/>
                <a:gd name="connsiteY123" fmla="*/ 68775 h 794327"/>
                <a:gd name="connsiteX124" fmla="*/ 76701 w 775426"/>
                <a:gd name="connsiteY124" fmla="*/ 70238 h 794327"/>
                <a:gd name="connsiteX125" fmla="*/ 88286 w 775426"/>
                <a:gd name="connsiteY125" fmla="*/ 79628 h 794327"/>
                <a:gd name="connsiteX126" fmla="*/ 92554 w 775426"/>
                <a:gd name="connsiteY126" fmla="*/ 83164 h 794327"/>
                <a:gd name="connsiteX127" fmla="*/ 89505 w 775426"/>
                <a:gd name="connsiteY127" fmla="*/ 87798 h 794327"/>
                <a:gd name="connsiteX128" fmla="*/ 85603 w 775426"/>
                <a:gd name="connsiteY128" fmla="*/ 93651 h 794327"/>
                <a:gd name="connsiteX129" fmla="*/ 83530 w 775426"/>
                <a:gd name="connsiteY129" fmla="*/ 96700 h 794327"/>
                <a:gd name="connsiteX130" fmla="*/ 79872 w 775426"/>
                <a:gd name="connsiteY130" fmla="*/ 96334 h 794327"/>
                <a:gd name="connsiteX131" fmla="*/ 77677 w 775426"/>
                <a:gd name="connsiteY131" fmla="*/ 96090 h 794327"/>
                <a:gd name="connsiteX132" fmla="*/ 79628 w 775426"/>
                <a:gd name="connsiteY132" fmla="*/ 111211 h 794327"/>
                <a:gd name="connsiteX133" fmla="*/ 85237 w 775426"/>
                <a:gd name="connsiteY133" fmla="*/ 116088 h 794327"/>
                <a:gd name="connsiteX134" fmla="*/ 87798 w 775426"/>
                <a:gd name="connsiteY134" fmla="*/ 118405 h 794327"/>
                <a:gd name="connsiteX135" fmla="*/ 87188 w 775426"/>
                <a:gd name="connsiteY135" fmla="*/ 121820 h 794327"/>
                <a:gd name="connsiteX136" fmla="*/ 78286 w 775426"/>
                <a:gd name="connsiteY136" fmla="*/ 169865 h 794327"/>
                <a:gd name="connsiteX137" fmla="*/ 78043 w 775426"/>
                <a:gd name="connsiteY137" fmla="*/ 171328 h 794327"/>
                <a:gd name="connsiteX138" fmla="*/ 77799 w 775426"/>
                <a:gd name="connsiteY138" fmla="*/ 173523 h 794327"/>
                <a:gd name="connsiteX139" fmla="*/ 77189 w 775426"/>
                <a:gd name="connsiteY139" fmla="*/ 181937 h 794327"/>
                <a:gd name="connsiteX140" fmla="*/ 76823 w 775426"/>
                <a:gd name="connsiteY140" fmla="*/ 186327 h 794327"/>
                <a:gd name="connsiteX141" fmla="*/ 72555 w 775426"/>
                <a:gd name="connsiteY141" fmla="*/ 187424 h 794327"/>
                <a:gd name="connsiteX142" fmla="*/ 69263 w 775426"/>
                <a:gd name="connsiteY142" fmla="*/ 188156 h 794327"/>
                <a:gd name="connsiteX143" fmla="*/ 60361 w 775426"/>
                <a:gd name="connsiteY143" fmla="*/ 190351 h 794327"/>
                <a:gd name="connsiteX144" fmla="*/ 53288 w 775426"/>
                <a:gd name="connsiteY144" fmla="*/ 192302 h 794327"/>
                <a:gd name="connsiteX145" fmla="*/ 35119 w 775426"/>
                <a:gd name="connsiteY145" fmla="*/ 197301 h 794327"/>
                <a:gd name="connsiteX146" fmla="*/ 8048 w 775426"/>
                <a:gd name="connsiteY146" fmla="*/ 212300 h 794327"/>
                <a:gd name="connsiteX147" fmla="*/ 7560 w 775426"/>
                <a:gd name="connsiteY147" fmla="*/ 212666 h 794327"/>
                <a:gd name="connsiteX148" fmla="*/ 9755 w 775426"/>
                <a:gd name="connsiteY148" fmla="*/ 225226 h 794327"/>
                <a:gd name="connsiteX149" fmla="*/ 10121 w 775426"/>
                <a:gd name="connsiteY149" fmla="*/ 227421 h 794327"/>
                <a:gd name="connsiteX150" fmla="*/ 8902 w 775426"/>
                <a:gd name="connsiteY150" fmla="*/ 229372 h 794327"/>
                <a:gd name="connsiteX151" fmla="*/ 0 w 775426"/>
                <a:gd name="connsiteY151" fmla="*/ 244005 h 794327"/>
                <a:gd name="connsiteX152" fmla="*/ 10365 w 775426"/>
                <a:gd name="connsiteY152" fmla="*/ 267296 h 794327"/>
                <a:gd name="connsiteX153" fmla="*/ 10731 w 775426"/>
                <a:gd name="connsiteY153" fmla="*/ 268028 h 794327"/>
                <a:gd name="connsiteX154" fmla="*/ 10853 w 775426"/>
                <a:gd name="connsiteY154" fmla="*/ 268759 h 794327"/>
                <a:gd name="connsiteX155" fmla="*/ 10975 w 775426"/>
                <a:gd name="connsiteY155" fmla="*/ 269735 h 794327"/>
                <a:gd name="connsiteX156" fmla="*/ 12560 w 775426"/>
                <a:gd name="connsiteY156" fmla="*/ 278637 h 794327"/>
                <a:gd name="connsiteX157" fmla="*/ 20852 w 775426"/>
                <a:gd name="connsiteY157" fmla="*/ 287660 h 794327"/>
                <a:gd name="connsiteX158" fmla="*/ 21706 w 775426"/>
                <a:gd name="connsiteY158" fmla="*/ 288758 h 794327"/>
                <a:gd name="connsiteX159" fmla="*/ 55727 w 775426"/>
                <a:gd name="connsiteY159" fmla="*/ 286075 h 794327"/>
                <a:gd name="connsiteX160" fmla="*/ 58532 w 775426"/>
                <a:gd name="connsiteY160" fmla="*/ 285831 h 794327"/>
                <a:gd name="connsiteX161" fmla="*/ 60483 w 775426"/>
                <a:gd name="connsiteY161" fmla="*/ 287782 h 794327"/>
                <a:gd name="connsiteX162" fmla="*/ 62800 w 775426"/>
                <a:gd name="connsiteY162" fmla="*/ 290099 h 794327"/>
                <a:gd name="connsiteX163" fmla="*/ 64019 w 775426"/>
                <a:gd name="connsiteY163" fmla="*/ 291319 h 794327"/>
                <a:gd name="connsiteX164" fmla="*/ 65604 w 775426"/>
                <a:gd name="connsiteY164" fmla="*/ 292904 h 794327"/>
                <a:gd name="connsiteX165" fmla="*/ 65727 w 775426"/>
                <a:gd name="connsiteY165" fmla="*/ 295221 h 794327"/>
                <a:gd name="connsiteX166" fmla="*/ 67312 w 775426"/>
                <a:gd name="connsiteY166" fmla="*/ 314244 h 794327"/>
                <a:gd name="connsiteX167" fmla="*/ 67434 w 775426"/>
                <a:gd name="connsiteY167" fmla="*/ 315341 h 794327"/>
                <a:gd name="connsiteX168" fmla="*/ 81945 w 775426"/>
                <a:gd name="connsiteY168" fmla="*/ 319975 h 794327"/>
                <a:gd name="connsiteX169" fmla="*/ 84505 w 775426"/>
                <a:gd name="connsiteY169" fmla="*/ 319487 h 794327"/>
                <a:gd name="connsiteX170" fmla="*/ 115966 w 775426"/>
                <a:gd name="connsiteY170" fmla="*/ 314731 h 794327"/>
                <a:gd name="connsiteX171" fmla="*/ 124990 w 775426"/>
                <a:gd name="connsiteY171" fmla="*/ 298635 h 794327"/>
                <a:gd name="connsiteX172" fmla="*/ 126209 w 775426"/>
                <a:gd name="connsiteY172" fmla="*/ 296562 h 794327"/>
                <a:gd name="connsiteX173" fmla="*/ 128405 w 775426"/>
                <a:gd name="connsiteY173" fmla="*/ 295830 h 794327"/>
                <a:gd name="connsiteX174" fmla="*/ 149378 w 775426"/>
                <a:gd name="connsiteY174" fmla="*/ 289367 h 794327"/>
                <a:gd name="connsiteX175" fmla="*/ 152183 w 775426"/>
                <a:gd name="connsiteY175" fmla="*/ 288514 h 794327"/>
                <a:gd name="connsiteX176" fmla="*/ 154500 w 775426"/>
                <a:gd name="connsiteY176" fmla="*/ 289977 h 794327"/>
                <a:gd name="connsiteX177" fmla="*/ 160231 w 775426"/>
                <a:gd name="connsiteY177" fmla="*/ 293635 h 794327"/>
                <a:gd name="connsiteX178" fmla="*/ 168889 w 775426"/>
                <a:gd name="connsiteY178" fmla="*/ 299245 h 794327"/>
                <a:gd name="connsiteX179" fmla="*/ 171450 w 775426"/>
                <a:gd name="connsiteY179" fmla="*/ 300952 h 794327"/>
                <a:gd name="connsiteX180" fmla="*/ 171694 w 775426"/>
                <a:gd name="connsiteY180" fmla="*/ 304122 h 794327"/>
                <a:gd name="connsiteX181" fmla="*/ 173401 w 775426"/>
                <a:gd name="connsiteY181" fmla="*/ 333876 h 794327"/>
                <a:gd name="connsiteX182" fmla="*/ 181205 w 775426"/>
                <a:gd name="connsiteY182" fmla="*/ 338144 h 794327"/>
                <a:gd name="connsiteX183" fmla="*/ 185961 w 775426"/>
                <a:gd name="connsiteY183" fmla="*/ 338754 h 794327"/>
                <a:gd name="connsiteX184" fmla="*/ 194253 w 775426"/>
                <a:gd name="connsiteY184" fmla="*/ 339851 h 794327"/>
                <a:gd name="connsiteX185" fmla="*/ 195472 w 775426"/>
                <a:gd name="connsiteY185" fmla="*/ 339973 h 794327"/>
                <a:gd name="connsiteX186" fmla="*/ 196448 w 775426"/>
                <a:gd name="connsiteY186" fmla="*/ 340583 h 794327"/>
                <a:gd name="connsiteX187" fmla="*/ 236201 w 775426"/>
                <a:gd name="connsiteY187" fmla="*/ 363630 h 794327"/>
                <a:gd name="connsiteX188" fmla="*/ 253760 w 775426"/>
                <a:gd name="connsiteY188" fmla="*/ 367044 h 794327"/>
                <a:gd name="connsiteX189" fmla="*/ 258394 w 775426"/>
                <a:gd name="connsiteY189" fmla="*/ 367898 h 794327"/>
                <a:gd name="connsiteX190" fmla="*/ 258638 w 775426"/>
                <a:gd name="connsiteY190" fmla="*/ 372775 h 794327"/>
                <a:gd name="connsiteX191" fmla="*/ 260345 w 775426"/>
                <a:gd name="connsiteY191" fmla="*/ 416065 h 794327"/>
                <a:gd name="connsiteX192" fmla="*/ 298879 w 775426"/>
                <a:gd name="connsiteY192" fmla="*/ 421918 h 794327"/>
                <a:gd name="connsiteX193" fmla="*/ 303756 w 775426"/>
                <a:gd name="connsiteY193" fmla="*/ 422650 h 794327"/>
                <a:gd name="connsiteX194" fmla="*/ 304122 w 775426"/>
                <a:gd name="connsiteY194" fmla="*/ 427527 h 794327"/>
                <a:gd name="connsiteX195" fmla="*/ 304732 w 775426"/>
                <a:gd name="connsiteY195" fmla="*/ 439722 h 794327"/>
                <a:gd name="connsiteX196" fmla="*/ 304854 w 775426"/>
                <a:gd name="connsiteY196" fmla="*/ 439722 h 794327"/>
                <a:gd name="connsiteX197" fmla="*/ 304854 w 775426"/>
                <a:gd name="connsiteY197" fmla="*/ 439722 h 794327"/>
                <a:gd name="connsiteX198" fmla="*/ 308146 w 775426"/>
                <a:gd name="connsiteY198" fmla="*/ 441551 h 794327"/>
                <a:gd name="connsiteX199" fmla="*/ 310097 w 775426"/>
                <a:gd name="connsiteY199" fmla="*/ 442648 h 794327"/>
                <a:gd name="connsiteX200" fmla="*/ 313756 w 775426"/>
                <a:gd name="connsiteY200" fmla="*/ 444721 h 794327"/>
                <a:gd name="connsiteX201" fmla="*/ 313268 w 775426"/>
                <a:gd name="connsiteY201" fmla="*/ 448745 h 794327"/>
                <a:gd name="connsiteX202" fmla="*/ 311683 w 775426"/>
                <a:gd name="connsiteY202" fmla="*/ 461915 h 794327"/>
                <a:gd name="connsiteX203" fmla="*/ 315341 w 775426"/>
                <a:gd name="connsiteY203" fmla="*/ 467158 h 794327"/>
                <a:gd name="connsiteX204" fmla="*/ 318877 w 775426"/>
                <a:gd name="connsiteY204" fmla="*/ 472402 h 794327"/>
                <a:gd name="connsiteX205" fmla="*/ 320097 w 775426"/>
                <a:gd name="connsiteY205" fmla="*/ 473987 h 794327"/>
                <a:gd name="connsiteX206" fmla="*/ 319975 w 775426"/>
                <a:gd name="connsiteY206" fmla="*/ 476060 h 794327"/>
                <a:gd name="connsiteX207" fmla="*/ 319243 w 775426"/>
                <a:gd name="connsiteY207" fmla="*/ 497644 h 794327"/>
                <a:gd name="connsiteX208" fmla="*/ 319121 w 775426"/>
                <a:gd name="connsiteY208" fmla="*/ 501668 h 794327"/>
                <a:gd name="connsiteX209" fmla="*/ 319121 w 775426"/>
                <a:gd name="connsiteY209" fmla="*/ 502399 h 794327"/>
                <a:gd name="connsiteX210" fmla="*/ 321804 w 775426"/>
                <a:gd name="connsiteY210" fmla="*/ 547274 h 794327"/>
                <a:gd name="connsiteX211" fmla="*/ 334608 w 775426"/>
                <a:gd name="connsiteY211" fmla="*/ 553737 h 794327"/>
                <a:gd name="connsiteX212" fmla="*/ 359850 w 775426"/>
                <a:gd name="connsiteY212" fmla="*/ 564590 h 794327"/>
                <a:gd name="connsiteX213" fmla="*/ 363386 w 775426"/>
                <a:gd name="connsiteY213" fmla="*/ 566053 h 794327"/>
                <a:gd name="connsiteX214" fmla="*/ 363630 w 775426"/>
                <a:gd name="connsiteY214" fmla="*/ 569955 h 794327"/>
                <a:gd name="connsiteX215" fmla="*/ 363996 w 775426"/>
                <a:gd name="connsiteY215" fmla="*/ 578247 h 794327"/>
                <a:gd name="connsiteX216" fmla="*/ 364240 w 775426"/>
                <a:gd name="connsiteY216" fmla="*/ 582759 h 794327"/>
                <a:gd name="connsiteX217" fmla="*/ 366069 w 775426"/>
                <a:gd name="connsiteY217" fmla="*/ 582027 h 794327"/>
                <a:gd name="connsiteX218" fmla="*/ 369483 w 775426"/>
                <a:gd name="connsiteY218" fmla="*/ 580564 h 794327"/>
                <a:gd name="connsiteX219" fmla="*/ 371800 w 775426"/>
                <a:gd name="connsiteY219" fmla="*/ 579589 h 794327"/>
                <a:gd name="connsiteX220" fmla="*/ 374117 w 775426"/>
                <a:gd name="connsiteY220" fmla="*/ 580442 h 794327"/>
                <a:gd name="connsiteX221" fmla="*/ 379848 w 775426"/>
                <a:gd name="connsiteY221" fmla="*/ 582759 h 794327"/>
                <a:gd name="connsiteX222" fmla="*/ 384360 w 775426"/>
                <a:gd name="connsiteY222" fmla="*/ 584466 h 794327"/>
                <a:gd name="connsiteX223" fmla="*/ 388018 w 775426"/>
                <a:gd name="connsiteY223" fmla="*/ 585808 h 794327"/>
                <a:gd name="connsiteX224" fmla="*/ 388140 w 775426"/>
                <a:gd name="connsiteY224" fmla="*/ 589832 h 794327"/>
                <a:gd name="connsiteX225" fmla="*/ 388994 w 775426"/>
                <a:gd name="connsiteY225" fmla="*/ 604831 h 794327"/>
                <a:gd name="connsiteX226" fmla="*/ 389116 w 775426"/>
                <a:gd name="connsiteY226" fmla="*/ 606538 h 794327"/>
                <a:gd name="connsiteX227" fmla="*/ 388262 w 775426"/>
                <a:gd name="connsiteY227" fmla="*/ 608123 h 794327"/>
                <a:gd name="connsiteX228" fmla="*/ 387530 w 775426"/>
                <a:gd name="connsiteY228" fmla="*/ 609464 h 794327"/>
                <a:gd name="connsiteX229" fmla="*/ 384238 w 775426"/>
                <a:gd name="connsiteY229" fmla="*/ 615439 h 794327"/>
                <a:gd name="connsiteX230" fmla="*/ 383262 w 775426"/>
                <a:gd name="connsiteY230" fmla="*/ 621658 h 794327"/>
                <a:gd name="connsiteX231" fmla="*/ 383018 w 775426"/>
                <a:gd name="connsiteY231" fmla="*/ 623853 h 794327"/>
                <a:gd name="connsiteX232" fmla="*/ 386189 w 775426"/>
                <a:gd name="connsiteY232" fmla="*/ 624219 h 794327"/>
                <a:gd name="connsiteX233" fmla="*/ 389725 w 775426"/>
                <a:gd name="connsiteY233" fmla="*/ 624585 h 794327"/>
                <a:gd name="connsiteX234" fmla="*/ 391067 w 775426"/>
                <a:gd name="connsiteY234" fmla="*/ 627755 h 794327"/>
                <a:gd name="connsiteX235" fmla="*/ 400456 w 775426"/>
                <a:gd name="connsiteY235" fmla="*/ 648242 h 794327"/>
                <a:gd name="connsiteX236" fmla="*/ 401919 w 775426"/>
                <a:gd name="connsiteY236" fmla="*/ 651290 h 794327"/>
                <a:gd name="connsiteX237" fmla="*/ 400090 w 775426"/>
                <a:gd name="connsiteY237" fmla="*/ 654217 h 794327"/>
                <a:gd name="connsiteX238" fmla="*/ 397042 w 775426"/>
                <a:gd name="connsiteY238" fmla="*/ 658607 h 794327"/>
                <a:gd name="connsiteX239" fmla="*/ 396676 w 775426"/>
                <a:gd name="connsiteY239" fmla="*/ 659338 h 794327"/>
                <a:gd name="connsiteX240" fmla="*/ 396066 w 775426"/>
                <a:gd name="connsiteY240" fmla="*/ 659826 h 794327"/>
                <a:gd name="connsiteX241" fmla="*/ 371556 w 775426"/>
                <a:gd name="connsiteY241" fmla="*/ 681410 h 794327"/>
                <a:gd name="connsiteX242" fmla="*/ 367166 w 775426"/>
                <a:gd name="connsiteY242" fmla="*/ 685190 h 794327"/>
                <a:gd name="connsiteX243" fmla="*/ 358630 w 775426"/>
                <a:gd name="connsiteY243" fmla="*/ 692506 h 794327"/>
                <a:gd name="connsiteX244" fmla="*/ 342046 w 775426"/>
                <a:gd name="connsiteY244" fmla="*/ 709091 h 794327"/>
                <a:gd name="connsiteX245" fmla="*/ 339607 w 775426"/>
                <a:gd name="connsiteY245" fmla="*/ 713968 h 794327"/>
                <a:gd name="connsiteX246" fmla="*/ 339241 w 775426"/>
                <a:gd name="connsiteY246" fmla="*/ 714700 h 794327"/>
                <a:gd name="connsiteX247" fmla="*/ 338632 w 775426"/>
                <a:gd name="connsiteY247" fmla="*/ 715310 h 794327"/>
                <a:gd name="connsiteX248" fmla="*/ 333632 w 775426"/>
                <a:gd name="connsiteY248" fmla="*/ 720675 h 794327"/>
                <a:gd name="connsiteX249" fmla="*/ 329120 w 775426"/>
                <a:gd name="connsiteY249" fmla="*/ 725553 h 794327"/>
                <a:gd name="connsiteX250" fmla="*/ 334364 w 775426"/>
                <a:gd name="connsiteY250" fmla="*/ 728479 h 794327"/>
                <a:gd name="connsiteX251" fmla="*/ 336071 w 775426"/>
                <a:gd name="connsiteY251" fmla="*/ 729455 h 794327"/>
                <a:gd name="connsiteX252" fmla="*/ 336925 w 775426"/>
                <a:gd name="connsiteY252" fmla="*/ 731284 h 794327"/>
                <a:gd name="connsiteX253" fmla="*/ 340461 w 775426"/>
                <a:gd name="connsiteY253" fmla="*/ 738844 h 794327"/>
                <a:gd name="connsiteX254" fmla="*/ 341437 w 775426"/>
                <a:gd name="connsiteY254" fmla="*/ 740795 h 794327"/>
                <a:gd name="connsiteX255" fmla="*/ 364361 w 775426"/>
                <a:gd name="connsiteY255" fmla="*/ 743356 h 794327"/>
                <a:gd name="connsiteX256" fmla="*/ 365459 w 775426"/>
                <a:gd name="connsiteY256" fmla="*/ 743478 h 794327"/>
                <a:gd name="connsiteX257" fmla="*/ 366434 w 775426"/>
                <a:gd name="connsiteY257" fmla="*/ 743966 h 794327"/>
                <a:gd name="connsiteX258" fmla="*/ 372897 w 775426"/>
                <a:gd name="connsiteY258" fmla="*/ 747258 h 794327"/>
                <a:gd name="connsiteX259" fmla="*/ 374970 w 775426"/>
                <a:gd name="connsiteY259" fmla="*/ 748234 h 794327"/>
                <a:gd name="connsiteX260" fmla="*/ 375824 w 775426"/>
                <a:gd name="connsiteY260" fmla="*/ 750307 h 794327"/>
                <a:gd name="connsiteX261" fmla="*/ 377775 w 775426"/>
                <a:gd name="connsiteY261" fmla="*/ 755063 h 794327"/>
                <a:gd name="connsiteX262" fmla="*/ 379604 w 775426"/>
                <a:gd name="connsiteY262" fmla="*/ 759452 h 794327"/>
                <a:gd name="connsiteX263" fmla="*/ 390823 w 775426"/>
                <a:gd name="connsiteY263" fmla="*/ 764208 h 794327"/>
                <a:gd name="connsiteX264" fmla="*/ 392530 w 775426"/>
                <a:gd name="connsiteY264" fmla="*/ 764940 h 794327"/>
                <a:gd name="connsiteX265" fmla="*/ 393505 w 775426"/>
                <a:gd name="connsiteY265" fmla="*/ 766525 h 794327"/>
                <a:gd name="connsiteX266" fmla="*/ 399359 w 775426"/>
                <a:gd name="connsiteY266" fmla="*/ 775671 h 794327"/>
                <a:gd name="connsiteX267" fmla="*/ 411675 w 775426"/>
                <a:gd name="connsiteY267" fmla="*/ 786401 h 794327"/>
                <a:gd name="connsiteX268" fmla="*/ 413382 w 775426"/>
                <a:gd name="connsiteY268" fmla="*/ 787865 h 794327"/>
                <a:gd name="connsiteX269" fmla="*/ 413748 w 775426"/>
                <a:gd name="connsiteY269" fmla="*/ 789938 h 794327"/>
                <a:gd name="connsiteX270" fmla="*/ 414479 w 775426"/>
                <a:gd name="connsiteY270" fmla="*/ 794328 h 794327"/>
                <a:gd name="connsiteX271" fmla="*/ 430210 w 775426"/>
                <a:gd name="connsiteY271" fmla="*/ 778597 h 794327"/>
                <a:gd name="connsiteX272" fmla="*/ 430210 w 775426"/>
                <a:gd name="connsiteY272" fmla="*/ 773598 h 794327"/>
                <a:gd name="connsiteX273" fmla="*/ 424113 w 775426"/>
                <a:gd name="connsiteY273" fmla="*/ 764330 h 794327"/>
                <a:gd name="connsiteX274" fmla="*/ 424113 w 775426"/>
                <a:gd name="connsiteY274" fmla="*/ 764330 h 794327"/>
                <a:gd name="connsiteX275" fmla="*/ 433380 w 775426"/>
                <a:gd name="connsiteY275" fmla="*/ 751038 h 794327"/>
                <a:gd name="connsiteX276" fmla="*/ 438380 w 775426"/>
                <a:gd name="connsiteY276" fmla="*/ 741161 h 794327"/>
                <a:gd name="connsiteX277" fmla="*/ 454720 w 775426"/>
                <a:gd name="connsiteY277" fmla="*/ 723845 h 794327"/>
                <a:gd name="connsiteX278" fmla="*/ 462524 w 775426"/>
                <a:gd name="connsiteY278" fmla="*/ 728601 h 794327"/>
                <a:gd name="connsiteX279" fmla="*/ 454233 w 775426"/>
                <a:gd name="connsiteY279" fmla="*/ 744332 h 794327"/>
                <a:gd name="connsiteX280" fmla="*/ 452769 w 775426"/>
                <a:gd name="connsiteY280" fmla="*/ 750795 h 794327"/>
                <a:gd name="connsiteX281" fmla="*/ 466305 w 775426"/>
                <a:gd name="connsiteY281" fmla="*/ 725796 h 794327"/>
                <a:gd name="connsiteX282" fmla="*/ 470207 w 775426"/>
                <a:gd name="connsiteY282" fmla="*/ 712139 h 794327"/>
                <a:gd name="connsiteX283" fmla="*/ 476304 w 775426"/>
                <a:gd name="connsiteY283" fmla="*/ 699945 h 794327"/>
                <a:gd name="connsiteX284" fmla="*/ 485815 w 775426"/>
                <a:gd name="connsiteY284" fmla="*/ 697750 h 794327"/>
                <a:gd name="connsiteX285" fmla="*/ 500570 w 775426"/>
                <a:gd name="connsiteY285" fmla="*/ 680312 h 794327"/>
                <a:gd name="connsiteX286" fmla="*/ 503253 w 775426"/>
                <a:gd name="connsiteY286" fmla="*/ 659460 h 794327"/>
                <a:gd name="connsiteX287" fmla="*/ 499717 w 775426"/>
                <a:gd name="connsiteY287" fmla="*/ 648120 h 794327"/>
                <a:gd name="connsiteX288" fmla="*/ 499717 w 775426"/>
                <a:gd name="connsiteY288" fmla="*/ 648120 h 794327"/>
                <a:gd name="connsiteX289" fmla="*/ 503497 w 775426"/>
                <a:gd name="connsiteY289" fmla="*/ 620927 h 794327"/>
                <a:gd name="connsiteX290" fmla="*/ 514837 w 775426"/>
                <a:gd name="connsiteY290" fmla="*/ 616415 h 794327"/>
                <a:gd name="connsiteX291" fmla="*/ 523983 w 775426"/>
                <a:gd name="connsiteY291" fmla="*/ 606416 h 794327"/>
                <a:gd name="connsiteX292" fmla="*/ 528983 w 775426"/>
                <a:gd name="connsiteY292" fmla="*/ 604587 h 794327"/>
                <a:gd name="connsiteX293" fmla="*/ 529592 w 775426"/>
                <a:gd name="connsiteY293" fmla="*/ 599343 h 794327"/>
                <a:gd name="connsiteX294" fmla="*/ 547274 w 775426"/>
                <a:gd name="connsiteY294" fmla="*/ 584710 h 794327"/>
                <a:gd name="connsiteX295" fmla="*/ 561907 w 775426"/>
                <a:gd name="connsiteY295" fmla="*/ 580564 h 794327"/>
                <a:gd name="connsiteX296" fmla="*/ 569345 w 775426"/>
                <a:gd name="connsiteY296" fmla="*/ 577516 h 794327"/>
                <a:gd name="connsiteX297" fmla="*/ 578857 w 775426"/>
                <a:gd name="connsiteY297" fmla="*/ 572150 h 794327"/>
                <a:gd name="connsiteX298" fmla="*/ 593246 w 775426"/>
                <a:gd name="connsiteY298" fmla="*/ 572150 h 794327"/>
                <a:gd name="connsiteX299" fmla="*/ 606172 w 775426"/>
                <a:gd name="connsiteY299" fmla="*/ 570809 h 794327"/>
                <a:gd name="connsiteX300" fmla="*/ 615073 w 775426"/>
                <a:gd name="connsiteY300" fmla="*/ 565565 h 794327"/>
                <a:gd name="connsiteX301" fmla="*/ 624463 w 775426"/>
                <a:gd name="connsiteY301" fmla="*/ 568492 h 794327"/>
                <a:gd name="connsiteX302" fmla="*/ 635560 w 775426"/>
                <a:gd name="connsiteY302" fmla="*/ 564712 h 794327"/>
                <a:gd name="connsiteX303" fmla="*/ 638486 w 775426"/>
                <a:gd name="connsiteY303" fmla="*/ 554834 h 794327"/>
                <a:gd name="connsiteX304" fmla="*/ 652388 w 775426"/>
                <a:gd name="connsiteY304" fmla="*/ 550688 h 794327"/>
                <a:gd name="connsiteX305" fmla="*/ 654339 w 775426"/>
                <a:gd name="connsiteY305" fmla="*/ 528861 h 794327"/>
                <a:gd name="connsiteX306" fmla="*/ 665801 w 775426"/>
                <a:gd name="connsiteY306" fmla="*/ 512277 h 794327"/>
                <a:gd name="connsiteX307" fmla="*/ 667630 w 775426"/>
                <a:gd name="connsiteY307" fmla="*/ 498741 h 794327"/>
                <a:gd name="connsiteX308" fmla="*/ 673362 w 775426"/>
                <a:gd name="connsiteY308" fmla="*/ 493132 h 794327"/>
                <a:gd name="connsiteX309" fmla="*/ 675191 w 775426"/>
                <a:gd name="connsiteY309" fmla="*/ 480572 h 794327"/>
                <a:gd name="connsiteX310" fmla="*/ 679093 w 775426"/>
                <a:gd name="connsiteY310" fmla="*/ 456793 h 794327"/>
                <a:gd name="connsiteX311" fmla="*/ 693848 w 775426"/>
                <a:gd name="connsiteY311" fmla="*/ 449477 h 794327"/>
                <a:gd name="connsiteX312" fmla="*/ 690189 w 775426"/>
                <a:gd name="connsiteY312" fmla="*/ 427771 h 794327"/>
                <a:gd name="connsiteX313" fmla="*/ 695799 w 775426"/>
                <a:gd name="connsiteY313" fmla="*/ 410943 h 794327"/>
                <a:gd name="connsiteX314" fmla="*/ 690189 w 775426"/>
                <a:gd name="connsiteY314" fmla="*/ 396066 h 794327"/>
                <a:gd name="connsiteX315" fmla="*/ 694092 w 775426"/>
                <a:gd name="connsiteY315" fmla="*/ 363020 h 794327"/>
                <a:gd name="connsiteX316" fmla="*/ 698482 w 775426"/>
                <a:gd name="connsiteY316" fmla="*/ 356435 h 794327"/>
                <a:gd name="connsiteX317" fmla="*/ 719212 w 775426"/>
                <a:gd name="connsiteY317" fmla="*/ 345095 h 794327"/>
                <a:gd name="connsiteX318" fmla="*/ 726406 w 775426"/>
                <a:gd name="connsiteY318" fmla="*/ 332657 h 794327"/>
                <a:gd name="connsiteX319" fmla="*/ 732259 w 775426"/>
                <a:gd name="connsiteY319" fmla="*/ 315097 h 794327"/>
                <a:gd name="connsiteX320" fmla="*/ 738966 w 775426"/>
                <a:gd name="connsiteY320" fmla="*/ 310707 h 794327"/>
                <a:gd name="connsiteX321" fmla="*/ 753355 w 775426"/>
                <a:gd name="connsiteY321" fmla="*/ 305220 h 794327"/>
                <a:gd name="connsiteX322" fmla="*/ 758599 w 775426"/>
                <a:gd name="connsiteY322" fmla="*/ 296440 h 794327"/>
                <a:gd name="connsiteX323" fmla="*/ 764452 w 775426"/>
                <a:gd name="connsiteY323" fmla="*/ 284978 h 794327"/>
                <a:gd name="connsiteX324" fmla="*/ 775427 w 775426"/>
                <a:gd name="connsiteY324" fmla="*/ 270345 h 794327"/>
                <a:gd name="connsiteX325" fmla="*/ 775427 w 775426"/>
                <a:gd name="connsiteY325" fmla="*/ 220348 h 794327"/>
                <a:gd name="connsiteX326" fmla="*/ 770183 w 775426"/>
                <a:gd name="connsiteY326" fmla="*/ 204740 h 794327"/>
                <a:gd name="connsiteX327" fmla="*/ 736161 w 775426"/>
                <a:gd name="connsiteY327" fmla="*/ 195960 h 79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</a:cxnLst>
              <a:rect l="l" t="t" r="r" b="b"/>
              <a:pathLst>
                <a:path w="775426" h="794327">
                  <a:moveTo>
                    <a:pt x="736161" y="195960"/>
                  </a:moveTo>
                  <a:lnTo>
                    <a:pt x="727382" y="193643"/>
                  </a:lnTo>
                  <a:lnTo>
                    <a:pt x="697140" y="170962"/>
                  </a:lnTo>
                  <a:lnTo>
                    <a:pt x="676410" y="165353"/>
                  </a:lnTo>
                  <a:lnTo>
                    <a:pt x="659704" y="154134"/>
                  </a:lnTo>
                  <a:lnTo>
                    <a:pt x="637389" y="156085"/>
                  </a:lnTo>
                  <a:lnTo>
                    <a:pt x="609586" y="149866"/>
                  </a:lnTo>
                  <a:lnTo>
                    <a:pt x="603489" y="148525"/>
                  </a:lnTo>
                  <a:lnTo>
                    <a:pt x="593124" y="150232"/>
                  </a:lnTo>
                  <a:lnTo>
                    <a:pt x="580442" y="160719"/>
                  </a:lnTo>
                  <a:lnTo>
                    <a:pt x="572638" y="150232"/>
                  </a:lnTo>
                  <a:lnTo>
                    <a:pt x="581905" y="135233"/>
                  </a:lnTo>
                  <a:lnTo>
                    <a:pt x="577149" y="130599"/>
                  </a:lnTo>
                  <a:lnTo>
                    <a:pt x="572394" y="125844"/>
                  </a:lnTo>
                  <a:lnTo>
                    <a:pt x="553859" y="126210"/>
                  </a:lnTo>
                  <a:lnTo>
                    <a:pt x="532397" y="114869"/>
                  </a:lnTo>
                  <a:lnTo>
                    <a:pt x="531300" y="114747"/>
                  </a:lnTo>
                  <a:lnTo>
                    <a:pt x="514472" y="113528"/>
                  </a:lnTo>
                  <a:lnTo>
                    <a:pt x="510691" y="121210"/>
                  </a:lnTo>
                  <a:lnTo>
                    <a:pt x="491303" y="137550"/>
                  </a:lnTo>
                  <a:lnTo>
                    <a:pt x="478499" y="137550"/>
                  </a:lnTo>
                  <a:lnTo>
                    <a:pt x="478499" y="128526"/>
                  </a:lnTo>
                  <a:lnTo>
                    <a:pt x="496058" y="119747"/>
                  </a:lnTo>
                  <a:lnTo>
                    <a:pt x="501790" y="108284"/>
                  </a:lnTo>
                  <a:lnTo>
                    <a:pt x="492766" y="104870"/>
                  </a:lnTo>
                  <a:lnTo>
                    <a:pt x="485206" y="103406"/>
                  </a:lnTo>
                  <a:lnTo>
                    <a:pt x="478377" y="96578"/>
                  </a:lnTo>
                  <a:lnTo>
                    <a:pt x="467402" y="97919"/>
                  </a:lnTo>
                  <a:lnTo>
                    <a:pt x="457037" y="91822"/>
                  </a:lnTo>
                  <a:lnTo>
                    <a:pt x="466914" y="84018"/>
                  </a:lnTo>
                  <a:lnTo>
                    <a:pt x="474475" y="80238"/>
                  </a:lnTo>
                  <a:lnTo>
                    <a:pt x="476914" y="66824"/>
                  </a:lnTo>
                  <a:lnTo>
                    <a:pt x="457525" y="50240"/>
                  </a:lnTo>
                  <a:lnTo>
                    <a:pt x="450208" y="29876"/>
                  </a:lnTo>
                  <a:lnTo>
                    <a:pt x="443623" y="15487"/>
                  </a:lnTo>
                  <a:lnTo>
                    <a:pt x="440087" y="28168"/>
                  </a:lnTo>
                  <a:lnTo>
                    <a:pt x="439721" y="29144"/>
                  </a:lnTo>
                  <a:lnTo>
                    <a:pt x="439477" y="29632"/>
                  </a:lnTo>
                  <a:lnTo>
                    <a:pt x="430454" y="48655"/>
                  </a:lnTo>
                  <a:lnTo>
                    <a:pt x="430088" y="49142"/>
                  </a:lnTo>
                  <a:lnTo>
                    <a:pt x="429722" y="49752"/>
                  </a:lnTo>
                  <a:lnTo>
                    <a:pt x="421186" y="60849"/>
                  </a:lnTo>
                  <a:lnTo>
                    <a:pt x="418991" y="63654"/>
                  </a:lnTo>
                  <a:lnTo>
                    <a:pt x="415333" y="63166"/>
                  </a:lnTo>
                  <a:lnTo>
                    <a:pt x="402407" y="61215"/>
                  </a:lnTo>
                  <a:lnTo>
                    <a:pt x="392164" y="59508"/>
                  </a:lnTo>
                  <a:lnTo>
                    <a:pt x="391798" y="59508"/>
                  </a:lnTo>
                  <a:lnTo>
                    <a:pt x="391432" y="59386"/>
                  </a:lnTo>
                  <a:lnTo>
                    <a:pt x="384482" y="57313"/>
                  </a:lnTo>
                  <a:lnTo>
                    <a:pt x="382775" y="56825"/>
                  </a:lnTo>
                  <a:lnTo>
                    <a:pt x="382165" y="56825"/>
                  </a:lnTo>
                  <a:lnTo>
                    <a:pt x="364483" y="57678"/>
                  </a:lnTo>
                  <a:lnTo>
                    <a:pt x="361801" y="57800"/>
                  </a:lnTo>
                  <a:lnTo>
                    <a:pt x="359850" y="55849"/>
                  </a:lnTo>
                  <a:lnTo>
                    <a:pt x="357655" y="53654"/>
                  </a:lnTo>
                  <a:lnTo>
                    <a:pt x="356191" y="53410"/>
                  </a:lnTo>
                  <a:lnTo>
                    <a:pt x="355338" y="54996"/>
                  </a:lnTo>
                  <a:lnTo>
                    <a:pt x="354240" y="57191"/>
                  </a:lnTo>
                  <a:lnTo>
                    <a:pt x="352533" y="60605"/>
                  </a:lnTo>
                  <a:lnTo>
                    <a:pt x="348631" y="60483"/>
                  </a:lnTo>
                  <a:lnTo>
                    <a:pt x="335339" y="60117"/>
                  </a:lnTo>
                  <a:lnTo>
                    <a:pt x="334364" y="62800"/>
                  </a:lnTo>
                  <a:lnTo>
                    <a:pt x="333266" y="65483"/>
                  </a:lnTo>
                  <a:lnTo>
                    <a:pt x="321438" y="69385"/>
                  </a:lnTo>
                  <a:lnTo>
                    <a:pt x="317048" y="75848"/>
                  </a:lnTo>
                  <a:lnTo>
                    <a:pt x="315463" y="78287"/>
                  </a:lnTo>
                  <a:lnTo>
                    <a:pt x="312536" y="78530"/>
                  </a:lnTo>
                  <a:lnTo>
                    <a:pt x="302537" y="79384"/>
                  </a:lnTo>
                  <a:lnTo>
                    <a:pt x="301562" y="79506"/>
                  </a:lnTo>
                  <a:lnTo>
                    <a:pt x="300586" y="79262"/>
                  </a:lnTo>
                  <a:lnTo>
                    <a:pt x="287660" y="75970"/>
                  </a:lnTo>
                  <a:lnTo>
                    <a:pt x="286319" y="75726"/>
                  </a:lnTo>
                  <a:lnTo>
                    <a:pt x="284856" y="75360"/>
                  </a:lnTo>
                  <a:lnTo>
                    <a:pt x="283636" y="74262"/>
                  </a:lnTo>
                  <a:lnTo>
                    <a:pt x="272418" y="63897"/>
                  </a:lnTo>
                  <a:lnTo>
                    <a:pt x="270466" y="62068"/>
                  </a:lnTo>
                  <a:lnTo>
                    <a:pt x="270466" y="38899"/>
                  </a:lnTo>
                  <a:lnTo>
                    <a:pt x="270710" y="38046"/>
                  </a:lnTo>
                  <a:lnTo>
                    <a:pt x="275222" y="23900"/>
                  </a:lnTo>
                  <a:lnTo>
                    <a:pt x="275100" y="22315"/>
                  </a:lnTo>
                  <a:lnTo>
                    <a:pt x="274369" y="11340"/>
                  </a:lnTo>
                  <a:lnTo>
                    <a:pt x="261321" y="732"/>
                  </a:lnTo>
                  <a:lnTo>
                    <a:pt x="258394" y="0"/>
                  </a:lnTo>
                  <a:lnTo>
                    <a:pt x="254980" y="13901"/>
                  </a:lnTo>
                  <a:lnTo>
                    <a:pt x="254126" y="17072"/>
                  </a:lnTo>
                  <a:lnTo>
                    <a:pt x="251078" y="18169"/>
                  </a:lnTo>
                  <a:lnTo>
                    <a:pt x="247541" y="19389"/>
                  </a:lnTo>
                  <a:lnTo>
                    <a:pt x="221934" y="28778"/>
                  </a:lnTo>
                  <a:lnTo>
                    <a:pt x="219251" y="29754"/>
                  </a:lnTo>
                  <a:lnTo>
                    <a:pt x="216812" y="28290"/>
                  </a:lnTo>
                  <a:lnTo>
                    <a:pt x="195960" y="16218"/>
                  </a:lnTo>
                  <a:lnTo>
                    <a:pt x="187058" y="16828"/>
                  </a:lnTo>
                  <a:lnTo>
                    <a:pt x="186449" y="19877"/>
                  </a:lnTo>
                  <a:lnTo>
                    <a:pt x="186205" y="21462"/>
                  </a:lnTo>
                  <a:lnTo>
                    <a:pt x="189253" y="23169"/>
                  </a:lnTo>
                  <a:lnTo>
                    <a:pt x="192546" y="24998"/>
                  </a:lnTo>
                  <a:lnTo>
                    <a:pt x="192302" y="28656"/>
                  </a:lnTo>
                  <a:lnTo>
                    <a:pt x="191936" y="39631"/>
                  </a:lnTo>
                  <a:lnTo>
                    <a:pt x="191692" y="47313"/>
                  </a:lnTo>
                  <a:lnTo>
                    <a:pt x="199984" y="46094"/>
                  </a:lnTo>
                  <a:lnTo>
                    <a:pt x="203399" y="45728"/>
                  </a:lnTo>
                  <a:lnTo>
                    <a:pt x="205472" y="48411"/>
                  </a:lnTo>
                  <a:lnTo>
                    <a:pt x="206935" y="50118"/>
                  </a:lnTo>
                  <a:lnTo>
                    <a:pt x="207910" y="51459"/>
                  </a:lnTo>
                  <a:lnTo>
                    <a:pt x="209740" y="53654"/>
                  </a:lnTo>
                  <a:lnTo>
                    <a:pt x="209130" y="56459"/>
                  </a:lnTo>
                  <a:lnTo>
                    <a:pt x="207667" y="63044"/>
                  </a:lnTo>
                  <a:lnTo>
                    <a:pt x="207057" y="65970"/>
                  </a:lnTo>
                  <a:lnTo>
                    <a:pt x="204374" y="67190"/>
                  </a:lnTo>
                  <a:lnTo>
                    <a:pt x="167548" y="84628"/>
                  </a:lnTo>
                  <a:lnTo>
                    <a:pt x="167182" y="84871"/>
                  </a:lnTo>
                  <a:lnTo>
                    <a:pt x="166816" y="84993"/>
                  </a:lnTo>
                  <a:lnTo>
                    <a:pt x="152549" y="89383"/>
                  </a:lnTo>
                  <a:lnTo>
                    <a:pt x="150354" y="90115"/>
                  </a:lnTo>
                  <a:lnTo>
                    <a:pt x="148281" y="89139"/>
                  </a:lnTo>
                  <a:lnTo>
                    <a:pt x="133282" y="82432"/>
                  </a:lnTo>
                  <a:lnTo>
                    <a:pt x="131331" y="81579"/>
                  </a:lnTo>
                  <a:lnTo>
                    <a:pt x="130112" y="80969"/>
                  </a:lnTo>
                  <a:lnTo>
                    <a:pt x="127551" y="79994"/>
                  </a:lnTo>
                  <a:lnTo>
                    <a:pt x="118405" y="76457"/>
                  </a:lnTo>
                  <a:lnTo>
                    <a:pt x="117308" y="76092"/>
                  </a:lnTo>
                  <a:lnTo>
                    <a:pt x="116454" y="75238"/>
                  </a:lnTo>
                  <a:lnTo>
                    <a:pt x="105723" y="65483"/>
                  </a:lnTo>
                  <a:lnTo>
                    <a:pt x="77067" y="68775"/>
                  </a:lnTo>
                  <a:lnTo>
                    <a:pt x="76701" y="70238"/>
                  </a:lnTo>
                  <a:lnTo>
                    <a:pt x="88286" y="79628"/>
                  </a:lnTo>
                  <a:lnTo>
                    <a:pt x="92554" y="83164"/>
                  </a:lnTo>
                  <a:lnTo>
                    <a:pt x="89505" y="87798"/>
                  </a:lnTo>
                  <a:lnTo>
                    <a:pt x="85603" y="93651"/>
                  </a:lnTo>
                  <a:lnTo>
                    <a:pt x="83530" y="96700"/>
                  </a:lnTo>
                  <a:lnTo>
                    <a:pt x="79872" y="96334"/>
                  </a:lnTo>
                  <a:lnTo>
                    <a:pt x="77677" y="96090"/>
                  </a:lnTo>
                  <a:lnTo>
                    <a:pt x="79628" y="111211"/>
                  </a:lnTo>
                  <a:lnTo>
                    <a:pt x="85237" y="116088"/>
                  </a:lnTo>
                  <a:lnTo>
                    <a:pt x="87798" y="118405"/>
                  </a:lnTo>
                  <a:lnTo>
                    <a:pt x="87188" y="121820"/>
                  </a:lnTo>
                  <a:lnTo>
                    <a:pt x="78286" y="169865"/>
                  </a:lnTo>
                  <a:lnTo>
                    <a:pt x="78043" y="171328"/>
                  </a:lnTo>
                  <a:lnTo>
                    <a:pt x="77799" y="173523"/>
                  </a:lnTo>
                  <a:lnTo>
                    <a:pt x="77189" y="181937"/>
                  </a:lnTo>
                  <a:lnTo>
                    <a:pt x="76823" y="186327"/>
                  </a:lnTo>
                  <a:lnTo>
                    <a:pt x="72555" y="187424"/>
                  </a:lnTo>
                  <a:lnTo>
                    <a:pt x="69263" y="188156"/>
                  </a:lnTo>
                  <a:lnTo>
                    <a:pt x="60361" y="190351"/>
                  </a:lnTo>
                  <a:lnTo>
                    <a:pt x="53288" y="192302"/>
                  </a:lnTo>
                  <a:lnTo>
                    <a:pt x="35119" y="197301"/>
                  </a:lnTo>
                  <a:lnTo>
                    <a:pt x="8048" y="212300"/>
                  </a:lnTo>
                  <a:lnTo>
                    <a:pt x="7560" y="212666"/>
                  </a:lnTo>
                  <a:lnTo>
                    <a:pt x="9755" y="225226"/>
                  </a:lnTo>
                  <a:lnTo>
                    <a:pt x="10121" y="227421"/>
                  </a:lnTo>
                  <a:lnTo>
                    <a:pt x="8902" y="229372"/>
                  </a:lnTo>
                  <a:lnTo>
                    <a:pt x="0" y="244005"/>
                  </a:lnTo>
                  <a:lnTo>
                    <a:pt x="10365" y="267296"/>
                  </a:lnTo>
                  <a:lnTo>
                    <a:pt x="10731" y="268028"/>
                  </a:lnTo>
                  <a:lnTo>
                    <a:pt x="10853" y="268759"/>
                  </a:lnTo>
                  <a:lnTo>
                    <a:pt x="10975" y="269735"/>
                  </a:lnTo>
                  <a:lnTo>
                    <a:pt x="12560" y="278637"/>
                  </a:lnTo>
                  <a:lnTo>
                    <a:pt x="20852" y="287660"/>
                  </a:lnTo>
                  <a:lnTo>
                    <a:pt x="21706" y="288758"/>
                  </a:lnTo>
                  <a:lnTo>
                    <a:pt x="55727" y="286075"/>
                  </a:lnTo>
                  <a:lnTo>
                    <a:pt x="58532" y="285831"/>
                  </a:lnTo>
                  <a:lnTo>
                    <a:pt x="60483" y="287782"/>
                  </a:lnTo>
                  <a:lnTo>
                    <a:pt x="62800" y="290099"/>
                  </a:lnTo>
                  <a:lnTo>
                    <a:pt x="64019" y="291319"/>
                  </a:lnTo>
                  <a:lnTo>
                    <a:pt x="65604" y="292904"/>
                  </a:lnTo>
                  <a:lnTo>
                    <a:pt x="65727" y="295221"/>
                  </a:lnTo>
                  <a:lnTo>
                    <a:pt x="67312" y="314244"/>
                  </a:lnTo>
                  <a:lnTo>
                    <a:pt x="67434" y="315341"/>
                  </a:lnTo>
                  <a:lnTo>
                    <a:pt x="81945" y="319975"/>
                  </a:lnTo>
                  <a:lnTo>
                    <a:pt x="84505" y="319487"/>
                  </a:lnTo>
                  <a:lnTo>
                    <a:pt x="115966" y="314731"/>
                  </a:lnTo>
                  <a:lnTo>
                    <a:pt x="124990" y="298635"/>
                  </a:lnTo>
                  <a:lnTo>
                    <a:pt x="126209" y="296562"/>
                  </a:lnTo>
                  <a:lnTo>
                    <a:pt x="128405" y="295830"/>
                  </a:lnTo>
                  <a:lnTo>
                    <a:pt x="149378" y="289367"/>
                  </a:lnTo>
                  <a:lnTo>
                    <a:pt x="152183" y="288514"/>
                  </a:lnTo>
                  <a:lnTo>
                    <a:pt x="154500" y="289977"/>
                  </a:lnTo>
                  <a:lnTo>
                    <a:pt x="160231" y="293635"/>
                  </a:lnTo>
                  <a:lnTo>
                    <a:pt x="168889" y="299245"/>
                  </a:lnTo>
                  <a:lnTo>
                    <a:pt x="171450" y="300952"/>
                  </a:lnTo>
                  <a:lnTo>
                    <a:pt x="171694" y="304122"/>
                  </a:lnTo>
                  <a:lnTo>
                    <a:pt x="173401" y="333876"/>
                  </a:lnTo>
                  <a:lnTo>
                    <a:pt x="181205" y="338144"/>
                  </a:lnTo>
                  <a:lnTo>
                    <a:pt x="185961" y="338754"/>
                  </a:lnTo>
                  <a:lnTo>
                    <a:pt x="194253" y="339851"/>
                  </a:lnTo>
                  <a:lnTo>
                    <a:pt x="195472" y="339973"/>
                  </a:lnTo>
                  <a:lnTo>
                    <a:pt x="196448" y="340583"/>
                  </a:lnTo>
                  <a:lnTo>
                    <a:pt x="236201" y="363630"/>
                  </a:lnTo>
                  <a:lnTo>
                    <a:pt x="253760" y="367044"/>
                  </a:lnTo>
                  <a:lnTo>
                    <a:pt x="258394" y="367898"/>
                  </a:lnTo>
                  <a:lnTo>
                    <a:pt x="258638" y="372775"/>
                  </a:lnTo>
                  <a:lnTo>
                    <a:pt x="260345" y="416065"/>
                  </a:lnTo>
                  <a:lnTo>
                    <a:pt x="298879" y="421918"/>
                  </a:lnTo>
                  <a:lnTo>
                    <a:pt x="303756" y="422650"/>
                  </a:lnTo>
                  <a:lnTo>
                    <a:pt x="304122" y="427527"/>
                  </a:lnTo>
                  <a:lnTo>
                    <a:pt x="304732" y="439722"/>
                  </a:lnTo>
                  <a:lnTo>
                    <a:pt x="304854" y="439722"/>
                  </a:lnTo>
                  <a:lnTo>
                    <a:pt x="304854" y="439722"/>
                  </a:lnTo>
                  <a:lnTo>
                    <a:pt x="308146" y="441551"/>
                  </a:lnTo>
                  <a:lnTo>
                    <a:pt x="310097" y="442648"/>
                  </a:lnTo>
                  <a:lnTo>
                    <a:pt x="313756" y="444721"/>
                  </a:lnTo>
                  <a:lnTo>
                    <a:pt x="313268" y="448745"/>
                  </a:lnTo>
                  <a:lnTo>
                    <a:pt x="311683" y="461915"/>
                  </a:lnTo>
                  <a:lnTo>
                    <a:pt x="315341" y="467158"/>
                  </a:lnTo>
                  <a:lnTo>
                    <a:pt x="318877" y="472402"/>
                  </a:lnTo>
                  <a:lnTo>
                    <a:pt x="320097" y="473987"/>
                  </a:lnTo>
                  <a:lnTo>
                    <a:pt x="319975" y="476060"/>
                  </a:lnTo>
                  <a:lnTo>
                    <a:pt x="319243" y="497644"/>
                  </a:lnTo>
                  <a:lnTo>
                    <a:pt x="319121" y="501668"/>
                  </a:lnTo>
                  <a:lnTo>
                    <a:pt x="319121" y="502399"/>
                  </a:lnTo>
                  <a:lnTo>
                    <a:pt x="321804" y="547274"/>
                  </a:lnTo>
                  <a:lnTo>
                    <a:pt x="334608" y="553737"/>
                  </a:lnTo>
                  <a:lnTo>
                    <a:pt x="359850" y="564590"/>
                  </a:lnTo>
                  <a:lnTo>
                    <a:pt x="363386" y="566053"/>
                  </a:lnTo>
                  <a:lnTo>
                    <a:pt x="363630" y="569955"/>
                  </a:lnTo>
                  <a:lnTo>
                    <a:pt x="363996" y="578247"/>
                  </a:lnTo>
                  <a:lnTo>
                    <a:pt x="364240" y="582759"/>
                  </a:lnTo>
                  <a:lnTo>
                    <a:pt x="366069" y="582027"/>
                  </a:lnTo>
                  <a:lnTo>
                    <a:pt x="369483" y="580564"/>
                  </a:lnTo>
                  <a:lnTo>
                    <a:pt x="371800" y="579589"/>
                  </a:lnTo>
                  <a:lnTo>
                    <a:pt x="374117" y="580442"/>
                  </a:lnTo>
                  <a:lnTo>
                    <a:pt x="379848" y="582759"/>
                  </a:lnTo>
                  <a:lnTo>
                    <a:pt x="384360" y="584466"/>
                  </a:lnTo>
                  <a:lnTo>
                    <a:pt x="388018" y="585808"/>
                  </a:lnTo>
                  <a:lnTo>
                    <a:pt x="388140" y="589832"/>
                  </a:lnTo>
                  <a:lnTo>
                    <a:pt x="388994" y="604831"/>
                  </a:lnTo>
                  <a:lnTo>
                    <a:pt x="389116" y="606538"/>
                  </a:lnTo>
                  <a:lnTo>
                    <a:pt x="388262" y="608123"/>
                  </a:lnTo>
                  <a:lnTo>
                    <a:pt x="387530" y="609464"/>
                  </a:lnTo>
                  <a:lnTo>
                    <a:pt x="384238" y="615439"/>
                  </a:lnTo>
                  <a:lnTo>
                    <a:pt x="383262" y="621658"/>
                  </a:lnTo>
                  <a:lnTo>
                    <a:pt x="383018" y="623853"/>
                  </a:lnTo>
                  <a:lnTo>
                    <a:pt x="386189" y="624219"/>
                  </a:lnTo>
                  <a:lnTo>
                    <a:pt x="389725" y="624585"/>
                  </a:lnTo>
                  <a:lnTo>
                    <a:pt x="391067" y="627755"/>
                  </a:lnTo>
                  <a:lnTo>
                    <a:pt x="400456" y="648242"/>
                  </a:lnTo>
                  <a:lnTo>
                    <a:pt x="401919" y="651290"/>
                  </a:lnTo>
                  <a:lnTo>
                    <a:pt x="400090" y="654217"/>
                  </a:lnTo>
                  <a:lnTo>
                    <a:pt x="397042" y="658607"/>
                  </a:lnTo>
                  <a:lnTo>
                    <a:pt x="396676" y="659338"/>
                  </a:lnTo>
                  <a:lnTo>
                    <a:pt x="396066" y="659826"/>
                  </a:lnTo>
                  <a:lnTo>
                    <a:pt x="371556" y="681410"/>
                  </a:lnTo>
                  <a:lnTo>
                    <a:pt x="367166" y="685190"/>
                  </a:lnTo>
                  <a:lnTo>
                    <a:pt x="358630" y="692506"/>
                  </a:lnTo>
                  <a:lnTo>
                    <a:pt x="342046" y="709091"/>
                  </a:lnTo>
                  <a:lnTo>
                    <a:pt x="339607" y="713968"/>
                  </a:lnTo>
                  <a:lnTo>
                    <a:pt x="339241" y="714700"/>
                  </a:lnTo>
                  <a:lnTo>
                    <a:pt x="338632" y="715310"/>
                  </a:lnTo>
                  <a:lnTo>
                    <a:pt x="333632" y="720675"/>
                  </a:lnTo>
                  <a:lnTo>
                    <a:pt x="329120" y="725553"/>
                  </a:lnTo>
                  <a:lnTo>
                    <a:pt x="334364" y="728479"/>
                  </a:lnTo>
                  <a:lnTo>
                    <a:pt x="336071" y="729455"/>
                  </a:lnTo>
                  <a:lnTo>
                    <a:pt x="336925" y="731284"/>
                  </a:lnTo>
                  <a:lnTo>
                    <a:pt x="340461" y="738844"/>
                  </a:lnTo>
                  <a:lnTo>
                    <a:pt x="341437" y="740795"/>
                  </a:lnTo>
                  <a:lnTo>
                    <a:pt x="364361" y="743356"/>
                  </a:lnTo>
                  <a:lnTo>
                    <a:pt x="365459" y="743478"/>
                  </a:lnTo>
                  <a:lnTo>
                    <a:pt x="366434" y="743966"/>
                  </a:lnTo>
                  <a:lnTo>
                    <a:pt x="372897" y="747258"/>
                  </a:lnTo>
                  <a:lnTo>
                    <a:pt x="374970" y="748234"/>
                  </a:lnTo>
                  <a:lnTo>
                    <a:pt x="375824" y="750307"/>
                  </a:lnTo>
                  <a:lnTo>
                    <a:pt x="377775" y="755063"/>
                  </a:lnTo>
                  <a:lnTo>
                    <a:pt x="379604" y="759452"/>
                  </a:lnTo>
                  <a:lnTo>
                    <a:pt x="390823" y="764208"/>
                  </a:lnTo>
                  <a:lnTo>
                    <a:pt x="392530" y="764940"/>
                  </a:lnTo>
                  <a:lnTo>
                    <a:pt x="393505" y="766525"/>
                  </a:lnTo>
                  <a:lnTo>
                    <a:pt x="399359" y="775671"/>
                  </a:lnTo>
                  <a:lnTo>
                    <a:pt x="411675" y="786401"/>
                  </a:lnTo>
                  <a:lnTo>
                    <a:pt x="413382" y="787865"/>
                  </a:lnTo>
                  <a:lnTo>
                    <a:pt x="413748" y="789938"/>
                  </a:lnTo>
                  <a:lnTo>
                    <a:pt x="414479" y="794328"/>
                  </a:lnTo>
                  <a:lnTo>
                    <a:pt x="430210" y="778597"/>
                  </a:lnTo>
                  <a:lnTo>
                    <a:pt x="430210" y="773598"/>
                  </a:lnTo>
                  <a:lnTo>
                    <a:pt x="424113" y="764330"/>
                  </a:lnTo>
                  <a:lnTo>
                    <a:pt x="424113" y="764330"/>
                  </a:lnTo>
                  <a:lnTo>
                    <a:pt x="433380" y="751038"/>
                  </a:lnTo>
                  <a:lnTo>
                    <a:pt x="438380" y="741161"/>
                  </a:lnTo>
                  <a:lnTo>
                    <a:pt x="454720" y="723845"/>
                  </a:lnTo>
                  <a:lnTo>
                    <a:pt x="462524" y="728601"/>
                  </a:lnTo>
                  <a:lnTo>
                    <a:pt x="454233" y="744332"/>
                  </a:lnTo>
                  <a:lnTo>
                    <a:pt x="452769" y="750795"/>
                  </a:lnTo>
                  <a:lnTo>
                    <a:pt x="466305" y="725796"/>
                  </a:lnTo>
                  <a:lnTo>
                    <a:pt x="470207" y="712139"/>
                  </a:lnTo>
                  <a:lnTo>
                    <a:pt x="476304" y="699945"/>
                  </a:lnTo>
                  <a:lnTo>
                    <a:pt x="485815" y="697750"/>
                  </a:lnTo>
                  <a:lnTo>
                    <a:pt x="500570" y="680312"/>
                  </a:lnTo>
                  <a:lnTo>
                    <a:pt x="503253" y="659460"/>
                  </a:lnTo>
                  <a:lnTo>
                    <a:pt x="499717" y="648120"/>
                  </a:lnTo>
                  <a:lnTo>
                    <a:pt x="499717" y="648120"/>
                  </a:lnTo>
                  <a:lnTo>
                    <a:pt x="503497" y="620927"/>
                  </a:lnTo>
                  <a:lnTo>
                    <a:pt x="514837" y="616415"/>
                  </a:lnTo>
                  <a:lnTo>
                    <a:pt x="523983" y="606416"/>
                  </a:lnTo>
                  <a:lnTo>
                    <a:pt x="528983" y="604587"/>
                  </a:lnTo>
                  <a:lnTo>
                    <a:pt x="529592" y="599343"/>
                  </a:lnTo>
                  <a:lnTo>
                    <a:pt x="547274" y="584710"/>
                  </a:lnTo>
                  <a:lnTo>
                    <a:pt x="561907" y="580564"/>
                  </a:lnTo>
                  <a:lnTo>
                    <a:pt x="569345" y="577516"/>
                  </a:lnTo>
                  <a:lnTo>
                    <a:pt x="578857" y="572150"/>
                  </a:lnTo>
                  <a:lnTo>
                    <a:pt x="593246" y="572150"/>
                  </a:lnTo>
                  <a:lnTo>
                    <a:pt x="606172" y="570809"/>
                  </a:lnTo>
                  <a:lnTo>
                    <a:pt x="615073" y="565565"/>
                  </a:lnTo>
                  <a:lnTo>
                    <a:pt x="624463" y="568492"/>
                  </a:lnTo>
                  <a:lnTo>
                    <a:pt x="635560" y="564712"/>
                  </a:lnTo>
                  <a:lnTo>
                    <a:pt x="638486" y="554834"/>
                  </a:lnTo>
                  <a:lnTo>
                    <a:pt x="652388" y="550688"/>
                  </a:lnTo>
                  <a:lnTo>
                    <a:pt x="654339" y="528861"/>
                  </a:lnTo>
                  <a:lnTo>
                    <a:pt x="665801" y="512277"/>
                  </a:lnTo>
                  <a:lnTo>
                    <a:pt x="667630" y="498741"/>
                  </a:lnTo>
                  <a:lnTo>
                    <a:pt x="673362" y="493132"/>
                  </a:lnTo>
                  <a:lnTo>
                    <a:pt x="675191" y="480572"/>
                  </a:lnTo>
                  <a:lnTo>
                    <a:pt x="679093" y="456793"/>
                  </a:lnTo>
                  <a:lnTo>
                    <a:pt x="693848" y="449477"/>
                  </a:lnTo>
                  <a:lnTo>
                    <a:pt x="690189" y="427771"/>
                  </a:lnTo>
                  <a:lnTo>
                    <a:pt x="695799" y="410943"/>
                  </a:lnTo>
                  <a:lnTo>
                    <a:pt x="690189" y="396066"/>
                  </a:lnTo>
                  <a:lnTo>
                    <a:pt x="694092" y="363020"/>
                  </a:lnTo>
                  <a:lnTo>
                    <a:pt x="698482" y="356435"/>
                  </a:lnTo>
                  <a:lnTo>
                    <a:pt x="719212" y="345095"/>
                  </a:lnTo>
                  <a:lnTo>
                    <a:pt x="726406" y="332657"/>
                  </a:lnTo>
                  <a:lnTo>
                    <a:pt x="732259" y="315097"/>
                  </a:lnTo>
                  <a:lnTo>
                    <a:pt x="738966" y="310707"/>
                  </a:lnTo>
                  <a:lnTo>
                    <a:pt x="753355" y="305220"/>
                  </a:lnTo>
                  <a:lnTo>
                    <a:pt x="758599" y="296440"/>
                  </a:lnTo>
                  <a:lnTo>
                    <a:pt x="764452" y="284978"/>
                  </a:lnTo>
                  <a:lnTo>
                    <a:pt x="775427" y="270345"/>
                  </a:lnTo>
                  <a:lnTo>
                    <a:pt x="775427" y="220348"/>
                  </a:lnTo>
                  <a:lnTo>
                    <a:pt x="770183" y="204740"/>
                  </a:lnTo>
                  <a:lnTo>
                    <a:pt x="736161" y="19596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1" name="Freihandform: Form 560">
              <a:extLst>
                <a:ext uri="{FF2B5EF4-FFF2-40B4-BE49-F238E27FC236}">
                  <a16:creationId xmlns:a16="http://schemas.microsoft.com/office/drawing/2014/main" id="{EBA5D20F-EE2A-48B1-AED3-9A81BFEADB8E}"/>
                </a:ext>
              </a:extLst>
            </p:cNvPr>
            <p:cNvSpPr/>
            <p:nvPr/>
          </p:nvSpPr>
          <p:spPr>
            <a:xfrm>
              <a:off x="3872542" y="1509663"/>
              <a:ext cx="47679" cy="11950"/>
            </a:xfrm>
            <a:custGeom>
              <a:avLst/>
              <a:gdLst>
                <a:gd name="connsiteX0" fmla="*/ 0 w 47679"/>
                <a:gd name="connsiteY0" fmla="*/ 11950 h 11950"/>
                <a:gd name="connsiteX1" fmla="*/ 28778 w 47679"/>
                <a:gd name="connsiteY1" fmla="*/ 8414 h 11950"/>
                <a:gd name="connsiteX2" fmla="*/ 40119 w 47679"/>
                <a:gd name="connsiteY2" fmla="*/ 10121 h 11950"/>
                <a:gd name="connsiteX3" fmla="*/ 46826 w 47679"/>
                <a:gd name="connsiteY3" fmla="*/ 9390 h 11950"/>
                <a:gd name="connsiteX4" fmla="*/ 47679 w 47679"/>
                <a:gd name="connsiteY4" fmla="*/ 4390 h 11950"/>
                <a:gd name="connsiteX5" fmla="*/ 43655 w 47679"/>
                <a:gd name="connsiteY5" fmla="*/ 0 h 11950"/>
                <a:gd name="connsiteX6" fmla="*/ 10975 w 47679"/>
                <a:gd name="connsiteY6" fmla="*/ 6585 h 11950"/>
                <a:gd name="connsiteX7" fmla="*/ 0 w 47679"/>
                <a:gd name="connsiteY7" fmla="*/ 11950 h 1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679" h="11950">
                  <a:moveTo>
                    <a:pt x="0" y="11950"/>
                  </a:moveTo>
                  <a:lnTo>
                    <a:pt x="28778" y="8414"/>
                  </a:lnTo>
                  <a:lnTo>
                    <a:pt x="40119" y="10121"/>
                  </a:lnTo>
                  <a:lnTo>
                    <a:pt x="46826" y="9390"/>
                  </a:lnTo>
                  <a:lnTo>
                    <a:pt x="47679" y="4390"/>
                  </a:lnTo>
                  <a:lnTo>
                    <a:pt x="43655" y="0"/>
                  </a:lnTo>
                  <a:lnTo>
                    <a:pt x="10975" y="6585"/>
                  </a:lnTo>
                  <a:lnTo>
                    <a:pt x="0" y="1195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2" name="Freihandform: Form 561">
              <a:extLst>
                <a:ext uri="{FF2B5EF4-FFF2-40B4-BE49-F238E27FC236}">
                  <a16:creationId xmlns:a16="http://schemas.microsoft.com/office/drawing/2014/main" id="{3EC8A77B-7DDA-41F7-A409-D1F166102B13}"/>
                </a:ext>
              </a:extLst>
            </p:cNvPr>
            <p:cNvSpPr/>
            <p:nvPr/>
          </p:nvSpPr>
          <p:spPr>
            <a:xfrm>
              <a:off x="2096341" y="2764686"/>
              <a:ext cx="599830" cy="377653"/>
            </a:xfrm>
            <a:custGeom>
              <a:avLst/>
              <a:gdLst>
                <a:gd name="connsiteX0" fmla="*/ 497278 w 599830"/>
                <a:gd name="connsiteY0" fmla="*/ 351314 h 377653"/>
                <a:gd name="connsiteX1" fmla="*/ 515447 w 599830"/>
                <a:gd name="connsiteY1" fmla="*/ 351314 h 377653"/>
                <a:gd name="connsiteX2" fmla="*/ 522520 w 599830"/>
                <a:gd name="connsiteY2" fmla="*/ 351314 h 377653"/>
                <a:gd name="connsiteX3" fmla="*/ 528495 w 599830"/>
                <a:gd name="connsiteY3" fmla="*/ 348631 h 377653"/>
                <a:gd name="connsiteX4" fmla="*/ 528495 w 599830"/>
                <a:gd name="connsiteY4" fmla="*/ 345948 h 377653"/>
                <a:gd name="connsiteX5" fmla="*/ 515569 w 599830"/>
                <a:gd name="connsiteY5" fmla="*/ 335339 h 377653"/>
                <a:gd name="connsiteX6" fmla="*/ 509594 w 599830"/>
                <a:gd name="connsiteY6" fmla="*/ 330218 h 377653"/>
                <a:gd name="connsiteX7" fmla="*/ 515935 w 599830"/>
                <a:gd name="connsiteY7" fmla="*/ 325706 h 377653"/>
                <a:gd name="connsiteX8" fmla="*/ 519837 w 599830"/>
                <a:gd name="connsiteY8" fmla="*/ 322780 h 377653"/>
                <a:gd name="connsiteX9" fmla="*/ 519837 w 599830"/>
                <a:gd name="connsiteY9" fmla="*/ 307171 h 377653"/>
                <a:gd name="connsiteX10" fmla="*/ 526178 w 599830"/>
                <a:gd name="connsiteY10" fmla="*/ 307171 h 377653"/>
                <a:gd name="connsiteX11" fmla="*/ 538372 w 599830"/>
                <a:gd name="connsiteY11" fmla="*/ 307171 h 377653"/>
                <a:gd name="connsiteX12" fmla="*/ 545323 w 599830"/>
                <a:gd name="connsiteY12" fmla="*/ 307171 h 377653"/>
                <a:gd name="connsiteX13" fmla="*/ 546420 w 599830"/>
                <a:gd name="connsiteY13" fmla="*/ 307171 h 377653"/>
                <a:gd name="connsiteX14" fmla="*/ 553737 w 599830"/>
                <a:gd name="connsiteY14" fmla="*/ 310585 h 377653"/>
                <a:gd name="connsiteX15" fmla="*/ 559346 w 599830"/>
                <a:gd name="connsiteY15" fmla="*/ 302537 h 377653"/>
                <a:gd name="connsiteX16" fmla="*/ 561541 w 599830"/>
                <a:gd name="connsiteY16" fmla="*/ 299245 h 377653"/>
                <a:gd name="connsiteX17" fmla="*/ 565443 w 599830"/>
                <a:gd name="connsiteY17" fmla="*/ 299976 h 377653"/>
                <a:gd name="connsiteX18" fmla="*/ 574101 w 599830"/>
                <a:gd name="connsiteY18" fmla="*/ 301684 h 377653"/>
                <a:gd name="connsiteX19" fmla="*/ 577759 w 599830"/>
                <a:gd name="connsiteY19" fmla="*/ 302293 h 377653"/>
                <a:gd name="connsiteX20" fmla="*/ 581539 w 599830"/>
                <a:gd name="connsiteY20" fmla="*/ 303025 h 377653"/>
                <a:gd name="connsiteX21" fmla="*/ 584954 w 599830"/>
                <a:gd name="connsiteY21" fmla="*/ 298391 h 377653"/>
                <a:gd name="connsiteX22" fmla="*/ 585564 w 599830"/>
                <a:gd name="connsiteY22" fmla="*/ 294123 h 377653"/>
                <a:gd name="connsiteX23" fmla="*/ 584832 w 599830"/>
                <a:gd name="connsiteY23" fmla="*/ 273271 h 377653"/>
                <a:gd name="connsiteX24" fmla="*/ 593734 w 599830"/>
                <a:gd name="connsiteY24" fmla="*/ 255468 h 377653"/>
                <a:gd name="connsiteX25" fmla="*/ 599831 w 599830"/>
                <a:gd name="connsiteY25" fmla="*/ 246932 h 377653"/>
                <a:gd name="connsiteX26" fmla="*/ 594587 w 599830"/>
                <a:gd name="connsiteY26" fmla="*/ 240591 h 377653"/>
                <a:gd name="connsiteX27" fmla="*/ 585198 w 599830"/>
                <a:gd name="connsiteY27" fmla="*/ 241932 h 377653"/>
                <a:gd name="connsiteX28" fmla="*/ 579345 w 599830"/>
                <a:gd name="connsiteY28" fmla="*/ 239006 h 377653"/>
                <a:gd name="connsiteX29" fmla="*/ 563492 w 599830"/>
                <a:gd name="connsiteY29" fmla="*/ 239006 h 377653"/>
                <a:gd name="connsiteX30" fmla="*/ 548981 w 599830"/>
                <a:gd name="connsiteY30" fmla="*/ 249127 h 377653"/>
                <a:gd name="connsiteX31" fmla="*/ 539592 w 599830"/>
                <a:gd name="connsiteY31" fmla="*/ 246444 h 377653"/>
                <a:gd name="connsiteX32" fmla="*/ 532275 w 599830"/>
                <a:gd name="connsiteY32" fmla="*/ 257419 h 377653"/>
                <a:gd name="connsiteX33" fmla="*/ 530812 w 599830"/>
                <a:gd name="connsiteY33" fmla="*/ 278880 h 377653"/>
                <a:gd name="connsiteX34" fmla="*/ 516545 w 599830"/>
                <a:gd name="connsiteY34" fmla="*/ 294611 h 377653"/>
                <a:gd name="connsiteX35" fmla="*/ 514959 w 599830"/>
                <a:gd name="connsiteY35" fmla="*/ 302537 h 377653"/>
                <a:gd name="connsiteX36" fmla="*/ 476426 w 599830"/>
                <a:gd name="connsiteY36" fmla="*/ 309854 h 377653"/>
                <a:gd name="connsiteX37" fmla="*/ 466549 w 599830"/>
                <a:gd name="connsiteY37" fmla="*/ 308512 h 377653"/>
                <a:gd name="connsiteX38" fmla="*/ 454354 w 599830"/>
                <a:gd name="connsiteY38" fmla="*/ 311439 h 377653"/>
                <a:gd name="connsiteX39" fmla="*/ 438502 w 599830"/>
                <a:gd name="connsiteY39" fmla="*/ 302781 h 377653"/>
                <a:gd name="connsiteX40" fmla="*/ 433137 w 599830"/>
                <a:gd name="connsiteY40" fmla="*/ 302781 h 377653"/>
                <a:gd name="connsiteX41" fmla="*/ 427161 w 599830"/>
                <a:gd name="connsiteY41" fmla="*/ 298269 h 377653"/>
                <a:gd name="connsiteX42" fmla="*/ 416553 w 599830"/>
                <a:gd name="connsiteY42" fmla="*/ 293757 h 377653"/>
                <a:gd name="connsiteX43" fmla="*/ 413504 w 599830"/>
                <a:gd name="connsiteY43" fmla="*/ 284612 h 377653"/>
                <a:gd name="connsiteX44" fmla="*/ 405090 w 599830"/>
                <a:gd name="connsiteY44" fmla="*/ 273271 h 377653"/>
                <a:gd name="connsiteX45" fmla="*/ 396554 w 599830"/>
                <a:gd name="connsiteY45" fmla="*/ 257785 h 377653"/>
                <a:gd name="connsiteX46" fmla="*/ 386555 w 599830"/>
                <a:gd name="connsiteY46" fmla="*/ 240347 h 377653"/>
                <a:gd name="connsiteX47" fmla="*/ 379360 w 599830"/>
                <a:gd name="connsiteY47" fmla="*/ 218763 h 377653"/>
                <a:gd name="connsiteX48" fmla="*/ 379360 w 599830"/>
                <a:gd name="connsiteY48" fmla="*/ 199497 h 377653"/>
                <a:gd name="connsiteX49" fmla="*/ 380702 w 599830"/>
                <a:gd name="connsiteY49" fmla="*/ 173279 h 377653"/>
                <a:gd name="connsiteX50" fmla="*/ 392042 w 599830"/>
                <a:gd name="connsiteY50" fmla="*/ 154866 h 377653"/>
                <a:gd name="connsiteX51" fmla="*/ 392042 w 599830"/>
                <a:gd name="connsiteY51" fmla="*/ 150720 h 377653"/>
                <a:gd name="connsiteX52" fmla="*/ 390945 w 599830"/>
                <a:gd name="connsiteY52" fmla="*/ 150720 h 377653"/>
                <a:gd name="connsiteX53" fmla="*/ 384848 w 599830"/>
                <a:gd name="connsiteY53" fmla="*/ 149622 h 377653"/>
                <a:gd name="connsiteX54" fmla="*/ 374848 w 599830"/>
                <a:gd name="connsiteY54" fmla="*/ 147671 h 377653"/>
                <a:gd name="connsiteX55" fmla="*/ 373385 w 599830"/>
                <a:gd name="connsiteY55" fmla="*/ 147671 h 377653"/>
                <a:gd name="connsiteX56" fmla="*/ 372166 w 599830"/>
                <a:gd name="connsiteY56" fmla="*/ 146818 h 377653"/>
                <a:gd name="connsiteX57" fmla="*/ 350460 w 599830"/>
                <a:gd name="connsiteY57" fmla="*/ 129868 h 377653"/>
                <a:gd name="connsiteX58" fmla="*/ 348753 w 599830"/>
                <a:gd name="connsiteY58" fmla="*/ 128526 h 377653"/>
                <a:gd name="connsiteX59" fmla="*/ 348753 w 599830"/>
                <a:gd name="connsiteY59" fmla="*/ 126332 h 377653"/>
                <a:gd name="connsiteX60" fmla="*/ 346314 w 599830"/>
                <a:gd name="connsiteY60" fmla="*/ 114991 h 377653"/>
                <a:gd name="connsiteX61" fmla="*/ 328511 w 599830"/>
                <a:gd name="connsiteY61" fmla="*/ 86701 h 377653"/>
                <a:gd name="connsiteX62" fmla="*/ 320950 w 599830"/>
                <a:gd name="connsiteY62" fmla="*/ 74506 h 377653"/>
                <a:gd name="connsiteX63" fmla="*/ 294367 w 599830"/>
                <a:gd name="connsiteY63" fmla="*/ 61215 h 377653"/>
                <a:gd name="connsiteX64" fmla="*/ 288148 w 599830"/>
                <a:gd name="connsiteY64" fmla="*/ 66092 h 377653"/>
                <a:gd name="connsiteX65" fmla="*/ 285587 w 599830"/>
                <a:gd name="connsiteY65" fmla="*/ 68043 h 377653"/>
                <a:gd name="connsiteX66" fmla="*/ 285587 w 599830"/>
                <a:gd name="connsiteY66" fmla="*/ 68897 h 377653"/>
                <a:gd name="connsiteX67" fmla="*/ 286685 w 599830"/>
                <a:gd name="connsiteY67" fmla="*/ 74141 h 377653"/>
                <a:gd name="connsiteX68" fmla="*/ 287538 w 599830"/>
                <a:gd name="connsiteY68" fmla="*/ 78165 h 377653"/>
                <a:gd name="connsiteX69" fmla="*/ 284124 w 599830"/>
                <a:gd name="connsiteY69" fmla="*/ 80482 h 377653"/>
                <a:gd name="connsiteX70" fmla="*/ 281929 w 599830"/>
                <a:gd name="connsiteY70" fmla="*/ 81945 h 377653"/>
                <a:gd name="connsiteX71" fmla="*/ 279368 w 599830"/>
                <a:gd name="connsiteY71" fmla="*/ 83652 h 377653"/>
                <a:gd name="connsiteX72" fmla="*/ 276442 w 599830"/>
                <a:gd name="connsiteY72" fmla="*/ 82555 h 377653"/>
                <a:gd name="connsiteX73" fmla="*/ 264247 w 599830"/>
                <a:gd name="connsiteY73" fmla="*/ 78165 h 377653"/>
                <a:gd name="connsiteX74" fmla="*/ 263028 w 599830"/>
                <a:gd name="connsiteY74" fmla="*/ 78165 h 377653"/>
                <a:gd name="connsiteX75" fmla="*/ 262174 w 599830"/>
                <a:gd name="connsiteY75" fmla="*/ 77311 h 377653"/>
                <a:gd name="connsiteX76" fmla="*/ 247419 w 599830"/>
                <a:gd name="connsiteY76" fmla="*/ 63288 h 377653"/>
                <a:gd name="connsiteX77" fmla="*/ 245834 w 599830"/>
                <a:gd name="connsiteY77" fmla="*/ 61702 h 377653"/>
                <a:gd name="connsiteX78" fmla="*/ 245834 w 599830"/>
                <a:gd name="connsiteY78" fmla="*/ 59386 h 377653"/>
                <a:gd name="connsiteX79" fmla="*/ 244615 w 599830"/>
                <a:gd name="connsiteY79" fmla="*/ 43899 h 377653"/>
                <a:gd name="connsiteX80" fmla="*/ 239737 w 599830"/>
                <a:gd name="connsiteY80" fmla="*/ 39021 h 377653"/>
                <a:gd name="connsiteX81" fmla="*/ 232665 w 599830"/>
                <a:gd name="connsiteY81" fmla="*/ 39021 h 377653"/>
                <a:gd name="connsiteX82" fmla="*/ 230957 w 599830"/>
                <a:gd name="connsiteY82" fmla="*/ 37314 h 377653"/>
                <a:gd name="connsiteX83" fmla="*/ 213642 w 599830"/>
                <a:gd name="connsiteY83" fmla="*/ 20242 h 377653"/>
                <a:gd name="connsiteX84" fmla="*/ 204740 w 599830"/>
                <a:gd name="connsiteY84" fmla="*/ 18291 h 377653"/>
                <a:gd name="connsiteX85" fmla="*/ 195472 w 599830"/>
                <a:gd name="connsiteY85" fmla="*/ 16340 h 377653"/>
                <a:gd name="connsiteX86" fmla="*/ 180108 w 599830"/>
                <a:gd name="connsiteY86" fmla="*/ 16340 h 377653"/>
                <a:gd name="connsiteX87" fmla="*/ 177181 w 599830"/>
                <a:gd name="connsiteY87" fmla="*/ 24632 h 377653"/>
                <a:gd name="connsiteX88" fmla="*/ 176084 w 599830"/>
                <a:gd name="connsiteY88" fmla="*/ 27559 h 377653"/>
                <a:gd name="connsiteX89" fmla="*/ 173035 w 599830"/>
                <a:gd name="connsiteY89" fmla="*/ 28412 h 377653"/>
                <a:gd name="connsiteX90" fmla="*/ 165353 w 599830"/>
                <a:gd name="connsiteY90" fmla="*/ 30485 h 377653"/>
                <a:gd name="connsiteX91" fmla="*/ 155963 w 599830"/>
                <a:gd name="connsiteY91" fmla="*/ 33046 h 377653"/>
                <a:gd name="connsiteX92" fmla="*/ 155110 w 599830"/>
                <a:gd name="connsiteY92" fmla="*/ 33046 h 377653"/>
                <a:gd name="connsiteX93" fmla="*/ 154256 w 599830"/>
                <a:gd name="connsiteY93" fmla="*/ 33046 h 377653"/>
                <a:gd name="connsiteX94" fmla="*/ 112186 w 599830"/>
                <a:gd name="connsiteY94" fmla="*/ 32437 h 377653"/>
                <a:gd name="connsiteX95" fmla="*/ 111211 w 599830"/>
                <a:gd name="connsiteY95" fmla="*/ 32437 h 377653"/>
                <a:gd name="connsiteX96" fmla="*/ 100358 w 599830"/>
                <a:gd name="connsiteY96" fmla="*/ 30364 h 377653"/>
                <a:gd name="connsiteX97" fmla="*/ 99260 w 599830"/>
                <a:gd name="connsiteY97" fmla="*/ 30364 h 377653"/>
                <a:gd name="connsiteX98" fmla="*/ 98285 w 599830"/>
                <a:gd name="connsiteY98" fmla="*/ 30364 h 377653"/>
                <a:gd name="connsiteX99" fmla="*/ 81213 w 599830"/>
                <a:gd name="connsiteY99" fmla="*/ 19754 h 377653"/>
                <a:gd name="connsiteX100" fmla="*/ 71214 w 599830"/>
                <a:gd name="connsiteY100" fmla="*/ 13657 h 377653"/>
                <a:gd name="connsiteX101" fmla="*/ 63897 w 599830"/>
                <a:gd name="connsiteY101" fmla="*/ 10243 h 377653"/>
                <a:gd name="connsiteX102" fmla="*/ 41704 w 599830"/>
                <a:gd name="connsiteY102" fmla="*/ 0 h 377653"/>
                <a:gd name="connsiteX103" fmla="*/ 8780 w 599830"/>
                <a:gd name="connsiteY103" fmla="*/ 1341 h 377653"/>
                <a:gd name="connsiteX104" fmla="*/ 7073 w 599830"/>
                <a:gd name="connsiteY104" fmla="*/ 1951 h 377653"/>
                <a:gd name="connsiteX105" fmla="*/ 0 w 599830"/>
                <a:gd name="connsiteY105" fmla="*/ 4146 h 377653"/>
                <a:gd name="connsiteX106" fmla="*/ 1097 w 599830"/>
                <a:gd name="connsiteY106" fmla="*/ 8902 h 377653"/>
                <a:gd name="connsiteX107" fmla="*/ 4756 w 599830"/>
                <a:gd name="connsiteY107" fmla="*/ 24388 h 377653"/>
                <a:gd name="connsiteX108" fmla="*/ 25486 w 599830"/>
                <a:gd name="connsiteY108" fmla="*/ 45240 h 377653"/>
                <a:gd name="connsiteX109" fmla="*/ 28412 w 599830"/>
                <a:gd name="connsiteY109" fmla="*/ 55727 h 377653"/>
                <a:gd name="connsiteX110" fmla="*/ 35363 w 599830"/>
                <a:gd name="connsiteY110" fmla="*/ 65239 h 377653"/>
                <a:gd name="connsiteX111" fmla="*/ 40850 w 599830"/>
                <a:gd name="connsiteY111" fmla="*/ 67068 h 377653"/>
                <a:gd name="connsiteX112" fmla="*/ 57800 w 599830"/>
                <a:gd name="connsiteY112" fmla="*/ 84993 h 377653"/>
                <a:gd name="connsiteX113" fmla="*/ 58898 w 599830"/>
                <a:gd name="connsiteY113" fmla="*/ 94261 h 377653"/>
                <a:gd name="connsiteX114" fmla="*/ 59995 w 599830"/>
                <a:gd name="connsiteY114" fmla="*/ 112674 h 377653"/>
                <a:gd name="connsiteX115" fmla="*/ 42923 w 599830"/>
                <a:gd name="connsiteY115" fmla="*/ 112674 h 377653"/>
                <a:gd name="connsiteX116" fmla="*/ 61337 w 599830"/>
                <a:gd name="connsiteY116" fmla="*/ 125600 h 377653"/>
                <a:gd name="connsiteX117" fmla="*/ 73531 w 599830"/>
                <a:gd name="connsiteY117" fmla="*/ 130356 h 377653"/>
                <a:gd name="connsiteX118" fmla="*/ 88286 w 599830"/>
                <a:gd name="connsiteY118" fmla="*/ 140233 h 377653"/>
                <a:gd name="connsiteX119" fmla="*/ 91822 w 599830"/>
                <a:gd name="connsiteY119" fmla="*/ 144623 h 377653"/>
                <a:gd name="connsiteX120" fmla="*/ 96090 w 599830"/>
                <a:gd name="connsiteY120" fmla="*/ 150110 h 377653"/>
                <a:gd name="connsiteX121" fmla="*/ 99870 w 599830"/>
                <a:gd name="connsiteY121" fmla="*/ 169987 h 377653"/>
                <a:gd name="connsiteX122" fmla="*/ 109625 w 599830"/>
                <a:gd name="connsiteY122" fmla="*/ 182181 h 377653"/>
                <a:gd name="connsiteX123" fmla="*/ 117918 w 599830"/>
                <a:gd name="connsiteY123" fmla="*/ 184985 h 377653"/>
                <a:gd name="connsiteX124" fmla="*/ 135843 w 599830"/>
                <a:gd name="connsiteY124" fmla="*/ 200960 h 377653"/>
                <a:gd name="connsiteX125" fmla="*/ 135843 w 599830"/>
                <a:gd name="connsiteY125" fmla="*/ 202423 h 377653"/>
                <a:gd name="connsiteX126" fmla="*/ 137306 w 599830"/>
                <a:gd name="connsiteY126" fmla="*/ 213520 h 377653"/>
                <a:gd name="connsiteX127" fmla="*/ 143769 w 599830"/>
                <a:gd name="connsiteY127" fmla="*/ 211691 h 377653"/>
                <a:gd name="connsiteX128" fmla="*/ 143769 w 599830"/>
                <a:gd name="connsiteY128" fmla="*/ 204374 h 377653"/>
                <a:gd name="connsiteX129" fmla="*/ 139379 w 599830"/>
                <a:gd name="connsiteY129" fmla="*/ 195594 h 377653"/>
                <a:gd name="connsiteX130" fmla="*/ 132185 w 599830"/>
                <a:gd name="connsiteY130" fmla="*/ 186571 h 377653"/>
                <a:gd name="connsiteX131" fmla="*/ 124258 w 599830"/>
                <a:gd name="connsiteY131" fmla="*/ 181571 h 377653"/>
                <a:gd name="connsiteX132" fmla="*/ 120356 w 599830"/>
                <a:gd name="connsiteY132" fmla="*/ 169377 h 377653"/>
                <a:gd name="connsiteX133" fmla="*/ 113650 w 599830"/>
                <a:gd name="connsiteY133" fmla="*/ 159744 h 377653"/>
                <a:gd name="connsiteX134" fmla="*/ 110845 w 599830"/>
                <a:gd name="connsiteY134" fmla="*/ 152183 h 377653"/>
                <a:gd name="connsiteX135" fmla="*/ 105236 w 599830"/>
                <a:gd name="connsiteY135" fmla="*/ 135477 h 377653"/>
                <a:gd name="connsiteX136" fmla="*/ 84506 w 599830"/>
                <a:gd name="connsiteY136" fmla="*/ 111820 h 377653"/>
                <a:gd name="connsiteX137" fmla="*/ 82554 w 599830"/>
                <a:gd name="connsiteY137" fmla="*/ 105236 h 377653"/>
                <a:gd name="connsiteX138" fmla="*/ 73897 w 599830"/>
                <a:gd name="connsiteY138" fmla="*/ 96578 h 377653"/>
                <a:gd name="connsiteX139" fmla="*/ 73897 w 599830"/>
                <a:gd name="connsiteY139" fmla="*/ 89017 h 377653"/>
                <a:gd name="connsiteX140" fmla="*/ 44753 w 599830"/>
                <a:gd name="connsiteY140" fmla="*/ 58776 h 377653"/>
                <a:gd name="connsiteX141" fmla="*/ 41704 w 599830"/>
                <a:gd name="connsiteY141" fmla="*/ 52801 h 377653"/>
                <a:gd name="connsiteX142" fmla="*/ 37802 w 599830"/>
                <a:gd name="connsiteY142" fmla="*/ 16218 h 377653"/>
                <a:gd name="connsiteX143" fmla="*/ 37802 w 599830"/>
                <a:gd name="connsiteY143" fmla="*/ 16218 h 377653"/>
                <a:gd name="connsiteX144" fmla="*/ 44265 w 599830"/>
                <a:gd name="connsiteY144" fmla="*/ 13048 h 377653"/>
                <a:gd name="connsiteX145" fmla="*/ 51093 w 599830"/>
                <a:gd name="connsiteY145" fmla="*/ 19877 h 377653"/>
                <a:gd name="connsiteX146" fmla="*/ 58532 w 599830"/>
                <a:gd name="connsiteY146" fmla="*/ 18291 h 377653"/>
                <a:gd name="connsiteX147" fmla="*/ 64141 w 599830"/>
                <a:gd name="connsiteY147" fmla="*/ 16828 h 377653"/>
                <a:gd name="connsiteX148" fmla="*/ 64141 w 599830"/>
                <a:gd name="connsiteY148" fmla="*/ 16828 h 377653"/>
                <a:gd name="connsiteX149" fmla="*/ 66336 w 599830"/>
                <a:gd name="connsiteY149" fmla="*/ 23657 h 377653"/>
                <a:gd name="connsiteX150" fmla="*/ 67190 w 599830"/>
                <a:gd name="connsiteY150" fmla="*/ 25974 h 377653"/>
                <a:gd name="connsiteX151" fmla="*/ 73775 w 599830"/>
                <a:gd name="connsiteY151" fmla="*/ 26827 h 377653"/>
                <a:gd name="connsiteX152" fmla="*/ 78165 w 599830"/>
                <a:gd name="connsiteY152" fmla="*/ 39021 h 377653"/>
                <a:gd name="connsiteX153" fmla="*/ 75482 w 599830"/>
                <a:gd name="connsiteY153" fmla="*/ 47923 h 377653"/>
                <a:gd name="connsiteX154" fmla="*/ 83530 w 599830"/>
                <a:gd name="connsiteY154" fmla="*/ 55971 h 377653"/>
                <a:gd name="connsiteX155" fmla="*/ 87310 w 599830"/>
                <a:gd name="connsiteY155" fmla="*/ 69385 h 377653"/>
                <a:gd name="connsiteX156" fmla="*/ 96334 w 599830"/>
                <a:gd name="connsiteY156" fmla="*/ 81579 h 377653"/>
                <a:gd name="connsiteX157" fmla="*/ 102065 w 599830"/>
                <a:gd name="connsiteY157" fmla="*/ 85359 h 377653"/>
                <a:gd name="connsiteX158" fmla="*/ 112186 w 599830"/>
                <a:gd name="connsiteY158" fmla="*/ 99260 h 377653"/>
                <a:gd name="connsiteX159" fmla="*/ 128283 w 599830"/>
                <a:gd name="connsiteY159" fmla="*/ 101943 h 377653"/>
                <a:gd name="connsiteX160" fmla="*/ 129380 w 599830"/>
                <a:gd name="connsiteY160" fmla="*/ 112308 h 377653"/>
                <a:gd name="connsiteX161" fmla="*/ 141574 w 599830"/>
                <a:gd name="connsiteY161" fmla="*/ 126941 h 377653"/>
                <a:gd name="connsiteX162" fmla="*/ 149135 w 599830"/>
                <a:gd name="connsiteY162" fmla="*/ 125966 h 377653"/>
                <a:gd name="connsiteX163" fmla="*/ 158646 w 599830"/>
                <a:gd name="connsiteY163" fmla="*/ 138160 h 377653"/>
                <a:gd name="connsiteX164" fmla="*/ 153037 w 599830"/>
                <a:gd name="connsiteY164" fmla="*/ 143769 h 377653"/>
                <a:gd name="connsiteX165" fmla="*/ 152305 w 599830"/>
                <a:gd name="connsiteY165" fmla="*/ 150964 h 377653"/>
                <a:gd name="connsiteX166" fmla="*/ 162182 w 599830"/>
                <a:gd name="connsiteY166" fmla="*/ 155963 h 377653"/>
                <a:gd name="connsiteX167" fmla="*/ 173035 w 599830"/>
                <a:gd name="connsiteY167" fmla="*/ 158890 h 377653"/>
                <a:gd name="connsiteX168" fmla="*/ 179498 w 599830"/>
                <a:gd name="connsiteY168" fmla="*/ 166328 h 377653"/>
                <a:gd name="connsiteX169" fmla="*/ 182303 w 599830"/>
                <a:gd name="connsiteY169" fmla="*/ 176571 h 377653"/>
                <a:gd name="connsiteX170" fmla="*/ 190839 w 599830"/>
                <a:gd name="connsiteY170" fmla="*/ 185229 h 377653"/>
                <a:gd name="connsiteX171" fmla="*/ 191692 w 599830"/>
                <a:gd name="connsiteY171" fmla="*/ 185229 h 377653"/>
                <a:gd name="connsiteX172" fmla="*/ 195960 w 599830"/>
                <a:gd name="connsiteY172" fmla="*/ 186083 h 377653"/>
                <a:gd name="connsiteX173" fmla="*/ 203764 w 599830"/>
                <a:gd name="connsiteY173" fmla="*/ 199862 h 377653"/>
                <a:gd name="connsiteX174" fmla="*/ 223885 w 599830"/>
                <a:gd name="connsiteY174" fmla="*/ 219007 h 377653"/>
                <a:gd name="connsiteX175" fmla="*/ 225836 w 599830"/>
                <a:gd name="connsiteY175" fmla="*/ 226933 h 377653"/>
                <a:gd name="connsiteX176" fmla="*/ 234494 w 599830"/>
                <a:gd name="connsiteY176" fmla="*/ 242420 h 377653"/>
                <a:gd name="connsiteX177" fmla="*/ 232543 w 599830"/>
                <a:gd name="connsiteY177" fmla="*/ 260589 h 377653"/>
                <a:gd name="connsiteX178" fmla="*/ 227543 w 599830"/>
                <a:gd name="connsiteY178" fmla="*/ 268028 h 377653"/>
                <a:gd name="connsiteX179" fmla="*/ 231567 w 599830"/>
                <a:gd name="connsiteY179" fmla="*/ 272052 h 377653"/>
                <a:gd name="connsiteX180" fmla="*/ 232421 w 599830"/>
                <a:gd name="connsiteY180" fmla="*/ 278393 h 377653"/>
                <a:gd name="connsiteX181" fmla="*/ 242664 w 599830"/>
                <a:gd name="connsiteY181" fmla="*/ 284368 h 377653"/>
                <a:gd name="connsiteX182" fmla="*/ 252419 w 599830"/>
                <a:gd name="connsiteY182" fmla="*/ 287417 h 377653"/>
                <a:gd name="connsiteX183" fmla="*/ 261443 w 599830"/>
                <a:gd name="connsiteY183" fmla="*/ 293392 h 377653"/>
                <a:gd name="connsiteX184" fmla="*/ 265955 w 599830"/>
                <a:gd name="connsiteY184" fmla="*/ 303269 h 377653"/>
                <a:gd name="connsiteX185" fmla="*/ 276564 w 599830"/>
                <a:gd name="connsiteY185" fmla="*/ 305098 h 377653"/>
                <a:gd name="connsiteX186" fmla="*/ 287904 w 599830"/>
                <a:gd name="connsiteY186" fmla="*/ 311683 h 377653"/>
                <a:gd name="connsiteX187" fmla="*/ 300098 w 599830"/>
                <a:gd name="connsiteY187" fmla="*/ 313634 h 377653"/>
                <a:gd name="connsiteX188" fmla="*/ 309976 w 599830"/>
                <a:gd name="connsiteY188" fmla="*/ 320463 h 377653"/>
                <a:gd name="connsiteX189" fmla="*/ 320584 w 599830"/>
                <a:gd name="connsiteY189" fmla="*/ 327291 h 377653"/>
                <a:gd name="connsiteX190" fmla="*/ 326803 w 599830"/>
                <a:gd name="connsiteY190" fmla="*/ 333510 h 377653"/>
                <a:gd name="connsiteX191" fmla="*/ 336193 w 599830"/>
                <a:gd name="connsiteY191" fmla="*/ 335339 h 377653"/>
                <a:gd name="connsiteX192" fmla="*/ 340827 w 599830"/>
                <a:gd name="connsiteY192" fmla="*/ 339973 h 377653"/>
                <a:gd name="connsiteX193" fmla="*/ 355704 w 599830"/>
                <a:gd name="connsiteY193" fmla="*/ 340949 h 377653"/>
                <a:gd name="connsiteX194" fmla="*/ 367898 w 599830"/>
                <a:gd name="connsiteY194" fmla="*/ 349241 h 377653"/>
                <a:gd name="connsiteX195" fmla="*/ 373507 w 599830"/>
                <a:gd name="connsiteY195" fmla="*/ 348387 h 377653"/>
                <a:gd name="connsiteX196" fmla="*/ 384238 w 599830"/>
                <a:gd name="connsiteY196" fmla="*/ 354240 h 377653"/>
                <a:gd name="connsiteX197" fmla="*/ 394847 w 599830"/>
                <a:gd name="connsiteY197" fmla="*/ 356192 h 377653"/>
                <a:gd name="connsiteX198" fmla="*/ 400212 w 599830"/>
                <a:gd name="connsiteY198" fmla="*/ 360582 h 377653"/>
                <a:gd name="connsiteX199" fmla="*/ 419723 w 599830"/>
                <a:gd name="connsiteY199" fmla="*/ 358021 h 377653"/>
                <a:gd name="connsiteX200" fmla="*/ 441551 w 599830"/>
                <a:gd name="connsiteY200" fmla="*/ 345826 h 377653"/>
                <a:gd name="connsiteX201" fmla="*/ 448867 w 599830"/>
                <a:gd name="connsiteY201" fmla="*/ 345826 h 377653"/>
                <a:gd name="connsiteX202" fmla="*/ 453745 w 599830"/>
                <a:gd name="connsiteY202" fmla="*/ 351680 h 377653"/>
                <a:gd name="connsiteX203" fmla="*/ 468500 w 599830"/>
                <a:gd name="connsiteY203" fmla="*/ 354606 h 377653"/>
                <a:gd name="connsiteX204" fmla="*/ 470573 w 599830"/>
                <a:gd name="connsiteY204" fmla="*/ 363874 h 377653"/>
                <a:gd name="connsiteX205" fmla="*/ 485815 w 599830"/>
                <a:gd name="connsiteY205" fmla="*/ 377653 h 377653"/>
                <a:gd name="connsiteX206" fmla="*/ 489474 w 599830"/>
                <a:gd name="connsiteY206" fmla="*/ 364849 h 377653"/>
                <a:gd name="connsiteX207" fmla="*/ 491790 w 599830"/>
                <a:gd name="connsiteY207" fmla="*/ 356435 h 377653"/>
                <a:gd name="connsiteX208" fmla="*/ 493010 w 599830"/>
                <a:gd name="connsiteY208" fmla="*/ 352045 h 37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599830" h="377653">
                  <a:moveTo>
                    <a:pt x="497278" y="351314"/>
                  </a:moveTo>
                  <a:lnTo>
                    <a:pt x="515447" y="351314"/>
                  </a:lnTo>
                  <a:lnTo>
                    <a:pt x="522520" y="351314"/>
                  </a:lnTo>
                  <a:lnTo>
                    <a:pt x="528495" y="348631"/>
                  </a:lnTo>
                  <a:lnTo>
                    <a:pt x="528495" y="345948"/>
                  </a:lnTo>
                  <a:lnTo>
                    <a:pt x="515569" y="335339"/>
                  </a:lnTo>
                  <a:lnTo>
                    <a:pt x="509594" y="330218"/>
                  </a:lnTo>
                  <a:lnTo>
                    <a:pt x="515935" y="325706"/>
                  </a:lnTo>
                  <a:lnTo>
                    <a:pt x="519837" y="322780"/>
                  </a:lnTo>
                  <a:lnTo>
                    <a:pt x="519837" y="307171"/>
                  </a:lnTo>
                  <a:lnTo>
                    <a:pt x="526178" y="307171"/>
                  </a:lnTo>
                  <a:lnTo>
                    <a:pt x="538372" y="307171"/>
                  </a:lnTo>
                  <a:lnTo>
                    <a:pt x="545323" y="307171"/>
                  </a:lnTo>
                  <a:lnTo>
                    <a:pt x="546420" y="307171"/>
                  </a:lnTo>
                  <a:lnTo>
                    <a:pt x="553737" y="310585"/>
                  </a:lnTo>
                  <a:lnTo>
                    <a:pt x="559346" y="302537"/>
                  </a:lnTo>
                  <a:lnTo>
                    <a:pt x="561541" y="299245"/>
                  </a:lnTo>
                  <a:lnTo>
                    <a:pt x="565443" y="299976"/>
                  </a:lnTo>
                  <a:lnTo>
                    <a:pt x="574101" y="301684"/>
                  </a:lnTo>
                  <a:lnTo>
                    <a:pt x="577759" y="302293"/>
                  </a:lnTo>
                  <a:lnTo>
                    <a:pt x="581539" y="303025"/>
                  </a:lnTo>
                  <a:lnTo>
                    <a:pt x="584954" y="298391"/>
                  </a:lnTo>
                  <a:lnTo>
                    <a:pt x="585564" y="294123"/>
                  </a:lnTo>
                  <a:lnTo>
                    <a:pt x="584832" y="273271"/>
                  </a:lnTo>
                  <a:lnTo>
                    <a:pt x="593734" y="255468"/>
                  </a:lnTo>
                  <a:lnTo>
                    <a:pt x="599831" y="246932"/>
                  </a:lnTo>
                  <a:lnTo>
                    <a:pt x="594587" y="240591"/>
                  </a:lnTo>
                  <a:lnTo>
                    <a:pt x="585198" y="241932"/>
                  </a:lnTo>
                  <a:lnTo>
                    <a:pt x="579345" y="239006"/>
                  </a:lnTo>
                  <a:lnTo>
                    <a:pt x="563492" y="239006"/>
                  </a:lnTo>
                  <a:lnTo>
                    <a:pt x="548981" y="249127"/>
                  </a:lnTo>
                  <a:lnTo>
                    <a:pt x="539592" y="246444"/>
                  </a:lnTo>
                  <a:lnTo>
                    <a:pt x="532275" y="257419"/>
                  </a:lnTo>
                  <a:lnTo>
                    <a:pt x="530812" y="278880"/>
                  </a:lnTo>
                  <a:lnTo>
                    <a:pt x="516545" y="294611"/>
                  </a:lnTo>
                  <a:lnTo>
                    <a:pt x="514959" y="302537"/>
                  </a:lnTo>
                  <a:lnTo>
                    <a:pt x="476426" y="309854"/>
                  </a:lnTo>
                  <a:lnTo>
                    <a:pt x="466549" y="308512"/>
                  </a:lnTo>
                  <a:lnTo>
                    <a:pt x="454354" y="311439"/>
                  </a:lnTo>
                  <a:lnTo>
                    <a:pt x="438502" y="302781"/>
                  </a:lnTo>
                  <a:lnTo>
                    <a:pt x="433137" y="302781"/>
                  </a:lnTo>
                  <a:lnTo>
                    <a:pt x="427161" y="298269"/>
                  </a:lnTo>
                  <a:lnTo>
                    <a:pt x="416553" y="293757"/>
                  </a:lnTo>
                  <a:lnTo>
                    <a:pt x="413504" y="284612"/>
                  </a:lnTo>
                  <a:lnTo>
                    <a:pt x="405090" y="273271"/>
                  </a:lnTo>
                  <a:lnTo>
                    <a:pt x="396554" y="257785"/>
                  </a:lnTo>
                  <a:lnTo>
                    <a:pt x="386555" y="240347"/>
                  </a:lnTo>
                  <a:lnTo>
                    <a:pt x="379360" y="218763"/>
                  </a:lnTo>
                  <a:lnTo>
                    <a:pt x="379360" y="199497"/>
                  </a:lnTo>
                  <a:lnTo>
                    <a:pt x="380702" y="173279"/>
                  </a:lnTo>
                  <a:lnTo>
                    <a:pt x="392042" y="154866"/>
                  </a:lnTo>
                  <a:lnTo>
                    <a:pt x="392042" y="150720"/>
                  </a:lnTo>
                  <a:lnTo>
                    <a:pt x="390945" y="150720"/>
                  </a:lnTo>
                  <a:lnTo>
                    <a:pt x="384848" y="149622"/>
                  </a:lnTo>
                  <a:lnTo>
                    <a:pt x="374848" y="147671"/>
                  </a:lnTo>
                  <a:lnTo>
                    <a:pt x="373385" y="147671"/>
                  </a:lnTo>
                  <a:lnTo>
                    <a:pt x="372166" y="146818"/>
                  </a:lnTo>
                  <a:lnTo>
                    <a:pt x="350460" y="129868"/>
                  </a:lnTo>
                  <a:lnTo>
                    <a:pt x="348753" y="128526"/>
                  </a:lnTo>
                  <a:lnTo>
                    <a:pt x="348753" y="126332"/>
                  </a:lnTo>
                  <a:lnTo>
                    <a:pt x="346314" y="114991"/>
                  </a:lnTo>
                  <a:lnTo>
                    <a:pt x="328511" y="86701"/>
                  </a:lnTo>
                  <a:lnTo>
                    <a:pt x="320950" y="74506"/>
                  </a:lnTo>
                  <a:lnTo>
                    <a:pt x="294367" y="61215"/>
                  </a:lnTo>
                  <a:lnTo>
                    <a:pt x="288148" y="66092"/>
                  </a:lnTo>
                  <a:lnTo>
                    <a:pt x="285587" y="68043"/>
                  </a:lnTo>
                  <a:lnTo>
                    <a:pt x="285587" y="68897"/>
                  </a:lnTo>
                  <a:lnTo>
                    <a:pt x="286685" y="74141"/>
                  </a:lnTo>
                  <a:lnTo>
                    <a:pt x="287538" y="78165"/>
                  </a:lnTo>
                  <a:lnTo>
                    <a:pt x="284124" y="80482"/>
                  </a:lnTo>
                  <a:lnTo>
                    <a:pt x="281929" y="81945"/>
                  </a:lnTo>
                  <a:lnTo>
                    <a:pt x="279368" y="83652"/>
                  </a:lnTo>
                  <a:lnTo>
                    <a:pt x="276442" y="82555"/>
                  </a:lnTo>
                  <a:lnTo>
                    <a:pt x="264247" y="78165"/>
                  </a:lnTo>
                  <a:lnTo>
                    <a:pt x="263028" y="78165"/>
                  </a:lnTo>
                  <a:lnTo>
                    <a:pt x="262174" y="77311"/>
                  </a:lnTo>
                  <a:lnTo>
                    <a:pt x="247419" y="63288"/>
                  </a:lnTo>
                  <a:lnTo>
                    <a:pt x="245834" y="61702"/>
                  </a:lnTo>
                  <a:lnTo>
                    <a:pt x="245834" y="59386"/>
                  </a:lnTo>
                  <a:lnTo>
                    <a:pt x="244615" y="43899"/>
                  </a:lnTo>
                  <a:lnTo>
                    <a:pt x="239737" y="39021"/>
                  </a:lnTo>
                  <a:lnTo>
                    <a:pt x="232665" y="39021"/>
                  </a:lnTo>
                  <a:lnTo>
                    <a:pt x="230957" y="37314"/>
                  </a:lnTo>
                  <a:lnTo>
                    <a:pt x="213642" y="20242"/>
                  </a:lnTo>
                  <a:lnTo>
                    <a:pt x="204740" y="18291"/>
                  </a:lnTo>
                  <a:lnTo>
                    <a:pt x="195472" y="16340"/>
                  </a:lnTo>
                  <a:lnTo>
                    <a:pt x="180108" y="16340"/>
                  </a:lnTo>
                  <a:lnTo>
                    <a:pt x="177181" y="24632"/>
                  </a:lnTo>
                  <a:lnTo>
                    <a:pt x="176084" y="27559"/>
                  </a:lnTo>
                  <a:lnTo>
                    <a:pt x="173035" y="28412"/>
                  </a:lnTo>
                  <a:lnTo>
                    <a:pt x="165353" y="30485"/>
                  </a:lnTo>
                  <a:lnTo>
                    <a:pt x="155963" y="33046"/>
                  </a:lnTo>
                  <a:lnTo>
                    <a:pt x="155110" y="33046"/>
                  </a:lnTo>
                  <a:lnTo>
                    <a:pt x="154256" y="33046"/>
                  </a:lnTo>
                  <a:lnTo>
                    <a:pt x="112186" y="32437"/>
                  </a:lnTo>
                  <a:lnTo>
                    <a:pt x="111211" y="32437"/>
                  </a:lnTo>
                  <a:lnTo>
                    <a:pt x="100358" y="30364"/>
                  </a:lnTo>
                  <a:lnTo>
                    <a:pt x="99260" y="30364"/>
                  </a:lnTo>
                  <a:lnTo>
                    <a:pt x="98285" y="30364"/>
                  </a:lnTo>
                  <a:lnTo>
                    <a:pt x="81213" y="19754"/>
                  </a:lnTo>
                  <a:lnTo>
                    <a:pt x="71214" y="13657"/>
                  </a:lnTo>
                  <a:lnTo>
                    <a:pt x="63897" y="10243"/>
                  </a:lnTo>
                  <a:lnTo>
                    <a:pt x="41704" y="0"/>
                  </a:lnTo>
                  <a:lnTo>
                    <a:pt x="8780" y="1341"/>
                  </a:lnTo>
                  <a:lnTo>
                    <a:pt x="7073" y="1951"/>
                  </a:lnTo>
                  <a:lnTo>
                    <a:pt x="0" y="4146"/>
                  </a:lnTo>
                  <a:lnTo>
                    <a:pt x="1097" y="8902"/>
                  </a:lnTo>
                  <a:lnTo>
                    <a:pt x="4756" y="24388"/>
                  </a:lnTo>
                  <a:lnTo>
                    <a:pt x="25486" y="45240"/>
                  </a:lnTo>
                  <a:lnTo>
                    <a:pt x="28412" y="55727"/>
                  </a:lnTo>
                  <a:lnTo>
                    <a:pt x="35363" y="65239"/>
                  </a:lnTo>
                  <a:lnTo>
                    <a:pt x="40850" y="67068"/>
                  </a:lnTo>
                  <a:lnTo>
                    <a:pt x="57800" y="84993"/>
                  </a:lnTo>
                  <a:lnTo>
                    <a:pt x="58898" y="94261"/>
                  </a:lnTo>
                  <a:lnTo>
                    <a:pt x="59995" y="112674"/>
                  </a:lnTo>
                  <a:lnTo>
                    <a:pt x="42923" y="112674"/>
                  </a:lnTo>
                  <a:lnTo>
                    <a:pt x="61337" y="125600"/>
                  </a:lnTo>
                  <a:lnTo>
                    <a:pt x="73531" y="130356"/>
                  </a:lnTo>
                  <a:lnTo>
                    <a:pt x="88286" y="140233"/>
                  </a:lnTo>
                  <a:lnTo>
                    <a:pt x="91822" y="144623"/>
                  </a:lnTo>
                  <a:lnTo>
                    <a:pt x="96090" y="150110"/>
                  </a:lnTo>
                  <a:lnTo>
                    <a:pt x="99870" y="169987"/>
                  </a:lnTo>
                  <a:lnTo>
                    <a:pt x="109625" y="182181"/>
                  </a:lnTo>
                  <a:lnTo>
                    <a:pt x="117918" y="184985"/>
                  </a:lnTo>
                  <a:lnTo>
                    <a:pt x="135843" y="200960"/>
                  </a:lnTo>
                  <a:lnTo>
                    <a:pt x="135843" y="202423"/>
                  </a:lnTo>
                  <a:lnTo>
                    <a:pt x="137306" y="213520"/>
                  </a:lnTo>
                  <a:lnTo>
                    <a:pt x="143769" y="211691"/>
                  </a:lnTo>
                  <a:lnTo>
                    <a:pt x="143769" y="204374"/>
                  </a:lnTo>
                  <a:lnTo>
                    <a:pt x="139379" y="195594"/>
                  </a:lnTo>
                  <a:lnTo>
                    <a:pt x="132185" y="186571"/>
                  </a:lnTo>
                  <a:lnTo>
                    <a:pt x="124258" y="181571"/>
                  </a:lnTo>
                  <a:lnTo>
                    <a:pt x="120356" y="169377"/>
                  </a:lnTo>
                  <a:lnTo>
                    <a:pt x="113650" y="159744"/>
                  </a:lnTo>
                  <a:lnTo>
                    <a:pt x="110845" y="152183"/>
                  </a:lnTo>
                  <a:lnTo>
                    <a:pt x="105236" y="135477"/>
                  </a:lnTo>
                  <a:lnTo>
                    <a:pt x="84506" y="111820"/>
                  </a:lnTo>
                  <a:lnTo>
                    <a:pt x="82554" y="105236"/>
                  </a:lnTo>
                  <a:lnTo>
                    <a:pt x="73897" y="96578"/>
                  </a:lnTo>
                  <a:lnTo>
                    <a:pt x="73897" y="89017"/>
                  </a:lnTo>
                  <a:lnTo>
                    <a:pt x="44753" y="58776"/>
                  </a:lnTo>
                  <a:lnTo>
                    <a:pt x="41704" y="52801"/>
                  </a:lnTo>
                  <a:lnTo>
                    <a:pt x="37802" y="16218"/>
                  </a:lnTo>
                  <a:lnTo>
                    <a:pt x="37802" y="16218"/>
                  </a:lnTo>
                  <a:lnTo>
                    <a:pt x="44265" y="13048"/>
                  </a:lnTo>
                  <a:lnTo>
                    <a:pt x="51093" y="19877"/>
                  </a:lnTo>
                  <a:lnTo>
                    <a:pt x="58532" y="18291"/>
                  </a:lnTo>
                  <a:lnTo>
                    <a:pt x="64141" y="16828"/>
                  </a:lnTo>
                  <a:lnTo>
                    <a:pt x="64141" y="16828"/>
                  </a:lnTo>
                  <a:lnTo>
                    <a:pt x="66336" y="23657"/>
                  </a:lnTo>
                  <a:lnTo>
                    <a:pt x="67190" y="25974"/>
                  </a:lnTo>
                  <a:lnTo>
                    <a:pt x="73775" y="26827"/>
                  </a:lnTo>
                  <a:lnTo>
                    <a:pt x="78165" y="39021"/>
                  </a:lnTo>
                  <a:lnTo>
                    <a:pt x="75482" y="47923"/>
                  </a:lnTo>
                  <a:lnTo>
                    <a:pt x="83530" y="55971"/>
                  </a:lnTo>
                  <a:lnTo>
                    <a:pt x="87310" y="69385"/>
                  </a:lnTo>
                  <a:lnTo>
                    <a:pt x="96334" y="81579"/>
                  </a:lnTo>
                  <a:lnTo>
                    <a:pt x="102065" y="85359"/>
                  </a:lnTo>
                  <a:lnTo>
                    <a:pt x="112186" y="99260"/>
                  </a:lnTo>
                  <a:lnTo>
                    <a:pt x="128283" y="101943"/>
                  </a:lnTo>
                  <a:lnTo>
                    <a:pt x="129380" y="112308"/>
                  </a:lnTo>
                  <a:lnTo>
                    <a:pt x="141574" y="126941"/>
                  </a:lnTo>
                  <a:lnTo>
                    <a:pt x="149135" y="125966"/>
                  </a:lnTo>
                  <a:lnTo>
                    <a:pt x="158646" y="138160"/>
                  </a:lnTo>
                  <a:lnTo>
                    <a:pt x="153037" y="143769"/>
                  </a:lnTo>
                  <a:lnTo>
                    <a:pt x="152305" y="150964"/>
                  </a:lnTo>
                  <a:lnTo>
                    <a:pt x="162182" y="155963"/>
                  </a:lnTo>
                  <a:lnTo>
                    <a:pt x="173035" y="158890"/>
                  </a:lnTo>
                  <a:lnTo>
                    <a:pt x="179498" y="166328"/>
                  </a:lnTo>
                  <a:lnTo>
                    <a:pt x="182303" y="176571"/>
                  </a:lnTo>
                  <a:lnTo>
                    <a:pt x="190839" y="185229"/>
                  </a:lnTo>
                  <a:lnTo>
                    <a:pt x="191692" y="185229"/>
                  </a:lnTo>
                  <a:lnTo>
                    <a:pt x="195960" y="186083"/>
                  </a:lnTo>
                  <a:lnTo>
                    <a:pt x="203764" y="199862"/>
                  </a:lnTo>
                  <a:lnTo>
                    <a:pt x="223885" y="219007"/>
                  </a:lnTo>
                  <a:lnTo>
                    <a:pt x="225836" y="226933"/>
                  </a:lnTo>
                  <a:lnTo>
                    <a:pt x="234494" y="242420"/>
                  </a:lnTo>
                  <a:lnTo>
                    <a:pt x="232543" y="260589"/>
                  </a:lnTo>
                  <a:lnTo>
                    <a:pt x="227543" y="268028"/>
                  </a:lnTo>
                  <a:lnTo>
                    <a:pt x="231567" y="272052"/>
                  </a:lnTo>
                  <a:lnTo>
                    <a:pt x="232421" y="278393"/>
                  </a:lnTo>
                  <a:lnTo>
                    <a:pt x="242664" y="284368"/>
                  </a:lnTo>
                  <a:lnTo>
                    <a:pt x="252419" y="287417"/>
                  </a:lnTo>
                  <a:lnTo>
                    <a:pt x="261443" y="293392"/>
                  </a:lnTo>
                  <a:lnTo>
                    <a:pt x="265955" y="303269"/>
                  </a:lnTo>
                  <a:lnTo>
                    <a:pt x="276564" y="305098"/>
                  </a:lnTo>
                  <a:lnTo>
                    <a:pt x="287904" y="311683"/>
                  </a:lnTo>
                  <a:lnTo>
                    <a:pt x="300098" y="313634"/>
                  </a:lnTo>
                  <a:lnTo>
                    <a:pt x="309976" y="320463"/>
                  </a:lnTo>
                  <a:lnTo>
                    <a:pt x="320584" y="327291"/>
                  </a:lnTo>
                  <a:lnTo>
                    <a:pt x="326803" y="333510"/>
                  </a:lnTo>
                  <a:lnTo>
                    <a:pt x="336193" y="335339"/>
                  </a:lnTo>
                  <a:lnTo>
                    <a:pt x="340827" y="339973"/>
                  </a:lnTo>
                  <a:lnTo>
                    <a:pt x="355704" y="340949"/>
                  </a:lnTo>
                  <a:lnTo>
                    <a:pt x="367898" y="349241"/>
                  </a:lnTo>
                  <a:lnTo>
                    <a:pt x="373507" y="348387"/>
                  </a:lnTo>
                  <a:lnTo>
                    <a:pt x="384238" y="354240"/>
                  </a:lnTo>
                  <a:lnTo>
                    <a:pt x="394847" y="356192"/>
                  </a:lnTo>
                  <a:lnTo>
                    <a:pt x="400212" y="360582"/>
                  </a:lnTo>
                  <a:lnTo>
                    <a:pt x="419723" y="358021"/>
                  </a:lnTo>
                  <a:lnTo>
                    <a:pt x="441551" y="345826"/>
                  </a:lnTo>
                  <a:lnTo>
                    <a:pt x="448867" y="345826"/>
                  </a:lnTo>
                  <a:lnTo>
                    <a:pt x="453745" y="351680"/>
                  </a:lnTo>
                  <a:lnTo>
                    <a:pt x="468500" y="354606"/>
                  </a:lnTo>
                  <a:lnTo>
                    <a:pt x="470573" y="363874"/>
                  </a:lnTo>
                  <a:lnTo>
                    <a:pt x="485815" y="377653"/>
                  </a:lnTo>
                  <a:lnTo>
                    <a:pt x="489474" y="364849"/>
                  </a:lnTo>
                  <a:lnTo>
                    <a:pt x="491790" y="356435"/>
                  </a:lnTo>
                  <a:lnTo>
                    <a:pt x="493010" y="35204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3" name="Freihandform: Form 562">
              <a:extLst>
                <a:ext uri="{FF2B5EF4-FFF2-40B4-BE49-F238E27FC236}">
                  <a16:creationId xmlns:a16="http://schemas.microsoft.com/office/drawing/2014/main" id="{2F161EA6-44D6-42BC-9E61-6100B19F76BF}"/>
                </a:ext>
              </a:extLst>
            </p:cNvPr>
            <p:cNvSpPr/>
            <p:nvPr/>
          </p:nvSpPr>
          <p:spPr>
            <a:xfrm>
              <a:off x="2635201" y="3157826"/>
              <a:ext cx="35485" cy="19998"/>
            </a:xfrm>
            <a:custGeom>
              <a:avLst/>
              <a:gdLst>
                <a:gd name="connsiteX0" fmla="*/ 26583 w 35485"/>
                <a:gd name="connsiteY0" fmla="*/ 5609 h 19998"/>
                <a:gd name="connsiteX1" fmla="*/ 17316 w 35485"/>
                <a:gd name="connsiteY1" fmla="*/ 3170 h 19998"/>
                <a:gd name="connsiteX2" fmla="*/ 7926 w 35485"/>
                <a:gd name="connsiteY2" fmla="*/ 610 h 19998"/>
                <a:gd name="connsiteX3" fmla="*/ 5609 w 35485"/>
                <a:gd name="connsiteY3" fmla="*/ 0 h 19998"/>
                <a:gd name="connsiteX4" fmla="*/ 0 w 35485"/>
                <a:gd name="connsiteY4" fmla="*/ 5731 h 19998"/>
                <a:gd name="connsiteX5" fmla="*/ 26218 w 35485"/>
                <a:gd name="connsiteY5" fmla="*/ 19998 h 19998"/>
                <a:gd name="connsiteX6" fmla="*/ 33534 w 35485"/>
                <a:gd name="connsiteY6" fmla="*/ 17560 h 19998"/>
                <a:gd name="connsiteX7" fmla="*/ 35485 w 35485"/>
                <a:gd name="connsiteY7" fmla="*/ 16218 h 19998"/>
                <a:gd name="connsiteX8" fmla="*/ 28778 w 35485"/>
                <a:gd name="connsiteY8" fmla="*/ 8170 h 19998"/>
                <a:gd name="connsiteX9" fmla="*/ 26583 w 35485"/>
                <a:gd name="connsiteY9" fmla="*/ 5609 h 1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85" h="19998">
                  <a:moveTo>
                    <a:pt x="26583" y="5609"/>
                  </a:moveTo>
                  <a:lnTo>
                    <a:pt x="17316" y="3170"/>
                  </a:lnTo>
                  <a:lnTo>
                    <a:pt x="7926" y="610"/>
                  </a:lnTo>
                  <a:lnTo>
                    <a:pt x="5609" y="0"/>
                  </a:lnTo>
                  <a:lnTo>
                    <a:pt x="0" y="5731"/>
                  </a:lnTo>
                  <a:lnTo>
                    <a:pt x="26218" y="19998"/>
                  </a:lnTo>
                  <a:lnTo>
                    <a:pt x="33534" y="17560"/>
                  </a:lnTo>
                  <a:lnTo>
                    <a:pt x="35485" y="16218"/>
                  </a:lnTo>
                  <a:lnTo>
                    <a:pt x="28778" y="8170"/>
                  </a:lnTo>
                  <a:lnTo>
                    <a:pt x="26583" y="56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4" name="Freihandform: Form 563">
              <a:extLst>
                <a:ext uri="{FF2B5EF4-FFF2-40B4-BE49-F238E27FC236}">
                  <a16:creationId xmlns:a16="http://schemas.microsoft.com/office/drawing/2014/main" id="{F63561C4-EAE7-4B53-A4E4-FFDAE248D372}"/>
                </a:ext>
              </a:extLst>
            </p:cNvPr>
            <p:cNvSpPr/>
            <p:nvPr/>
          </p:nvSpPr>
          <p:spPr>
            <a:xfrm>
              <a:off x="2803480" y="3444999"/>
              <a:ext cx="241932" cy="365337"/>
            </a:xfrm>
            <a:custGeom>
              <a:avLst/>
              <a:gdLst>
                <a:gd name="connsiteX0" fmla="*/ 113528 w 241932"/>
                <a:gd name="connsiteY0" fmla="*/ 300098 h 365337"/>
                <a:gd name="connsiteX1" fmla="*/ 132673 w 241932"/>
                <a:gd name="connsiteY1" fmla="*/ 315097 h 365337"/>
                <a:gd name="connsiteX2" fmla="*/ 147062 w 241932"/>
                <a:gd name="connsiteY2" fmla="*/ 315097 h 365337"/>
                <a:gd name="connsiteX3" fmla="*/ 166938 w 241932"/>
                <a:gd name="connsiteY3" fmla="*/ 337900 h 365337"/>
                <a:gd name="connsiteX4" fmla="*/ 168279 w 241932"/>
                <a:gd name="connsiteY4" fmla="*/ 338022 h 365337"/>
                <a:gd name="connsiteX5" fmla="*/ 181083 w 241932"/>
                <a:gd name="connsiteY5" fmla="*/ 339242 h 365337"/>
                <a:gd name="connsiteX6" fmla="*/ 208398 w 241932"/>
                <a:gd name="connsiteY6" fmla="*/ 365337 h 365337"/>
                <a:gd name="connsiteX7" fmla="*/ 209861 w 241932"/>
                <a:gd name="connsiteY7" fmla="*/ 363630 h 365337"/>
                <a:gd name="connsiteX8" fmla="*/ 220470 w 241932"/>
                <a:gd name="connsiteY8" fmla="*/ 351802 h 365337"/>
                <a:gd name="connsiteX9" fmla="*/ 221080 w 241932"/>
                <a:gd name="connsiteY9" fmla="*/ 351070 h 365337"/>
                <a:gd name="connsiteX10" fmla="*/ 221568 w 241932"/>
                <a:gd name="connsiteY10" fmla="*/ 349973 h 365337"/>
                <a:gd name="connsiteX11" fmla="*/ 230835 w 241932"/>
                <a:gd name="connsiteY11" fmla="*/ 327291 h 365337"/>
                <a:gd name="connsiteX12" fmla="*/ 223885 w 241932"/>
                <a:gd name="connsiteY12" fmla="*/ 294367 h 365337"/>
                <a:gd name="connsiteX13" fmla="*/ 222787 w 241932"/>
                <a:gd name="connsiteY13" fmla="*/ 289124 h 365337"/>
                <a:gd name="connsiteX14" fmla="*/ 227787 w 241932"/>
                <a:gd name="connsiteY14" fmla="*/ 287295 h 365337"/>
                <a:gd name="connsiteX15" fmla="*/ 236201 w 241932"/>
                <a:gd name="connsiteY15" fmla="*/ 284368 h 365337"/>
                <a:gd name="connsiteX16" fmla="*/ 234738 w 241932"/>
                <a:gd name="connsiteY16" fmla="*/ 275466 h 365337"/>
                <a:gd name="connsiteX17" fmla="*/ 232177 w 241932"/>
                <a:gd name="connsiteY17" fmla="*/ 259980 h 365337"/>
                <a:gd name="connsiteX18" fmla="*/ 231445 w 241932"/>
                <a:gd name="connsiteY18" fmla="*/ 255346 h 365337"/>
                <a:gd name="connsiteX19" fmla="*/ 235713 w 241932"/>
                <a:gd name="connsiteY19" fmla="*/ 253395 h 365337"/>
                <a:gd name="connsiteX20" fmla="*/ 238640 w 241932"/>
                <a:gd name="connsiteY20" fmla="*/ 252054 h 365337"/>
                <a:gd name="connsiteX21" fmla="*/ 241932 w 241932"/>
                <a:gd name="connsiteY21" fmla="*/ 250590 h 365337"/>
                <a:gd name="connsiteX22" fmla="*/ 241932 w 241932"/>
                <a:gd name="connsiteY22" fmla="*/ 250102 h 365337"/>
                <a:gd name="connsiteX23" fmla="*/ 241566 w 241932"/>
                <a:gd name="connsiteY23" fmla="*/ 246932 h 365337"/>
                <a:gd name="connsiteX24" fmla="*/ 225470 w 241932"/>
                <a:gd name="connsiteY24" fmla="*/ 226080 h 365337"/>
                <a:gd name="connsiteX25" fmla="*/ 224007 w 241932"/>
                <a:gd name="connsiteY25" fmla="*/ 224251 h 365337"/>
                <a:gd name="connsiteX26" fmla="*/ 208642 w 241932"/>
                <a:gd name="connsiteY26" fmla="*/ 219373 h 365337"/>
                <a:gd name="connsiteX27" fmla="*/ 204740 w 241932"/>
                <a:gd name="connsiteY27" fmla="*/ 218154 h 365337"/>
                <a:gd name="connsiteX28" fmla="*/ 204374 w 241932"/>
                <a:gd name="connsiteY28" fmla="*/ 214130 h 365337"/>
                <a:gd name="connsiteX29" fmla="*/ 204252 w 241932"/>
                <a:gd name="connsiteY29" fmla="*/ 212666 h 365337"/>
                <a:gd name="connsiteX30" fmla="*/ 202667 w 241932"/>
                <a:gd name="connsiteY30" fmla="*/ 193278 h 365337"/>
                <a:gd name="connsiteX31" fmla="*/ 201935 w 241932"/>
                <a:gd name="connsiteY31" fmla="*/ 192424 h 365337"/>
                <a:gd name="connsiteX32" fmla="*/ 200350 w 241932"/>
                <a:gd name="connsiteY32" fmla="*/ 190961 h 365337"/>
                <a:gd name="connsiteX33" fmla="*/ 166328 w 241932"/>
                <a:gd name="connsiteY33" fmla="*/ 193522 h 365337"/>
                <a:gd name="connsiteX34" fmla="*/ 163402 w 241932"/>
                <a:gd name="connsiteY34" fmla="*/ 193765 h 365337"/>
                <a:gd name="connsiteX35" fmla="*/ 161329 w 241932"/>
                <a:gd name="connsiteY35" fmla="*/ 191570 h 365337"/>
                <a:gd name="connsiteX36" fmla="*/ 160353 w 241932"/>
                <a:gd name="connsiteY36" fmla="*/ 190473 h 365337"/>
                <a:gd name="connsiteX37" fmla="*/ 151086 w 241932"/>
                <a:gd name="connsiteY37" fmla="*/ 180596 h 365337"/>
                <a:gd name="connsiteX38" fmla="*/ 149866 w 241932"/>
                <a:gd name="connsiteY38" fmla="*/ 179254 h 365337"/>
                <a:gd name="connsiteX39" fmla="*/ 149622 w 241932"/>
                <a:gd name="connsiteY39" fmla="*/ 177425 h 365337"/>
                <a:gd name="connsiteX40" fmla="*/ 148037 w 241932"/>
                <a:gd name="connsiteY40" fmla="*/ 168036 h 365337"/>
                <a:gd name="connsiteX41" fmla="*/ 147915 w 241932"/>
                <a:gd name="connsiteY41" fmla="*/ 167426 h 365337"/>
                <a:gd name="connsiteX42" fmla="*/ 137184 w 241932"/>
                <a:gd name="connsiteY42" fmla="*/ 143160 h 365337"/>
                <a:gd name="connsiteX43" fmla="*/ 135965 w 241932"/>
                <a:gd name="connsiteY43" fmla="*/ 140233 h 365337"/>
                <a:gd name="connsiteX44" fmla="*/ 137550 w 241932"/>
                <a:gd name="connsiteY44" fmla="*/ 137550 h 365337"/>
                <a:gd name="connsiteX45" fmla="*/ 146574 w 241932"/>
                <a:gd name="connsiteY45" fmla="*/ 122673 h 365337"/>
                <a:gd name="connsiteX46" fmla="*/ 144379 w 241932"/>
                <a:gd name="connsiteY46" fmla="*/ 110479 h 365337"/>
                <a:gd name="connsiteX47" fmla="*/ 144257 w 241932"/>
                <a:gd name="connsiteY47" fmla="*/ 109626 h 365337"/>
                <a:gd name="connsiteX48" fmla="*/ 143525 w 241932"/>
                <a:gd name="connsiteY48" fmla="*/ 105358 h 365337"/>
                <a:gd name="connsiteX49" fmla="*/ 147305 w 241932"/>
                <a:gd name="connsiteY49" fmla="*/ 103285 h 365337"/>
                <a:gd name="connsiteX50" fmla="*/ 147915 w 241932"/>
                <a:gd name="connsiteY50" fmla="*/ 102919 h 365337"/>
                <a:gd name="connsiteX51" fmla="*/ 176084 w 241932"/>
                <a:gd name="connsiteY51" fmla="*/ 87067 h 365337"/>
                <a:gd name="connsiteX52" fmla="*/ 176693 w 241932"/>
                <a:gd name="connsiteY52" fmla="*/ 86701 h 365337"/>
                <a:gd name="connsiteX53" fmla="*/ 177425 w 241932"/>
                <a:gd name="connsiteY53" fmla="*/ 86579 h 365337"/>
                <a:gd name="connsiteX54" fmla="*/ 195228 w 241932"/>
                <a:gd name="connsiteY54" fmla="*/ 81701 h 365337"/>
                <a:gd name="connsiteX55" fmla="*/ 203277 w 241932"/>
                <a:gd name="connsiteY55" fmla="*/ 79506 h 365337"/>
                <a:gd name="connsiteX56" fmla="*/ 213520 w 241932"/>
                <a:gd name="connsiteY56" fmla="*/ 77067 h 365337"/>
                <a:gd name="connsiteX57" fmla="*/ 214129 w 241932"/>
                <a:gd name="connsiteY57" fmla="*/ 76823 h 365337"/>
                <a:gd name="connsiteX58" fmla="*/ 214495 w 241932"/>
                <a:gd name="connsiteY58" fmla="*/ 73165 h 365337"/>
                <a:gd name="connsiteX59" fmla="*/ 214617 w 241932"/>
                <a:gd name="connsiteY59" fmla="*/ 71702 h 365337"/>
                <a:gd name="connsiteX60" fmla="*/ 201569 w 241932"/>
                <a:gd name="connsiteY60" fmla="*/ 71702 h 365337"/>
                <a:gd name="connsiteX61" fmla="*/ 203277 w 241932"/>
                <a:gd name="connsiteY61" fmla="*/ 64263 h 365337"/>
                <a:gd name="connsiteX62" fmla="*/ 206691 w 241932"/>
                <a:gd name="connsiteY62" fmla="*/ 50118 h 365337"/>
                <a:gd name="connsiteX63" fmla="*/ 192546 w 241932"/>
                <a:gd name="connsiteY63" fmla="*/ 43411 h 365337"/>
                <a:gd name="connsiteX64" fmla="*/ 153159 w 241932"/>
                <a:gd name="connsiteY64" fmla="*/ 46094 h 365337"/>
                <a:gd name="connsiteX65" fmla="*/ 149866 w 241932"/>
                <a:gd name="connsiteY65" fmla="*/ 46338 h 365337"/>
                <a:gd name="connsiteX66" fmla="*/ 147793 w 241932"/>
                <a:gd name="connsiteY66" fmla="*/ 43655 h 365337"/>
                <a:gd name="connsiteX67" fmla="*/ 132307 w 241932"/>
                <a:gd name="connsiteY67" fmla="*/ 22193 h 365337"/>
                <a:gd name="connsiteX68" fmla="*/ 117430 w 241932"/>
                <a:gd name="connsiteY68" fmla="*/ 1585 h 365337"/>
                <a:gd name="connsiteX69" fmla="*/ 101943 w 241932"/>
                <a:gd name="connsiteY69" fmla="*/ 0 h 365337"/>
                <a:gd name="connsiteX70" fmla="*/ 101943 w 241932"/>
                <a:gd name="connsiteY70" fmla="*/ 122 h 365337"/>
                <a:gd name="connsiteX71" fmla="*/ 113528 w 241932"/>
                <a:gd name="connsiteY71" fmla="*/ 6829 h 365337"/>
                <a:gd name="connsiteX72" fmla="*/ 117552 w 241932"/>
                <a:gd name="connsiteY72" fmla="*/ 9146 h 365337"/>
                <a:gd name="connsiteX73" fmla="*/ 116454 w 241932"/>
                <a:gd name="connsiteY73" fmla="*/ 13536 h 365337"/>
                <a:gd name="connsiteX74" fmla="*/ 114747 w 241932"/>
                <a:gd name="connsiteY74" fmla="*/ 20120 h 365337"/>
                <a:gd name="connsiteX75" fmla="*/ 114137 w 241932"/>
                <a:gd name="connsiteY75" fmla="*/ 22803 h 365337"/>
                <a:gd name="connsiteX76" fmla="*/ 113772 w 241932"/>
                <a:gd name="connsiteY76" fmla="*/ 24388 h 365337"/>
                <a:gd name="connsiteX77" fmla="*/ 112552 w 241932"/>
                <a:gd name="connsiteY77" fmla="*/ 25608 h 365337"/>
                <a:gd name="connsiteX78" fmla="*/ 107552 w 241932"/>
                <a:gd name="connsiteY78" fmla="*/ 30607 h 365337"/>
                <a:gd name="connsiteX79" fmla="*/ 95236 w 241932"/>
                <a:gd name="connsiteY79" fmla="*/ 42924 h 365337"/>
                <a:gd name="connsiteX80" fmla="*/ 94505 w 241932"/>
                <a:gd name="connsiteY80" fmla="*/ 43655 h 365337"/>
                <a:gd name="connsiteX81" fmla="*/ 93407 w 241932"/>
                <a:gd name="connsiteY81" fmla="*/ 44143 h 365337"/>
                <a:gd name="connsiteX82" fmla="*/ 87432 w 241932"/>
                <a:gd name="connsiteY82" fmla="*/ 46704 h 365337"/>
                <a:gd name="connsiteX83" fmla="*/ 70848 w 241932"/>
                <a:gd name="connsiteY83" fmla="*/ 54020 h 365337"/>
                <a:gd name="connsiteX84" fmla="*/ 47191 w 241932"/>
                <a:gd name="connsiteY84" fmla="*/ 79384 h 365337"/>
                <a:gd name="connsiteX85" fmla="*/ 48533 w 241932"/>
                <a:gd name="connsiteY85" fmla="*/ 87676 h 365337"/>
                <a:gd name="connsiteX86" fmla="*/ 49508 w 241932"/>
                <a:gd name="connsiteY86" fmla="*/ 94017 h 365337"/>
                <a:gd name="connsiteX87" fmla="*/ 43045 w 241932"/>
                <a:gd name="connsiteY87" fmla="*/ 94627 h 365337"/>
                <a:gd name="connsiteX88" fmla="*/ 42192 w 241932"/>
                <a:gd name="connsiteY88" fmla="*/ 94749 h 365337"/>
                <a:gd name="connsiteX89" fmla="*/ 36826 w 241932"/>
                <a:gd name="connsiteY89" fmla="*/ 95237 h 365337"/>
                <a:gd name="connsiteX90" fmla="*/ 34022 w 241932"/>
                <a:gd name="connsiteY90" fmla="*/ 95480 h 365337"/>
                <a:gd name="connsiteX91" fmla="*/ 31949 w 241932"/>
                <a:gd name="connsiteY91" fmla="*/ 93407 h 365337"/>
                <a:gd name="connsiteX92" fmla="*/ 24388 w 241932"/>
                <a:gd name="connsiteY92" fmla="*/ 85847 h 365337"/>
                <a:gd name="connsiteX93" fmla="*/ 6097 w 241932"/>
                <a:gd name="connsiteY93" fmla="*/ 85847 h 365337"/>
                <a:gd name="connsiteX94" fmla="*/ 4756 w 241932"/>
                <a:gd name="connsiteY94" fmla="*/ 81701 h 365337"/>
                <a:gd name="connsiteX95" fmla="*/ 3414 w 241932"/>
                <a:gd name="connsiteY95" fmla="*/ 77799 h 365337"/>
                <a:gd name="connsiteX96" fmla="*/ 0 w 241932"/>
                <a:gd name="connsiteY96" fmla="*/ 79994 h 365337"/>
                <a:gd name="connsiteX97" fmla="*/ 2683 w 241932"/>
                <a:gd name="connsiteY97" fmla="*/ 92432 h 365337"/>
                <a:gd name="connsiteX98" fmla="*/ 122 w 241932"/>
                <a:gd name="connsiteY98" fmla="*/ 99383 h 365337"/>
                <a:gd name="connsiteX99" fmla="*/ 5365 w 241932"/>
                <a:gd name="connsiteY99" fmla="*/ 104626 h 365337"/>
                <a:gd name="connsiteX100" fmla="*/ 5365 w 241932"/>
                <a:gd name="connsiteY100" fmla="*/ 110479 h 365337"/>
                <a:gd name="connsiteX101" fmla="*/ 366 w 241932"/>
                <a:gd name="connsiteY101" fmla="*/ 113650 h 365337"/>
                <a:gd name="connsiteX102" fmla="*/ 8170 w 241932"/>
                <a:gd name="connsiteY102" fmla="*/ 122430 h 365337"/>
                <a:gd name="connsiteX103" fmla="*/ 19754 w 241932"/>
                <a:gd name="connsiteY103" fmla="*/ 123893 h 365337"/>
                <a:gd name="connsiteX104" fmla="*/ 34387 w 241932"/>
                <a:gd name="connsiteY104" fmla="*/ 153037 h 365337"/>
                <a:gd name="connsiteX105" fmla="*/ 47313 w 241932"/>
                <a:gd name="connsiteY105" fmla="*/ 167304 h 365337"/>
                <a:gd name="connsiteX106" fmla="*/ 53532 w 241932"/>
                <a:gd name="connsiteY106" fmla="*/ 190229 h 365337"/>
                <a:gd name="connsiteX107" fmla="*/ 55849 w 241932"/>
                <a:gd name="connsiteY107" fmla="*/ 198765 h 365337"/>
                <a:gd name="connsiteX108" fmla="*/ 67312 w 241932"/>
                <a:gd name="connsiteY108" fmla="*/ 220105 h 365337"/>
                <a:gd name="connsiteX109" fmla="*/ 68653 w 241932"/>
                <a:gd name="connsiteY109" fmla="*/ 228397 h 365337"/>
                <a:gd name="connsiteX110" fmla="*/ 78530 w 241932"/>
                <a:gd name="connsiteY110" fmla="*/ 238274 h 365337"/>
                <a:gd name="connsiteX111" fmla="*/ 79994 w 241932"/>
                <a:gd name="connsiteY111" fmla="*/ 246810 h 365337"/>
                <a:gd name="connsiteX112" fmla="*/ 93042 w 241932"/>
                <a:gd name="connsiteY112" fmla="*/ 261199 h 365337"/>
                <a:gd name="connsiteX113" fmla="*/ 91456 w 241932"/>
                <a:gd name="connsiteY113" fmla="*/ 271808 h 365337"/>
                <a:gd name="connsiteX114" fmla="*/ 95358 w 241932"/>
                <a:gd name="connsiteY114" fmla="*/ 288758 h 365337"/>
                <a:gd name="connsiteX115" fmla="*/ 109138 w 241932"/>
                <a:gd name="connsiteY115" fmla="*/ 294245 h 365337"/>
                <a:gd name="connsiteX116" fmla="*/ 113528 w 241932"/>
                <a:gd name="connsiteY116" fmla="*/ 300098 h 36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241932" h="365337">
                  <a:moveTo>
                    <a:pt x="113528" y="300098"/>
                  </a:moveTo>
                  <a:lnTo>
                    <a:pt x="132673" y="315097"/>
                  </a:lnTo>
                  <a:lnTo>
                    <a:pt x="147062" y="315097"/>
                  </a:lnTo>
                  <a:lnTo>
                    <a:pt x="166938" y="337900"/>
                  </a:lnTo>
                  <a:lnTo>
                    <a:pt x="168279" y="338022"/>
                  </a:lnTo>
                  <a:lnTo>
                    <a:pt x="181083" y="339242"/>
                  </a:lnTo>
                  <a:lnTo>
                    <a:pt x="208398" y="365337"/>
                  </a:lnTo>
                  <a:lnTo>
                    <a:pt x="209861" y="363630"/>
                  </a:lnTo>
                  <a:lnTo>
                    <a:pt x="220470" y="351802"/>
                  </a:lnTo>
                  <a:lnTo>
                    <a:pt x="221080" y="351070"/>
                  </a:lnTo>
                  <a:lnTo>
                    <a:pt x="221568" y="349973"/>
                  </a:lnTo>
                  <a:lnTo>
                    <a:pt x="230835" y="327291"/>
                  </a:lnTo>
                  <a:lnTo>
                    <a:pt x="223885" y="294367"/>
                  </a:lnTo>
                  <a:lnTo>
                    <a:pt x="222787" y="289124"/>
                  </a:lnTo>
                  <a:lnTo>
                    <a:pt x="227787" y="287295"/>
                  </a:lnTo>
                  <a:lnTo>
                    <a:pt x="236201" y="284368"/>
                  </a:lnTo>
                  <a:lnTo>
                    <a:pt x="234738" y="275466"/>
                  </a:lnTo>
                  <a:lnTo>
                    <a:pt x="232177" y="259980"/>
                  </a:lnTo>
                  <a:lnTo>
                    <a:pt x="231445" y="255346"/>
                  </a:lnTo>
                  <a:lnTo>
                    <a:pt x="235713" y="253395"/>
                  </a:lnTo>
                  <a:lnTo>
                    <a:pt x="238640" y="252054"/>
                  </a:lnTo>
                  <a:lnTo>
                    <a:pt x="241932" y="250590"/>
                  </a:lnTo>
                  <a:lnTo>
                    <a:pt x="241932" y="250102"/>
                  </a:lnTo>
                  <a:lnTo>
                    <a:pt x="241566" y="246932"/>
                  </a:lnTo>
                  <a:lnTo>
                    <a:pt x="225470" y="226080"/>
                  </a:lnTo>
                  <a:lnTo>
                    <a:pt x="224007" y="224251"/>
                  </a:lnTo>
                  <a:lnTo>
                    <a:pt x="208642" y="219373"/>
                  </a:lnTo>
                  <a:lnTo>
                    <a:pt x="204740" y="218154"/>
                  </a:lnTo>
                  <a:lnTo>
                    <a:pt x="204374" y="214130"/>
                  </a:lnTo>
                  <a:lnTo>
                    <a:pt x="204252" y="212666"/>
                  </a:lnTo>
                  <a:lnTo>
                    <a:pt x="202667" y="193278"/>
                  </a:lnTo>
                  <a:lnTo>
                    <a:pt x="201935" y="192424"/>
                  </a:lnTo>
                  <a:lnTo>
                    <a:pt x="200350" y="190961"/>
                  </a:lnTo>
                  <a:lnTo>
                    <a:pt x="166328" y="193522"/>
                  </a:lnTo>
                  <a:lnTo>
                    <a:pt x="163402" y="193765"/>
                  </a:lnTo>
                  <a:lnTo>
                    <a:pt x="161329" y="191570"/>
                  </a:lnTo>
                  <a:lnTo>
                    <a:pt x="160353" y="190473"/>
                  </a:lnTo>
                  <a:lnTo>
                    <a:pt x="151086" y="180596"/>
                  </a:lnTo>
                  <a:lnTo>
                    <a:pt x="149866" y="179254"/>
                  </a:lnTo>
                  <a:lnTo>
                    <a:pt x="149622" y="177425"/>
                  </a:lnTo>
                  <a:lnTo>
                    <a:pt x="148037" y="168036"/>
                  </a:lnTo>
                  <a:lnTo>
                    <a:pt x="147915" y="167426"/>
                  </a:lnTo>
                  <a:lnTo>
                    <a:pt x="137184" y="143160"/>
                  </a:lnTo>
                  <a:lnTo>
                    <a:pt x="135965" y="140233"/>
                  </a:lnTo>
                  <a:lnTo>
                    <a:pt x="137550" y="137550"/>
                  </a:lnTo>
                  <a:lnTo>
                    <a:pt x="146574" y="122673"/>
                  </a:lnTo>
                  <a:lnTo>
                    <a:pt x="144379" y="110479"/>
                  </a:lnTo>
                  <a:lnTo>
                    <a:pt x="144257" y="109626"/>
                  </a:lnTo>
                  <a:lnTo>
                    <a:pt x="143525" y="105358"/>
                  </a:lnTo>
                  <a:lnTo>
                    <a:pt x="147305" y="103285"/>
                  </a:lnTo>
                  <a:lnTo>
                    <a:pt x="147915" y="102919"/>
                  </a:lnTo>
                  <a:lnTo>
                    <a:pt x="176084" y="87067"/>
                  </a:lnTo>
                  <a:lnTo>
                    <a:pt x="176693" y="86701"/>
                  </a:lnTo>
                  <a:lnTo>
                    <a:pt x="177425" y="86579"/>
                  </a:lnTo>
                  <a:lnTo>
                    <a:pt x="195228" y="81701"/>
                  </a:lnTo>
                  <a:lnTo>
                    <a:pt x="203277" y="79506"/>
                  </a:lnTo>
                  <a:lnTo>
                    <a:pt x="213520" y="77067"/>
                  </a:lnTo>
                  <a:lnTo>
                    <a:pt x="214129" y="76823"/>
                  </a:lnTo>
                  <a:lnTo>
                    <a:pt x="214495" y="73165"/>
                  </a:lnTo>
                  <a:lnTo>
                    <a:pt x="214617" y="71702"/>
                  </a:lnTo>
                  <a:lnTo>
                    <a:pt x="201569" y="71702"/>
                  </a:lnTo>
                  <a:lnTo>
                    <a:pt x="203277" y="64263"/>
                  </a:lnTo>
                  <a:lnTo>
                    <a:pt x="206691" y="50118"/>
                  </a:lnTo>
                  <a:lnTo>
                    <a:pt x="192546" y="43411"/>
                  </a:lnTo>
                  <a:lnTo>
                    <a:pt x="153159" y="46094"/>
                  </a:lnTo>
                  <a:lnTo>
                    <a:pt x="149866" y="46338"/>
                  </a:lnTo>
                  <a:lnTo>
                    <a:pt x="147793" y="43655"/>
                  </a:lnTo>
                  <a:lnTo>
                    <a:pt x="132307" y="22193"/>
                  </a:lnTo>
                  <a:lnTo>
                    <a:pt x="117430" y="1585"/>
                  </a:lnTo>
                  <a:lnTo>
                    <a:pt x="101943" y="0"/>
                  </a:lnTo>
                  <a:lnTo>
                    <a:pt x="101943" y="122"/>
                  </a:lnTo>
                  <a:lnTo>
                    <a:pt x="113528" y="6829"/>
                  </a:lnTo>
                  <a:lnTo>
                    <a:pt x="117552" y="9146"/>
                  </a:lnTo>
                  <a:lnTo>
                    <a:pt x="116454" y="13536"/>
                  </a:lnTo>
                  <a:lnTo>
                    <a:pt x="114747" y="20120"/>
                  </a:lnTo>
                  <a:lnTo>
                    <a:pt x="114137" y="22803"/>
                  </a:lnTo>
                  <a:lnTo>
                    <a:pt x="113772" y="24388"/>
                  </a:lnTo>
                  <a:lnTo>
                    <a:pt x="112552" y="25608"/>
                  </a:lnTo>
                  <a:lnTo>
                    <a:pt x="107552" y="30607"/>
                  </a:lnTo>
                  <a:lnTo>
                    <a:pt x="95236" y="42924"/>
                  </a:lnTo>
                  <a:lnTo>
                    <a:pt x="94505" y="43655"/>
                  </a:lnTo>
                  <a:lnTo>
                    <a:pt x="93407" y="44143"/>
                  </a:lnTo>
                  <a:lnTo>
                    <a:pt x="87432" y="46704"/>
                  </a:lnTo>
                  <a:lnTo>
                    <a:pt x="70848" y="54020"/>
                  </a:lnTo>
                  <a:lnTo>
                    <a:pt x="47191" y="79384"/>
                  </a:lnTo>
                  <a:lnTo>
                    <a:pt x="48533" y="87676"/>
                  </a:lnTo>
                  <a:lnTo>
                    <a:pt x="49508" y="94017"/>
                  </a:lnTo>
                  <a:lnTo>
                    <a:pt x="43045" y="94627"/>
                  </a:lnTo>
                  <a:lnTo>
                    <a:pt x="42192" y="94749"/>
                  </a:lnTo>
                  <a:lnTo>
                    <a:pt x="36826" y="95237"/>
                  </a:lnTo>
                  <a:lnTo>
                    <a:pt x="34022" y="95480"/>
                  </a:lnTo>
                  <a:lnTo>
                    <a:pt x="31949" y="93407"/>
                  </a:lnTo>
                  <a:lnTo>
                    <a:pt x="24388" y="85847"/>
                  </a:lnTo>
                  <a:lnTo>
                    <a:pt x="6097" y="85847"/>
                  </a:lnTo>
                  <a:lnTo>
                    <a:pt x="4756" y="81701"/>
                  </a:lnTo>
                  <a:lnTo>
                    <a:pt x="3414" y="77799"/>
                  </a:lnTo>
                  <a:lnTo>
                    <a:pt x="0" y="79994"/>
                  </a:lnTo>
                  <a:lnTo>
                    <a:pt x="2683" y="92432"/>
                  </a:lnTo>
                  <a:lnTo>
                    <a:pt x="122" y="99383"/>
                  </a:lnTo>
                  <a:lnTo>
                    <a:pt x="5365" y="104626"/>
                  </a:lnTo>
                  <a:lnTo>
                    <a:pt x="5365" y="110479"/>
                  </a:lnTo>
                  <a:lnTo>
                    <a:pt x="366" y="113650"/>
                  </a:lnTo>
                  <a:lnTo>
                    <a:pt x="8170" y="122430"/>
                  </a:lnTo>
                  <a:lnTo>
                    <a:pt x="19754" y="123893"/>
                  </a:lnTo>
                  <a:lnTo>
                    <a:pt x="34387" y="153037"/>
                  </a:lnTo>
                  <a:lnTo>
                    <a:pt x="47313" y="167304"/>
                  </a:lnTo>
                  <a:lnTo>
                    <a:pt x="53532" y="190229"/>
                  </a:lnTo>
                  <a:lnTo>
                    <a:pt x="55849" y="198765"/>
                  </a:lnTo>
                  <a:lnTo>
                    <a:pt x="67312" y="220105"/>
                  </a:lnTo>
                  <a:lnTo>
                    <a:pt x="68653" y="228397"/>
                  </a:lnTo>
                  <a:lnTo>
                    <a:pt x="78530" y="238274"/>
                  </a:lnTo>
                  <a:lnTo>
                    <a:pt x="79994" y="246810"/>
                  </a:lnTo>
                  <a:lnTo>
                    <a:pt x="93042" y="261199"/>
                  </a:lnTo>
                  <a:lnTo>
                    <a:pt x="91456" y="271808"/>
                  </a:lnTo>
                  <a:lnTo>
                    <a:pt x="95358" y="288758"/>
                  </a:lnTo>
                  <a:lnTo>
                    <a:pt x="109138" y="294245"/>
                  </a:lnTo>
                  <a:lnTo>
                    <a:pt x="113528" y="3000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5" name="Freihandform: Form 564">
              <a:extLst>
                <a:ext uri="{FF2B5EF4-FFF2-40B4-BE49-F238E27FC236}">
                  <a16:creationId xmlns:a16="http://schemas.microsoft.com/office/drawing/2014/main" id="{3786A8CA-D62E-4224-BDF3-4ACCD5865B96}"/>
                </a:ext>
              </a:extLst>
            </p:cNvPr>
            <p:cNvSpPr/>
            <p:nvPr/>
          </p:nvSpPr>
          <p:spPr>
            <a:xfrm>
              <a:off x="3045291" y="4641246"/>
              <a:ext cx="67189" cy="60117"/>
            </a:xfrm>
            <a:custGeom>
              <a:avLst/>
              <a:gdLst>
                <a:gd name="connsiteX0" fmla="*/ 35485 w 67189"/>
                <a:gd name="connsiteY0" fmla="*/ 47191 h 60117"/>
                <a:gd name="connsiteX1" fmla="*/ 17925 w 67189"/>
                <a:gd name="connsiteY1" fmla="*/ 35607 h 60117"/>
                <a:gd name="connsiteX2" fmla="*/ 13901 w 67189"/>
                <a:gd name="connsiteY2" fmla="*/ 25242 h 60117"/>
                <a:gd name="connsiteX3" fmla="*/ 3780 w 67189"/>
                <a:gd name="connsiteY3" fmla="*/ 1829 h 60117"/>
                <a:gd name="connsiteX4" fmla="*/ 2195 w 67189"/>
                <a:gd name="connsiteY4" fmla="*/ 854 h 60117"/>
                <a:gd name="connsiteX5" fmla="*/ 976 w 67189"/>
                <a:gd name="connsiteY5" fmla="*/ 0 h 60117"/>
                <a:gd name="connsiteX6" fmla="*/ 1463 w 67189"/>
                <a:gd name="connsiteY6" fmla="*/ 42558 h 60117"/>
                <a:gd name="connsiteX7" fmla="*/ 1463 w 67189"/>
                <a:gd name="connsiteY7" fmla="*/ 43777 h 60117"/>
                <a:gd name="connsiteX8" fmla="*/ 12804 w 67189"/>
                <a:gd name="connsiteY8" fmla="*/ 46094 h 60117"/>
                <a:gd name="connsiteX9" fmla="*/ 9877 w 67189"/>
                <a:gd name="connsiteY9" fmla="*/ 53533 h 60117"/>
                <a:gd name="connsiteX10" fmla="*/ 976 w 67189"/>
                <a:gd name="connsiteY10" fmla="*/ 52313 h 60117"/>
                <a:gd name="connsiteX11" fmla="*/ 488 w 67189"/>
                <a:gd name="connsiteY11" fmla="*/ 53654 h 60117"/>
                <a:gd name="connsiteX12" fmla="*/ 0 w 67189"/>
                <a:gd name="connsiteY12" fmla="*/ 54874 h 60117"/>
                <a:gd name="connsiteX13" fmla="*/ 7682 w 67189"/>
                <a:gd name="connsiteY13" fmla="*/ 55362 h 60117"/>
                <a:gd name="connsiteX14" fmla="*/ 24510 w 67189"/>
                <a:gd name="connsiteY14" fmla="*/ 58532 h 60117"/>
                <a:gd name="connsiteX15" fmla="*/ 40485 w 67189"/>
                <a:gd name="connsiteY15" fmla="*/ 59386 h 60117"/>
                <a:gd name="connsiteX16" fmla="*/ 47069 w 67189"/>
                <a:gd name="connsiteY16" fmla="*/ 60117 h 60117"/>
                <a:gd name="connsiteX17" fmla="*/ 62556 w 67189"/>
                <a:gd name="connsiteY17" fmla="*/ 58654 h 60117"/>
                <a:gd name="connsiteX18" fmla="*/ 66946 w 67189"/>
                <a:gd name="connsiteY18" fmla="*/ 56703 h 60117"/>
                <a:gd name="connsiteX19" fmla="*/ 67190 w 67189"/>
                <a:gd name="connsiteY19" fmla="*/ 55971 h 60117"/>
                <a:gd name="connsiteX20" fmla="*/ 47191 w 67189"/>
                <a:gd name="connsiteY20" fmla="*/ 52191 h 60117"/>
                <a:gd name="connsiteX21" fmla="*/ 35485 w 67189"/>
                <a:gd name="connsiteY21" fmla="*/ 47191 h 6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7189" h="60117">
                  <a:moveTo>
                    <a:pt x="35485" y="47191"/>
                  </a:moveTo>
                  <a:lnTo>
                    <a:pt x="17925" y="35607"/>
                  </a:lnTo>
                  <a:lnTo>
                    <a:pt x="13901" y="25242"/>
                  </a:lnTo>
                  <a:lnTo>
                    <a:pt x="3780" y="1829"/>
                  </a:lnTo>
                  <a:lnTo>
                    <a:pt x="2195" y="854"/>
                  </a:lnTo>
                  <a:lnTo>
                    <a:pt x="976" y="0"/>
                  </a:lnTo>
                  <a:lnTo>
                    <a:pt x="1463" y="42558"/>
                  </a:lnTo>
                  <a:lnTo>
                    <a:pt x="1463" y="43777"/>
                  </a:lnTo>
                  <a:lnTo>
                    <a:pt x="12804" y="46094"/>
                  </a:lnTo>
                  <a:lnTo>
                    <a:pt x="9877" y="53533"/>
                  </a:lnTo>
                  <a:lnTo>
                    <a:pt x="976" y="52313"/>
                  </a:lnTo>
                  <a:lnTo>
                    <a:pt x="488" y="53654"/>
                  </a:lnTo>
                  <a:lnTo>
                    <a:pt x="0" y="54874"/>
                  </a:lnTo>
                  <a:lnTo>
                    <a:pt x="7682" y="55362"/>
                  </a:lnTo>
                  <a:lnTo>
                    <a:pt x="24510" y="58532"/>
                  </a:lnTo>
                  <a:lnTo>
                    <a:pt x="40485" y="59386"/>
                  </a:lnTo>
                  <a:lnTo>
                    <a:pt x="47069" y="60117"/>
                  </a:lnTo>
                  <a:lnTo>
                    <a:pt x="62556" y="58654"/>
                  </a:lnTo>
                  <a:lnTo>
                    <a:pt x="66946" y="56703"/>
                  </a:lnTo>
                  <a:lnTo>
                    <a:pt x="67190" y="55971"/>
                  </a:lnTo>
                  <a:lnTo>
                    <a:pt x="47191" y="52191"/>
                  </a:lnTo>
                  <a:lnTo>
                    <a:pt x="35485" y="4719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6" name="Freihandform: Form 565">
              <a:extLst>
                <a:ext uri="{FF2B5EF4-FFF2-40B4-BE49-F238E27FC236}">
                  <a16:creationId xmlns:a16="http://schemas.microsoft.com/office/drawing/2014/main" id="{02FDA570-4076-4332-BF6B-0062FBB807D3}"/>
                </a:ext>
              </a:extLst>
            </p:cNvPr>
            <p:cNvSpPr/>
            <p:nvPr/>
          </p:nvSpPr>
          <p:spPr>
            <a:xfrm>
              <a:off x="2948103" y="3891183"/>
              <a:ext cx="393017" cy="732869"/>
            </a:xfrm>
            <a:custGeom>
              <a:avLst/>
              <a:gdLst>
                <a:gd name="connsiteX0" fmla="*/ 323511 w 393017"/>
                <a:gd name="connsiteY0" fmla="*/ 314731 h 732869"/>
                <a:gd name="connsiteX1" fmla="*/ 330828 w 393017"/>
                <a:gd name="connsiteY1" fmla="*/ 303025 h 732869"/>
                <a:gd name="connsiteX2" fmla="*/ 320828 w 393017"/>
                <a:gd name="connsiteY2" fmla="*/ 288880 h 732869"/>
                <a:gd name="connsiteX3" fmla="*/ 313390 w 393017"/>
                <a:gd name="connsiteY3" fmla="*/ 287904 h 732869"/>
                <a:gd name="connsiteX4" fmla="*/ 303025 w 393017"/>
                <a:gd name="connsiteY4" fmla="*/ 277539 h 732869"/>
                <a:gd name="connsiteX5" fmla="*/ 302659 w 393017"/>
                <a:gd name="connsiteY5" fmla="*/ 275344 h 732869"/>
                <a:gd name="connsiteX6" fmla="*/ 300342 w 393017"/>
                <a:gd name="connsiteY6" fmla="*/ 276076 h 732869"/>
                <a:gd name="connsiteX7" fmla="*/ 299854 w 393017"/>
                <a:gd name="connsiteY7" fmla="*/ 268393 h 732869"/>
                <a:gd name="connsiteX8" fmla="*/ 299123 w 393017"/>
                <a:gd name="connsiteY8" fmla="*/ 254858 h 732869"/>
                <a:gd name="connsiteX9" fmla="*/ 299001 w 393017"/>
                <a:gd name="connsiteY9" fmla="*/ 252419 h 732869"/>
                <a:gd name="connsiteX10" fmla="*/ 300708 w 393017"/>
                <a:gd name="connsiteY10" fmla="*/ 250468 h 732869"/>
                <a:gd name="connsiteX11" fmla="*/ 306805 w 393017"/>
                <a:gd name="connsiteY11" fmla="*/ 243639 h 732869"/>
                <a:gd name="connsiteX12" fmla="*/ 309488 w 393017"/>
                <a:gd name="connsiteY12" fmla="*/ 202423 h 732869"/>
                <a:gd name="connsiteX13" fmla="*/ 310341 w 393017"/>
                <a:gd name="connsiteY13" fmla="*/ 192424 h 732869"/>
                <a:gd name="connsiteX14" fmla="*/ 310463 w 393017"/>
                <a:gd name="connsiteY14" fmla="*/ 191083 h 732869"/>
                <a:gd name="connsiteX15" fmla="*/ 311195 w 393017"/>
                <a:gd name="connsiteY15" fmla="*/ 189985 h 732869"/>
                <a:gd name="connsiteX16" fmla="*/ 317536 w 393017"/>
                <a:gd name="connsiteY16" fmla="*/ 178766 h 732869"/>
                <a:gd name="connsiteX17" fmla="*/ 316438 w 393017"/>
                <a:gd name="connsiteY17" fmla="*/ 178279 h 732869"/>
                <a:gd name="connsiteX18" fmla="*/ 319731 w 393017"/>
                <a:gd name="connsiteY18" fmla="*/ 174864 h 732869"/>
                <a:gd name="connsiteX19" fmla="*/ 321438 w 393017"/>
                <a:gd name="connsiteY19" fmla="*/ 171816 h 732869"/>
                <a:gd name="connsiteX20" fmla="*/ 322170 w 393017"/>
                <a:gd name="connsiteY20" fmla="*/ 172303 h 732869"/>
                <a:gd name="connsiteX21" fmla="*/ 328145 w 393017"/>
                <a:gd name="connsiteY21" fmla="*/ 165841 h 732869"/>
                <a:gd name="connsiteX22" fmla="*/ 332657 w 393017"/>
                <a:gd name="connsiteY22" fmla="*/ 160963 h 732869"/>
                <a:gd name="connsiteX23" fmla="*/ 335339 w 393017"/>
                <a:gd name="connsiteY23" fmla="*/ 155841 h 732869"/>
                <a:gd name="connsiteX24" fmla="*/ 335705 w 393017"/>
                <a:gd name="connsiteY24" fmla="*/ 154988 h 732869"/>
                <a:gd name="connsiteX25" fmla="*/ 336437 w 393017"/>
                <a:gd name="connsiteY25" fmla="*/ 154378 h 732869"/>
                <a:gd name="connsiteX26" fmla="*/ 353387 w 393017"/>
                <a:gd name="connsiteY26" fmla="*/ 137306 h 732869"/>
                <a:gd name="connsiteX27" fmla="*/ 363264 w 393017"/>
                <a:gd name="connsiteY27" fmla="*/ 128892 h 732869"/>
                <a:gd name="connsiteX28" fmla="*/ 366678 w 393017"/>
                <a:gd name="connsiteY28" fmla="*/ 126088 h 732869"/>
                <a:gd name="connsiteX29" fmla="*/ 390579 w 393017"/>
                <a:gd name="connsiteY29" fmla="*/ 104870 h 732869"/>
                <a:gd name="connsiteX30" fmla="*/ 393018 w 393017"/>
                <a:gd name="connsiteY30" fmla="*/ 101212 h 732869"/>
                <a:gd name="connsiteX31" fmla="*/ 384604 w 393017"/>
                <a:gd name="connsiteY31" fmla="*/ 82676 h 732869"/>
                <a:gd name="connsiteX32" fmla="*/ 381677 w 393017"/>
                <a:gd name="connsiteY32" fmla="*/ 82311 h 732869"/>
                <a:gd name="connsiteX33" fmla="*/ 378019 w 393017"/>
                <a:gd name="connsiteY33" fmla="*/ 97187 h 732869"/>
                <a:gd name="connsiteX34" fmla="*/ 377531 w 393017"/>
                <a:gd name="connsiteY34" fmla="*/ 99138 h 732869"/>
                <a:gd name="connsiteX35" fmla="*/ 376068 w 393017"/>
                <a:gd name="connsiteY35" fmla="*/ 100358 h 732869"/>
                <a:gd name="connsiteX36" fmla="*/ 370824 w 393017"/>
                <a:gd name="connsiteY36" fmla="*/ 104870 h 732869"/>
                <a:gd name="connsiteX37" fmla="*/ 363752 w 393017"/>
                <a:gd name="connsiteY37" fmla="*/ 110845 h 732869"/>
                <a:gd name="connsiteX38" fmla="*/ 362410 w 393017"/>
                <a:gd name="connsiteY38" fmla="*/ 112064 h 732869"/>
                <a:gd name="connsiteX39" fmla="*/ 360703 w 393017"/>
                <a:gd name="connsiteY39" fmla="*/ 112308 h 732869"/>
                <a:gd name="connsiteX40" fmla="*/ 334974 w 393017"/>
                <a:gd name="connsiteY40" fmla="*/ 115966 h 732869"/>
                <a:gd name="connsiteX41" fmla="*/ 334486 w 393017"/>
                <a:gd name="connsiteY41" fmla="*/ 115966 h 732869"/>
                <a:gd name="connsiteX42" fmla="*/ 333876 w 393017"/>
                <a:gd name="connsiteY42" fmla="*/ 115966 h 732869"/>
                <a:gd name="connsiteX43" fmla="*/ 312658 w 393017"/>
                <a:gd name="connsiteY43" fmla="*/ 115113 h 732869"/>
                <a:gd name="connsiteX44" fmla="*/ 311805 w 393017"/>
                <a:gd name="connsiteY44" fmla="*/ 114991 h 732869"/>
                <a:gd name="connsiteX45" fmla="*/ 310951 w 393017"/>
                <a:gd name="connsiteY45" fmla="*/ 114747 h 732869"/>
                <a:gd name="connsiteX46" fmla="*/ 305342 w 393017"/>
                <a:gd name="connsiteY46" fmla="*/ 112918 h 732869"/>
                <a:gd name="connsiteX47" fmla="*/ 297781 w 393017"/>
                <a:gd name="connsiteY47" fmla="*/ 110357 h 732869"/>
                <a:gd name="connsiteX48" fmla="*/ 302293 w 393017"/>
                <a:gd name="connsiteY48" fmla="*/ 103772 h 732869"/>
                <a:gd name="connsiteX49" fmla="*/ 320950 w 393017"/>
                <a:gd name="connsiteY49" fmla="*/ 75726 h 732869"/>
                <a:gd name="connsiteX50" fmla="*/ 321560 w 393017"/>
                <a:gd name="connsiteY50" fmla="*/ 70238 h 732869"/>
                <a:gd name="connsiteX51" fmla="*/ 310585 w 393017"/>
                <a:gd name="connsiteY51" fmla="*/ 60849 h 732869"/>
                <a:gd name="connsiteX52" fmla="*/ 286807 w 393017"/>
                <a:gd name="connsiteY52" fmla="*/ 54752 h 732869"/>
                <a:gd name="connsiteX53" fmla="*/ 282661 w 393017"/>
                <a:gd name="connsiteY53" fmla="*/ 53654 h 732869"/>
                <a:gd name="connsiteX54" fmla="*/ 281441 w 393017"/>
                <a:gd name="connsiteY54" fmla="*/ 53288 h 732869"/>
                <a:gd name="connsiteX55" fmla="*/ 280466 w 393017"/>
                <a:gd name="connsiteY55" fmla="*/ 52557 h 732869"/>
                <a:gd name="connsiteX56" fmla="*/ 277661 w 393017"/>
                <a:gd name="connsiteY56" fmla="*/ 50362 h 732869"/>
                <a:gd name="connsiteX57" fmla="*/ 266077 w 393017"/>
                <a:gd name="connsiteY57" fmla="*/ 41582 h 732869"/>
                <a:gd name="connsiteX58" fmla="*/ 261443 w 393017"/>
                <a:gd name="connsiteY58" fmla="*/ 42070 h 732869"/>
                <a:gd name="connsiteX59" fmla="*/ 253760 w 393017"/>
                <a:gd name="connsiteY59" fmla="*/ 43045 h 732869"/>
                <a:gd name="connsiteX60" fmla="*/ 250224 w 393017"/>
                <a:gd name="connsiteY60" fmla="*/ 43533 h 732869"/>
                <a:gd name="connsiteX61" fmla="*/ 248151 w 393017"/>
                <a:gd name="connsiteY61" fmla="*/ 40728 h 732869"/>
                <a:gd name="connsiteX62" fmla="*/ 237664 w 393017"/>
                <a:gd name="connsiteY62" fmla="*/ 26827 h 732869"/>
                <a:gd name="connsiteX63" fmla="*/ 234982 w 393017"/>
                <a:gd name="connsiteY63" fmla="*/ 23779 h 732869"/>
                <a:gd name="connsiteX64" fmla="*/ 225836 w 393017"/>
                <a:gd name="connsiteY64" fmla="*/ 13170 h 732869"/>
                <a:gd name="connsiteX65" fmla="*/ 218763 w 393017"/>
                <a:gd name="connsiteY65" fmla="*/ 9267 h 732869"/>
                <a:gd name="connsiteX66" fmla="*/ 217666 w 393017"/>
                <a:gd name="connsiteY66" fmla="*/ 8658 h 732869"/>
                <a:gd name="connsiteX67" fmla="*/ 217056 w 393017"/>
                <a:gd name="connsiteY67" fmla="*/ 8292 h 732869"/>
                <a:gd name="connsiteX68" fmla="*/ 216812 w 393017"/>
                <a:gd name="connsiteY68" fmla="*/ 8414 h 732869"/>
                <a:gd name="connsiteX69" fmla="*/ 204496 w 393017"/>
                <a:gd name="connsiteY69" fmla="*/ 9146 h 732869"/>
                <a:gd name="connsiteX70" fmla="*/ 203277 w 393017"/>
                <a:gd name="connsiteY70" fmla="*/ 9267 h 732869"/>
                <a:gd name="connsiteX71" fmla="*/ 202179 w 393017"/>
                <a:gd name="connsiteY71" fmla="*/ 8902 h 732869"/>
                <a:gd name="connsiteX72" fmla="*/ 199618 w 393017"/>
                <a:gd name="connsiteY72" fmla="*/ 8048 h 732869"/>
                <a:gd name="connsiteX73" fmla="*/ 192668 w 393017"/>
                <a:gd name="connsiteY73" fmla="*/ 5731 h 732869"/>
                <a:gd name="connsiteX74" fmla="*/ 190229 w 393017"/>
                <a:gd name="connsiteY74" fmla="*/ 6707 h 732869"/>
                <a:gd name="connsiteX75" fmla="*/ 189863 w 393017"/>
                <a:gd name="connsiteY75" fmla="*/ 6951 h 732869"/>
                <a:gd name="connsiteX76" fmla="*/ 189863 w 393017"/>
                <a:gd name="connsiteY76" fmla="*/ 12804 h 732869"/>
                <a:gd name="connsiteX77" fmla="*/ 189131 w 393017"/>
                <a:gd name="connsiteY77" fmla="*/ 14145 h 732869"/>
                <a:gd name="connsiteX78" fmla="*/ 187180 w 393017"/>
                <a:gd name="connsiteY78" fmla="*/ 18169 h 732869"/>
                <a:gd name="connsiteX79" fmla="*/ 185473 w 393017"/>
                <a:gd name="connsiteY79" fmla="*/ 21462 h 732869"/>
                <a:gd name="connsiteX80" fmla="*/ 170352 w 393017"/>
                <a:gd name="connsiteY80" fmla="*/ 21462 h 732869"/>
                <a:gd name="connsiteX81" fmla="*/ 168523 w 393017"/>
                <a:gd name="connsiteY81" fmla="*/ 18657 h 732869"/>
                <a:gd name="connsiteX82" fmla="*/ 164499 w 393017"/>
                <a:gd name="connsiteY82" fmla="*/ 11950 h 732869"/>
                <a:gd name="connsiteX83" fmla="*/ 162182 w 393017"/>
                <a:gd name="connsiteY83" fmla="*/ 8292 h 732869"/>
                <a:gd name="connsiteX84" fmla="*/ 159500 w 393017"/>
                <a:gd name="connsiteY84" fmla="*/ 6951 h 732869"/>
                <a:gd name="connsiteX85" fmla="*/ 145964 w 393017"/>
                <a:gd name="connsiteY85" fmla="*/ 610 h 732869"/>
                <a:gd name="connsiteX86" fmla="*/ 139135 w 393017"/>
                <a:gd name="connsiteY86" fmla="*/ 0 h 732869"/>
                <a:gd name="connsiteX87" fmla="*/ 124136 w 393017"/>
                <a:gd name="connsiteY87" fmla="*/ 15730 h 732869"/>
                <a:gd name="connsiteX88" fmla="*/ 128770 w 393017"/>
                <a:gd name="connsiteY88" fmla="*/ 28778 h 732869"/>
                <a:gd name="connsiteX89" fmla="*/ 129502 w 393017"/>
                <a:gd name="connsiteY89" fmla="*/ 30729 h 732869"/>
                <a:gd name="connsiteX90" fmla="*/ 128770 w 393017"/>
                <a:gd name="connsiteY90" fmla="*/ 32802 h 732869"/>
                <a:gd name="connsiteX91" fmla="*/ 124624 w 393017"/>
                <a:gd name="connsiteY91" fmla="*/ 44387 h 732869"/>
                <a:gd name="connsiteX92" fmla="*/ 123649 w 393017"/>
                <a:gd name="connsiteY92" fmla="*/ 47069 h 732869"/>
                <a:gd name="connsiteX93" fmla="*/ 120966 w 393017"/>
                <a:gd name="connsiteY93" fmla="*/ 48045 h 732869"/>
                <a:gd name="connsiteX94" fmla="*/ 112186 w 393017"/>
                <a:gd name="connsiteY94" fmla="*/ 51337 h 732869"/>
                <a:gd name="connsiteX95" fmla="*/ 104748 w 393017"/>
                <a:gd name="connsiteY95" fmla="*/ 57191 h 732869"/>
                <a:gd name="connsiteX96" fmla="*/ 106577 w 393017"/>
                <a:gd name="connsiteY96" fmla="*/ 96212 h 732869"/>
                <a:gd name="connsiteX97" fmla="*/ 108162 w 393017"/>
                <a:gd name="connsiteY97" fmla="*/ 103406 h 732869"/>
                <a:gd name="connsiteX98" fmla="*/ 108772 w 393017"/>
                <a:gd name="connsiteY98" fmla="*/ 106577 h 732869"/>
                <a:gd name="connsiteX99" fmla="*/ 106577 w 393017"/>
                <a:gd name="connsiteY99" fmla="*/ 109016 h 732869"/>
                <a:gd name="connsiteX100" fmla="*/ 89871 w 393017"/>
                <a:gd name="connsiteY100" fmla="*/ 126575 h 732869"/>
                <a:gd name="connsiteX101" fmla="*/ 75238 w 393017"/>
                <a:gd name="connsiteY101" fmla="*/ 159378 h 732869"/>
                <a:gd name="connsiteX102" fmla="*/ 72555 w 393017"/>
                <a:gd name="connsiteY102" fmla="*/ 171328 h 732869"/>
                <a:gd name="connsiteX103" fmla="*/ 66092 w 393017"/>
                <a:gd name="connsiteY103" fmla="*/ 207301 h 732869"/>
                <a:gd name="connsiteX104" fmla="*/ 76092 w 393017"/>
                <a:gd name="connsiteY104" fmla="*/ 245834 h 732869"/>
                <a:gd name="connsiteX105" fmla="*/ 76335 w 393017"/>
                <a:gd name="connsiteY105" fmla="*/ 246810 h 732869"/>
                <a:gd name="connsiteX106" fmla="*/ 76335 w 393017"/>
                <a:gd name="connsiteY106" fmla="*/ 247785 h 732869"/>
                <a:gd name="connsiteX107" fmla="*/ 74506 w 393017"/>
                <a:gd name="connsiteY107" fmla="*/ 277051 h 732869"/>
                <a:gd name="connsiteX108" fmla="*/ 74384 w 393017"/>
                <a:gd name="connsiteY108" fmla="*/ 278881 h 732869"/>
                <a:gd name="connsiteX109" fmla="*/ 73287 w 393017"/>
                <a:gd name="connsiteY109" fmla="*/ 280222 h 732869"/>
                <a:gd name="connsiteX110" fmla="*/ 61337 w 393017"/>
                <a:gd name="connsiteY110" fmla="*/ 296440 h 732869"/>
                <a:gd name="connsiteX111" fmla="*/ 63044 w 393017"/>
                <a:gd name="connsiteY111" fmla="*/ 314244 h 732869"/>
                <a:gd name="connsiteX112" fmla="*/ 63166 w 393017"/>
                <a:gd name="connsiteY112" fmla="*/ 315829 h 732869"/>
                <a:gd name="connsiteX113" fmla="*/ 62556 w 393017"/>
                <a:gd name="connsiteY113" fmla="*/ 317292 h 732869"/>
                <a:gd name="connsiteX114" fmla="*/ 51825 w 393017"/>
                <a:gd name="connsiteY114" fmla="*/ 342412 h 732869"/>
                <a:gd name="connsiteX115" fmla="*/ 54508 w 393017"/>
                <a:gd name="connsiteY115" fmla="*/ 378629 h 732869"/>
                <a:gd name="connsiteX116" fmla="*/ 54630 w 393017"/>
                <a:gd name="connsiteY116" fmla="*/ 380214 h 732869"/>
                <a:gd name="connsiteX117" fmla="*/ 53898 w 393017"/>
                <a:gd name="connsiteY117" fmla="*/ 381677 h 732869"/>
                <a:gd name="connsiteX118" fmla="*/ 45850 w 393017"/>
                <a:gd name="connsiteY118" fmla="*/ 398749 h 732869"/>
                <a:gd name="connsiteX119" fmla="*/ 34753 w 393017"/>
                <a:gd name="connsiteY119" fmla="*/ 432893 h 732869"/>
                <a:gd name="connsiteX120" fmla="*/ 37558 w 393017"/>
                <a:gd name="connsiteY120" fmla="*/ 475816 h 732869"/>
                <a:gd name="connsiteX121" fmla="*/ 37680 w 393017"/>
                <a:gd name="connsiteY121" fmla="*/ 478011 h 732869"/>
                <a:gd name="connsiteX122" fmla="*/ 36339 w 393017"/>
                <a:gd name="connsiteY122" fmla="*/ 479840 h 732869"/>
                <a:gd name="connsiteX123" fmla="*/ 32071 w 393017"/>
                <a:gd name="connsiteY123" fmla="*/ 485571 h 732869"/>
                <a:gd name="connsiteX124" fmla="*/ 33656 w 393017"/>
                <a:gd name="connsiteY124" fmla="*/ 506058 h 732869"/>
                <a:gd name="connsiteX125" fmla="*/ 42558 w 393017"/>
                <a:gd name="connsiteY125" fmla="*/ 533739 h 732869"/>
                <a:gd name="connsiteX126" fmla="*/ 43899 w 393017"/>
                <a:gd name="connsiteY126" fmla="*/ 537885 h 732869"/>
                <a:gd name="connsiteX127" fmla="*/ 40363 w 393017"/>
                <a:gd name="connsiteY127" fmla="*/ 540445 h 732869"/>
                <a:gd name="connsiteX128" fmla="*/ 35241 w 393017"/>
                <a:gd name="connsiteY128" fmla="*/ 544225 h 732869"/>
                <a:gd name="connsiteX129" fmla="*/ 33412 w 393017"/>
                <a:gd name="connsiteY129" fmla="*/ 545567 h 732869"/>
                <a:gd name="connsiteX130" fmla="*/ 34875 w 393017"/>
                <a:gd name="connsiteY130" fmla="*/ 550322 h 732869"/>
                <a:gd name="connsiteX131" fmla="*/ 39143 w 393017"/>
                <a:gd name="connsiteY131" fmla="*/ 551176 h 732869"/>
                <a:gd name="connsiteX132" fmla="*/ 39631 w 393017"/>
                <a:gd name="connsiteY132" fmla="*/ 555566 h 732869"/>
                <a:gd name="connsiteX133" fmla="*/ 43167 w 393017"/>
                <a:gd name="connsiteY133" fmla="*/ 590807 h 732869"/>
                <a:gd name="connsiteX134" fmla="*/ 43411 w 393017"/>
                <a:gd name="connsiteY134" fmla="*/ 593734 h 732869"/>
                <a:gd name="connsiteX135" fmla="*/ 41216 w 393017"/>
                <a:gd name="connsiteY135" fmla="*/ 595807 h 732869"/>
                <a:gd name="connsiteX136" fmla="*/ 34875 w 393017"/>
                <a:gd name="connsiteY136" fmla="*/ 601782 h 732869"/>
                <a:gd name="connsiteX137" fmla="*/ 35485 w 393017"/>
                <a:gd name="connsiteY137" fmla="*/ 606416 h 732869"/>
                <a:gd name="connsiteX138" fmla="*/ 35973 w 393017"/>
                <a:gd name="connsiteY138" fmla="*/ 610562 h 732869"/>
                <a:gd name="connsiteX139" fmla="*/ 32193 w 393017"/>
                <a:gd name="connsiteY139" fmla="*/ 612513 h 732869"/>
                <a:gd name="connsiteX140" fmla="*/ 23535 w 393017"/>
                <a:gd name="connsiteY140" fmla="*/ 617025 h 732869"/>
                <a:gd name="connsiteX141" fmla="*/ 25120 w 393017"/>
                <a:gd name="connsiteY141" fmla="*/ 635926 h 732869"/>
                <a:gd name="connsiteX142" fmla="*/ 25364 w 393017"/>
                <a:gd name="connsiteY142" fmla="*/ 638852 h 732869"/>
                <a:gd name="connsiteX143" fmla="*/ 23291 w 393017"/>
                <a:gd name="connsiteY143" fmla="*/ 640803 h 732869"/>
                <a:gd name="connsiteX144" fmla="*/ 3902 w 393017"/>
                <a:gd name="connsiteY144" fmla="*/ 658729 h 732869"/>
                <a:gd name="connsiteX145" fmla="*/ 0 w 393017"/>
                <a:gd name="connsiteY145" fmla="*/ 670923 h 732869"/>
                <a:gd name="connsiteX146" fmla="*/ 6097 w 393017"/>
                <a:gd name="connsiteY146" fmla="*/ 687873 h 732869"/>
                <a:gd name="connsiteX147" fmla="*/ 14999 w 393017"/>
                <a:gd name="connsiteY147" fmla="*/ 687873 h 732869"/>
                <a:gd name="connsiteX148" fmla="*/ 16584 w 393017"/>
                <a:gd name="connsiteY148" fmla="*/ 688970 h 732869"/>
                <a:gd name="connsiteX149" fmla="*/ 20974 w 393017"/>
                <a:gd name="connsiteY149" fmla="*/ 692141 h 732869"/>
                <a:gd name="connsiteX150" fmla="*/ 23169 w 393017"/>
                <a:gd name="connsiteY150" fmla="*/ 693604 h 732869"/>
                <a:gd name="connsiteX151" fmla="*/ 23413 w 393017"/>
                <a:gd name="connsiteY151" fmla="*/ 696287 h 732869"/>
                <a:gd name="connsiteX152" fmla="*/ 25974 w 393017"/>
                <a:gd name="connsiteY152" fmla="*/ 716285 h 732869"/>
                <a:gd name="connsiteX153" fmla="*/ 34997 w 393017"/>
                <a:gd name="connsiteY153" fmla="*/ 723236 h 732869"/>
                <a:gd name="connsiteX154" fmla="*/ 75970 w 393017"/>
                <a:gd name="connsiteY154" fmla="*/ 723968 h 732869"/>
                <a:gd name="connsiteX155" fmla="*/ 79384 w 393017"/>
                <a:gd name="connsiteY155" fmla="*/ 724089 h 732869"/>
                <a:gd name="connsiteX156" fmla="*/ 81091 w 393017"/>
                <a:gd name="connsiteY156" fmla="*/ 727016 h 732869"/>
                <a:gd name="connsiteX157" fmla="*/ 82798 w 393017"/>
                <a:gd name="connsiteY157" fmla="*/ 729821 h 732869"/>
                <a:gd name="connsiteX158" fmla="*/ 83652 w 393017"/>
                <a:gd name="connsiteY158" fmla="*/ 731284 h 732869"/>
                <a:gd name="connsiteX159" fmla="*/ 94261 w 393017"/>
                <a:gd name="connsiteY159" fmla="*/ 732869 h 732869"/>
                <a:gd name="connsiteX160" fmla="*/ 94627 w 393017"/>
                <a:gd name="connsiteY160" fmla="*/ 730918 h 732869"/>
                <a:gd name="connsiteX161" fmla="*/ 90481 w 393017"/>
                <a:gd name="connsiteY161" fmla="*/ 725309 h 732869"/>
                <a:gd name="connsiteX162" fmla="*/ 85481 w 393017"/>
                <a:gd name="connsiteY162" fmla="*/ 717626 h 732869"/>
                <a:gd name="connsiteX163" fmla="*/ 83286 w 393017"/>
                <a:gd name="connsiteY163" fmla="*/ 709334 h 732869"/>
                <a:gd name="connsiteX164" fmla="*/ 88164 w 393017"/>
                <a:gd name="connsiteY164" fmla="*/ 699579 h 732869"/>
                <a:gd name="connsiteX165" fmla="*/ 86091 w 393017"/>
                <a:gd name="connsiteY165" fmla="*/ 688726 h 732869"/>
                <a:gd name="connsiteX166" fmla="*/ 94992 w 393017"/>
                <a:gd name="connsiteY166" fmla="*/ 680312 h 732869"/>
                <a:gd name="connsiteX167" fmla="*/ 97187 w 393017"/>
                <a:gd name="connsiteY167" fmla="*/ 669094 h 732869"/>
                <a:gd name="connsiteX168" fmla="*/ 107065 w 393017"/>
                <a:gd name="connsiteY168" fmla="*/ 671898 h 732869"/>
                <a:gd name="connsiteX169" fmla="*/ 113772 w 393017"/>
                <a:gd name="connsiteY169" fmla="*/ 668118 h 732869"/>
                <a:gd name="connsiteX170" fmla="*/ 113772 w 393017"/>
                <a:gd name="connsiteY170" fmla="*/ 647876 h 732869"/>
                <a:gd name="connsiteX171" fmla="*/ 124015 w 393017"/>
                <a:gd name="connsiteY171" fmla="*/ 643486 h 732869"/>
                <a:gd name="connsiteX172" fmla="*/ 133282 w 393017"/>
                <a:gd name="connsiteY172" fmla="*/ 631658 h 732869"/>
                <a:gd name="connsiteX173" fmla="*/ 143160 w 393017"/>
                <a:gd name="connsiteY173" fmla="*/ 622512 h 732869"/>
                <a:gd name="connsiteX174" fmla="*/ 150476 w 393017"/>
                <a:gd name="connsiteY174" fmla="*/ 618610 h 732869"/>
                <a:gd name="connsiteX175" fmla="*/ 153281 w 393017"/>
                <a:gd name="connsiteY175" fmla="*/ 615683 h 732869"/>
                <a:gd name="connsiteX176" fmla="*/ 150964 w 393017"/>
                <a:gd name="connsiteY176" fmla="*/ 599953 h 732869"/>
                <a:gd name="connsiteX177" fmla="*/ 134258 w 393017"/>
                <a:gd name="connsiteY177" fmla="*/ 599099 h 732869"/>
                <a:gd name="connsiteX178" fmla="*/ 124746 w 393017"/>
                <a:gd name="connsiteY178" fmla="*/ 594709 h 732869"/>
                <a:gd name="connsiteX179" fmla="*/ 115601 w 393017"/>
                <a:gd name="connsiteY179" fmla="*/ 576540 h 732869"/>
                <a:gd name="connsiteX180" fmla="*/ 116698 w 393017"/>
                <a:gd name="connsiteY180" fmla="*/ 567394 h 732869"/>
                <a:gd name="connsiteX181" fmla="*/ 124015 w 393017"/>
                <a:gd name="connsiteY181" fmla="*/ 557395 h 732869"/>
                <a:gd name="connsiteX182" fmla="*/ 130721 w 393017"/>
                <a:gd name="connsiteY182" fmla="*/ 555810 h 732869"/>
                <a:gd name="connsiteX183" fmla="*/ 135477 w 393017"/>
                <a:gd name="connsiteY183" fmla="*/ 549225 h 732869"/>
                <a:gd name="connsiteX184" fmla="*/ 155841 w 393017"/>
                <a:gd name="connsiteY184" fmla="*/ 547640 h 732869"/>
                <a:gd name="connsiteX185" fmla="*/ 160109 w 393017"/>
                <a:gd name="connsiteY185" fmla="*/ 545201 h 732869"/>
                <a:gd name="connsiteX186" fmla="*/ 160109 w 393017"/>
                <a:gd name="connsiteY186" fmla="*/ 536665 h 732869"/>
                <a:gd name="connsiteX187" fmla="*/ 162914 w 393017"/>
                <a:gd name="connsiteY187" fmla="*/ 527763 h 732869"/>
                <a:gd name="connsiteX188" fmla="*/ 159865 w 393017"/>
                <a:gd name="connsiteY188" fmla="*/ 511789 h 732869"/>
                <a:gd name="connsiteX189" fmla="*/ 177669 w 393017"/>
                <a:gd name="connsiteY189" fmla="*/ 498497 h 732869"/>
                <a:gd name="connsiteX190" fmla="*/ 171694 w 393017"/>
                <a:gd name="connsiteY190" fmla="*/ 493254 h 732869"/>
                <a:gd name="connsiteX191" fmla="*/ 177303 w 393017"/>
                <a:gd name="connsiteY191" fmla="*/ 484840 h 732869"/>
                <a:gd name="connsiteX192" fmla="*/ 187790 w 393017"/>
                <a:gd name="connsiteY192" fmla="*/ 486913 h 732869"/>
                <a:gd name="connsiteX193" fmla="*/ 192058 w 393017"/>
                <a:gd name="connsiteY193" fmla="*/ 486303 h 732869"/>
                <a:gd name="connsiteX194" fmla="*/ 191326 w 393017"/>
                <a:gd name="connsiteY194" fmla="*/ 474841 h 732869"/>
                <a:gd name="connsiteX195" fmla="*/ 187302 w 393017"/>
                <a:gd name="connsiteY195" fmla="*/ 474353 h 732869"/>
                <a:gd name="connsiteX196" fmla="*/ 178035 w 393017"/>
                <a:gd name="connsiteY196" fmla="*/ 480450 h 732869"/>
                <a:gd name="connsiteX197" fmla="*/ 168645 w 393017"/>
                <a:gd name="connsiteY197" fmla="*/ 472158 h 732869"/>
                <a:gd name="connsiteX198" fmla="*/ 164621 w 393017"/>
                <a:gd name="connsiteY198" fmla="*/ 437161 h 732869"/>
                <a:gd name="connsiteX199" fmla="*/ 164621 w 393017"/>
                <a:gd name="connsiteY199" fmla="*/ 437161 h 732869"/>
                <a:gd name="connsiteX200" fmla="*/ 171816 w 393017"/>
                <a:gd name="connsiteY200" fmla="*/ 431186 h 732869"/>
                <a:gd name="connsiteX201" fmla="*/ 178766 w 393017"/>
                <a:gd name="connsiteY201" fmla="*/ 431186 h 732869"/>
                <a:gd name="connsiteX202" fmla="*/ 200472 w 393017"/>
                <a:gd name="connsiteY202" fmla="*/ 442526 h 732869"/>
                <a:gd name="connsiteX203" fmla="*/ 214373 w 393017"/>
                <a:gd name="connsiteY203" fmla="*/ 441672 h 732869"/>
                <a:gd name="connsiteX204" fmla="*/ 221568 w 393017"/>
                <a:gd name="connsiteY204" fmla="*/ 436917 h 732869"/>
                <a:gd name="connsiteX205" fmla="*/ 221568 w 393017"/>
                <a:gd name="connsiteY205" fmla="*/ 406919 h 732869"/>
                <a:gd name="connsiteX206" fmla="*/ 231079 w 393017"/>
                <a:gd name="connsiteY206" fmla="*/ 397286 h 732869"/>
                <a:gd name="connsiteX207" fmla="*/ 233274 w 393017"/>
                <a:gd name="connsiteY207" fmla="*/ 386799 h 732869"/>
                <a:gd name="connsiteX208" fmla="*/ 260101 w 393017"/>
                <a:gd name="connsiteY208" fmla="*/ 386799 h 732869"/>
                <a:gd name="connsiteX209" fmla="*/ 276076 w 393017"/>
                <a:gd name="connsiteY209" fmla="*/ 379360 h 732869"/>
                <a:gd name="connsiteX210" fmla="*/ 294733 w 393017"/>
                <a:gd name="connsiteY210" fmla="*/ 377409 h 732869"/>
                <a:gd name="connsiteX211" fmla="*/ 308756 w 393017"/>
                <a:gd name="connsiteY211" fmla="*/ 366191 h 732869"/>
                <a:gd name="connsiteX212" fmla="*/ 315097 w 393017"/>
                <a:gd name="connsiteY212" fmla="*/ 365215 h 732869"/>
                <a:gd name="connsiteX213" fmla="*/ 327779 w 393017"/>
                <a:gd name="connsiteY213" fmla="*/ 346192 h 732869"/>
                <a:gd name="connsiteX214" fmla="*/ 336193 w 393017"/>
                <a:gd name="connsiteY214" fmla="*/ 332657 h 732869"/>
                <a:gd name="connsiteX215" fmla="*/ 324731 w 393017"/>
                <a:gd name="connsiteY215" fmla="*/ 322901 h 732869"/>
                <a:gd name="connsiteX216" fmla="*/ 323511 w 393017"/>
                <a:gd name="connsiteY216" fmla="*/ 314731 h 73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393017" h="732869">
                  <a:moveTo>
                    <a:pt x="323511" y="314731"/>
                  </a:moveTo>
                  <a:lnTo>
                    <a:pt x="330828" y="303025"/>
                  </a:lnTo>
                  <a:lnTo>
                    <a:pt x="320828" y="288880"/>
                  </a:lnTo>
                  <a:lnTo>
                    <a:pt x="313390" y="287904"/>
                  </a:lnTo>
                  <a:lnTo>
                    <a:pt x="303025" y="277539"/>
                  </a:lnTo>
                  <a:lnTo>
                    <a:pt x="302659" y="275344"/>
                  </a:lnTo>
                  <a:lnTo>
                    <a:pt x="300342" y="276076"/>
                  </a:lnTo>
                  <a:lnTo>
                    <a:pt x="299854" y="268393"/>
                  </a:lnTo>
                  <a:lnTo>
                    <a:pt x="299123" y="254858"/>
                  </a:lnTo>
                  <a:lnTo>
                    <a:pt x="299001" y="252419"/>
                  </a:lnTo>
                  <a:lnTo>
                    <a:pt x="300708" y="250468"/>
                  </a:lnTo>
                  <a:lnTo>
                    <a:pt x="306805" y="243639"/>
                  </a:lnTo>
                  <a:lnTo>
                    <a:pt x="309488" y="202423"/>
                  </a:lnTo>
                  <a:lnTo>
                    <a:pt x="310341" y="192424"/>
                  </a:lnTo>
                  <a:lnTo>
                    <a:pt x="310463" y="191083"/>
                  </a:lnTo>
                  <a:lnTo>
                    <a:pt x="311195" y="189985"/>
                  </a:lnTo>
                  <a:lnTo>
                    <a:pt x="317536" y="178766"/>
                  </a:lnTo>
                  <a:lnTo>
                    <a:pt x="316438" y="178279"/>
                  </a:lnTo>
                  <a:lnTo>
                    <a:pt x="319731" y="174864"/>
                  </a:lnTo>
                  <a:lnTo>
                    <a:pt x="321438" y="171816"/>
                  </a:lnTo>
                  <a:lnTo>
                    <a:pt x="322170" y="172303"/>
                  </a:lnTo>
                  <a:lnTo>
                    <a:pt x="328145" y="165841"/>
                  </a:lnTo>
                  <a:lnTo>
                    <a:pt x="332657" y="160963"/>
                  </a:lnTo>
                  <a:lnTo>
                    <a:pt x="335339" y="155841"/>
                  </a:lnTo>
                  <a:lnTo>
                    <a:pt x="335705" y="154988"/>
                  </a:lnTo>
                  <a:lnTo>
                    <a:pt x="336437" y="154378"/>
                  </a:lnTo>
                  <a:lnTo>
                    <a:pt x="353387" y="137306"/>
                  </a:lnTo>
                  <a:lnTo>
                    <a:pt x="363264" y="128892"/>
                  </a:lnTo>
                  <a:lnTo>
                    <a:pt x="366678" y="126088"/>
                  </a:lnTo>
                  <a:lnTo>
                    <a:pt x="390579" y="104870"/>
                  </a:lnTo>
                  <a:lnTo>
                    <a:pt x="393018" y="101212"/>
                  </a:lnTo>
                  <a:lnTo>
                    <a:pt x="384604" y="82676"/>
                  </a:lnTo>
                  <a:lnTo>
                    <a:pt x="381677" y="82311"/>
                  </a:lnTo>
                  <a:lnTo>
                    <a:pt x="378019" y="97187"/>
                  </a:lnTo>
                  <a:lnTo>
                    <a:pt x="377531" y="99138"/>
                  </a:lnTo>
                  <a:lnTo>
                    <a:pt x="376068" y="100358"/>
                  </a:lnTo>
                  <a:lnTo>
                    <a:pt x="370824" y="104870"/>
                  </a:lnTo>
                  <a:lnTo>
                    <a:pt x="363752" y="110845"/>
                  </a:lnTo>
                  <a:lnTo>
                    <a:pt x="362410" y="112064"/>
                  </a:lnTo>
                  <a:lnTo>
                    <a:pt x="360703" y="112308"/>
                  </a:lnTo>
                  <a:lnTo>
                    <a:pt x="334974" y="115966"/>
                  </a:lnTo>
                  <a:lnTo>
                    <a:pt x="334486" y="115966"/>
                  </a:lnTo>
                  <a:lnTo>
                    <a:pt x="333876" y="115966"/>
                  </a:lnTo>
                  <a:lnTo>
                    <a:pt x="312658" y="115113"/>
                  </a:lnTo>
                  <a:lnTo>
                    <a:pt x="311805" y="114991"/>
                  </a:lnTo>
                  <a:lnTo>
                    <a:pt x="310951" y="114747"/>
                  </a:lnTo>
                  <a:lnTo>
                    <a:pt x="305342" y="112918"/>
                  </a:lnTo>
                  <a:lnTo>
                    <a:pt x="297781" y="110357"/>
                  </a:lnTo>
                  <a:lnTo>
                    <a:pt x="302293" y="103772"/>
                  </a:lnTo>
                  <a:lnTo>
                    <a:pt x="320950" y="75726"/>
                  </a:lnTo>
                  <a:lnTo>
                    <a:pt x="321560" y="70238"/>
                  </a:lnTo>
                  <a:lnTo>
                    <a:pt x="310585" y="60849"/>
                  </a:lnTo>
                  <a:lnTo>
                    <a:pt x="286807" y="54752"/>
                  </a:lnTo>
                  <a:lnTo>
                    <a:pt x="282661" y="53654"/>
                  </a:lnTo>
                  <a:lnTo>
                    <a:pt x="281441" y="53288"/>
                  </a:lnTo>
                  <a:lnTo>
                    <a:pt x="280466" y="52557"/>
                  </a:lnTo>
                  <a:lnTo>
                    <a:pt x="277661" y="50362"/>
                  </a:lnTo>
                  <a:lnTo>
                    <a:pt x="266077" y="41582"/>
                  </a:lnTo>
                  <a:lnTo>
                    <a:pt x="261443" y="42070"/>
                  </a:lnTo>
                  <a:lnTo>
                    <a:pt x="253760" y="43045"/>
                  </a:lnTo>
                  <a:lnTo>
                    <a:pt x="250224" y="43533"/>
                  </a:lnTo>
                  <a:lnTo>
                    <a:pt x="248151" y="40728"/>
                  </a:lnTo>
                  <a:lnTo>
                    <a:pt x="237664" y="26827"/>
                  </a:lnTo>
                  <a:lnTo>
                    <a:pt x="234982" y="23779"/>
                  </a:lnTo>
                  <a:lnTo>
                    <a:pt x="225836" y="13170"/>
                  </a:lnTo>
                  <a:lnTo>
                    <a:pt x="218763" y="9267"/>
                  </a:lnTo>
                  <a:lnTo>
                    <a:pt x="217666" y="8658"/>
                  </a:lnTo>
                  <a:lnTo>
                    <a:pt x="217056" y="8292"/>
                  </a:lnTo>
                  <a:lnTo>
                    <a:pt x="216812" y="8414"/>
                  </a:lnTo>
                  <a:lnTo>
                    <a:pt x="204496" y="9146"/>
                  </a:lnTo>
                  <a:lnTo>
                    <a:pt x="203277" y="9267"/>
                  </a:lnTo>
                  <a:lnTo>
                    <a:pt x="202179" y="8902"/>
                  </a:lnTo>
                  <a:lnTo>
                    <a:pt x="199618" y="8048"/>
                  </a:lnTo>
                  <a:lnTo>
                    <a:pt x="192668" y="5731"/>
                  </a:lnTo>
                  <a:lnTo>
                    <a:pt x="190229" y="6707"/>
                  </a:lnTo>
                  <a:lnTo>
                    <a:pt x="189863" y="6951"/>
                  </a:lnTo>
                  <a:lnTo>
                    <a:pt x="189863" y="12804"/>
                  </a:lnTo>
                  <a:lnTo>
                    <a:pt x="189131" y="14145"/>
                  </a:lnTo>
                  <a:lnTo>
                    <a:pt x="187180" y="18169"/>
                  </a:lnTo>
                  <a:lnTo>
                    <a:pt x="185473" y="21462"/>
                  </a:lnTo>
                  <a:lnTo>
                    <a:pt x="170352" y="21462"/>
                  </a:lnTo>
                  <a:lnTo>
                    <a:pt x="168523" y="18657"/>
                  </a:lnTo>
                  <a:lnTo>
                    <a:pt x="164499" y="11950"/>
                  </a:lnTo>
                  <a:lnTo>
                    <a:pt x="162182" y="8292"/>
                  </a:lnTo>
                  <a:lnTo>
                    <a:pt x="159500" y="6951"/>
                  </a:lnTo>
                  <a:lnTo>
                    <a:pt x="145964" y="610"/>
                  </a:lnTo>
                  <a:lnTo>
                    <a:pt x="139135" y="0"/>
                  </a:lnTo>
                  <a:lnTo>
                    <a:pt x="124136" y="15730"/>
                  </a:lnTo>
                  <a:lnTo>
                    <a:pt x="128770" y="28778"/>
                  </a:lnTo>
                  <a:lnTo>
                    <a:pt x="129502" y="30729"/>
                  </a:lnTo>
                  <a:lnTo>
                    <a:pt x="128770" y="32802"/>
                  </a:lnTo>
                  <a:lnTo>
                    <a:pt x="124624" y="44387"/>
                  </a:lnTo>
                  <a:lnTo>
                    <a:pt x="123649" y="47069"/>
                  </a:lnTo>
                  <a:lnTo>
                    <a:pt x="120966" y="48045"/>
                  </a:lnTo>
                  <a:lnTo>
                    <a:pt x="112186" y="51337"/>
                  </a:lnTo>
                  <a:lnTo>
                    <a:pt x="104748" y="57191"/>
                  </a:lnTo>
                  <a:lnTo>
                    <a:pt x="106577" y="96212"/>
                  </a:lnTo>
                  <a:lnTo>
                    <a:pt x="108162" y="103406"/>
                  </a:lnTo>
                  <a:lnTo>
                    <a:pt x="108772" y="106577"/>
                  </a:lnTo>
                  <a:lnTo>
                    <a:pt x="106577" y="109016"/>
                  </a:lnTo>
                  <a:lnTo>
                    <a:pt x="89871" y="126575"/>
                  </a:lnTo>
                  <a:lnTo>
                    <a:pt x="75238" y="159378"/>
                  </a:lnTo>
                  <a:lnTo>
                    <a:pt x="72555" y="171328"/>
                  </a:lnTo>
                  <a:lnTo>
                    <a:pt x="66092" y="207301"/>
                  </a:lnTo>
                  <a:lnTo>
                    <a:pt x="76092" y="245834"/>
                  </a:lnTo>
                  <a:lnTo>
                    <a:pt x="76335" y="246810"/>
                  </a:lnTo>
                  <a:lnTo>
                    <a:pt x="76335" y="247785"/>
                  </a:lnTo>
                  <a:lnTo>
                    <a:pt x="74506" y="277051"/>
                  </a:lnTo>
                  <a:lnTo>
                    <a:pt x="74384" y="278881"/>
                  </a:lnTo>
                  <a:lnTo>
                    <a:pt x="73287" y="280222"/>
                  </a:lnTo>
                  <a:lnTo>
                    <a:pt x="61337" y="296440"/>
                  </a:lnTo>
                  <a:lnTo>
                    <a:pt x="63044" y="314244"/>
                  </a:lnTo>
                  <a:lnTo>
                    <a:pt x="63166" y="315829"/>
                  </a:lnTo>
                  <a:lnTo>
                    <a:pt x="62556" y="317292"/>
                  </a:lnTo>
                  <a:lnTo>
                    <a:pt x="51825" y="342412"/>
                  </a:lnTo>
                  <a:lnTo>
                    <a:pt x="54508" y="378629"/>
                  </a:lnTo>
                  <a:lnTo>
                    <a:pt x="54630" y="380214"/>
                  </a:lnTo>
                  <a:lnTo>
                    <a:pt x="53898" y="381677"/>
                  </a:lnTo>
                  <a:lnTo>
                    <a:pt x="45850" y="398749"/>
                  </a:lnTo>
                  <a:lnTo>
                    <a:pt x="34753" y="432893"/>
                  </a:lnTo>
                  <a:lnTo>
                    <a:pt x="37558" y="475816"/>
                  </a:lnTo>
                  <a:lnTo>
                    <a:pt x="37680" y="478011"/>
                  </a:lnTo>
                  <a:lnTo>
                    <a:pt x="36339" y="479840"/>
                  </a:lnTo>
                  <a:lnTo>
                    <a:pt x="32071" y="485571"/>
                  </a:lnTo>
                  <a:lnTo>
                    <a:pt x="33656" y="506058"/>
                  </a:lnTo>
                  <a:lnTo>
                    <a:pt x="42558" y="533739"/>
                  </a:lnTo>
                  <a:lnTo>
                    <a:pt x="43899" y="537885"/>
                  </a:lnTo>
                  <a:lnTo>
                    <a:pt x="40363" y="540445"/>
                  </a:lnTo>
                  <a:lnTo>
                    <a:pt x="35241" y="544225"/>
                  </a:lnTo>
                  <a:lnTo>
                    <a:pt x="33412" y="545567"/>
                  </a:lnTo>
                  <a:lnTo>
                    <a:pt x="34875" y="550322"/>
                  </a:lnTo>
                  <a:lnTo>
                    <a:pt x="39143" y="551176"/>
                  </a:lnTo>
                  <a:lnTo>
                    <a:pt x="39631" y="555566"/>
                  </a:lnTo>
                  <a:lnTo>
                    <a:pt x="43167" y="590807"/>
                  </a:lnTo>
                  <a:lnTo>
                    <a:pt x="43411" y="593734"/>
                  </a:lnTo>
                  <a:lnTo>
                    <a:pt x="41216" y="595807"/>
                  </a:lnTo>
                  <a:lnTo>
                    <a:pt x="34875" y="601782"/>
                  </a:lnTo>
                  <a:lnTo>
                    <a:pt x="35485" y="606416"/>
                  </a:lnTo>
                  <a:lnTo>
                    <a:pt x="35973" y="610562"/>
                  </a:lnTo>
                  <a:lnTo>
                    <a:pt x="32193" y="612513"/>
                  </a:lnTo>
                  <a:lnTo>
                    <a:pt x="23535" y="617025"/>
                  </a:lnTo>
                  <a:lnTo>
                    <a:pt x="25120" y="635926"/>
                  </a:lnTo>
                  <a:lnTo>
                    <a:pt x="25364" y="638852"/>
                  </a:lnTo>
                  <a:lnTo>
                    <a:pt x="23291" y="640803"/>
                  </a:lnTo>
                  <a:lnTo>
                    <a:pt x="3902" y="658729"/>
                  </a:lnTo>
                  <a:lnTo>
                    <a:pt x="0" y="670923"/>
                  </a:lnTo>
                  <a:lnTo>
                    <a:pt x="6097" y="687873"/>
                  </a:lnTo>
                  <a:lnTo>
                    <a:pt x="14999" y="687873"/>
                  </a:lnTo>
                  <a:lnTo>
                    <a:pt x="16584" y="688970"/>
                  </a:lnTo>
                  <a:lnTo>
                    <a:pt x="20974" y="692141"/>
                  </a:lnTo>
                  <a:lnTo>
                    <a:pt x="23169" y="693604"/>
                  </a:lnTo>
                  <a:lnTo>
                    <a:pt x="23413" y="696287"/>
                  </a:lnTo>
                  <a:lnTo>
                    <a:pt x="25974" y="716285"/>
                  </a:lnTo>
                  <a:lnTo>
                    <a:pt x="34997" y="723236"/>
                  </a:lnTo>
                  <a:lnTo>
                    <a:pt x="75970" y="723968"/>
                  </a:lnTo>
                  <a:lnTo>
                    <a:pt x="79384" y="724089"/>
                  </a:lnTo>
                  <a:lnTo>
                    <a:pt x="81091" y="727016"/>
                  </a:lnTo>
                  <a:lnTo>
                    <a:pt x="82798" y="729821"/>
                  </a:lnTo>
                  <a:lnTo>
                    <a:pt x="83652" y="731284"/>
                  </a:lnTo>
                  <a:lnTo>
                    <a:pt x="94261" y="732869"/>
                  </a:lnTo>
                  <a:lnTo>
                    <a:pt x="94627" y="730918"/>
                  </a:lnTo>
                  <a:lnTo>
                    <a:pt x="90481" y="725309"/>
                  </a:lnTo>
                  <a:lnTo>
                    <a:pt x="85481" y="717626"/>
                  </a:lnTo>
                  <a:lnTo>
                    <a:pt x="83286" y="709334"/>
                  </a:lnTo>
                  <a:lnTo>
                    <a:pt x="88164" y="699579"/>
                  </a:lnTo>
                  <a:lnTo>
                    <a:pt x="86091" y="688726"/>
                  </a:lnTo>
                  <a:lnTo>
                    <a:pt x="94992" y="680312"/>
                  </a:lnTo>
                  <a:lnTo>
                    <a:pt x="97187" y="669094"/>
                  </a:lnTo>
                  <a:lnTo>
                    <a:pt x="107065" y="671898"/>
                  </a:lnTo>
                  <a:lnTo>
                    <a:pt x="113772" y="668118"/>
                  </a:lnTo>
                  <a:lnTo>
                    <a:pt x="113772" y="647876"/>
                  </a:lnTo>
                  <a:lnTo>
                    <a:pt x="124015" y="643486"/>
                  </a:lnTo>
                  <a:lnTo>
                    <a:pt x="133282" y="631658"/>
                  </a:lnTo>
                  <a:lnTo>
                    <a:pt x="143160" y="622512"/>
                  </a:lnTo>
                  <a:lnTo>
                    <a:pt x="150476" y="618610"/>
                  </a:lnTo>
                  <a:lnTo>
                    <a:pt x="153281" y="615683"/>
                  </a:lnTo>
                  <a:lnTo>
                    <a:pt x="150964" y="599953"/>
                  </a:lnTo>
                  <a:lnTo>
                    <a:pt x="134258" y="599099"/>
                  </a:lnTo>
                  <a:lnTo>
                    <a:pt x="124746" y="594709"/>
                  </a:lnTo>
                  <a:lnTo>
                    <a:pt x="115601" y="576540"/>
                  </a:lnTo>
                  <a:lnTo>
                    <a:pt x="116698" y="567394"/>
                  </a:lnTo>
                  <a:lnTo>
                    <a:pt x="124015" y="557395"/>
                  </a:lnTo>
                  <a:lnTo>
                    <a:pt x="130721" y="555810"/>
                  </a:lnTo>
                  <a:lnTo>
                    <a:pt x="135477" y="549225"/>
                  </a:lnTo>
                  <a:lnTo>
                    <a:pt x="155841" y="547640"/>
                  </a:lnTo>
                  <a:lnTo>
                    <a:pt x="160109" y="545201"/>
                  </a:lnTo>
                  <a:lnTo>
                    <a:pt x="160109" y="536665"/>
                  </a:lnTo>
                  <a:lnTo>
                    <a:pt x="162914" y="527763"/>
                  </a:lnTo>
                  <a:lnTo>
                    <a:pt x="159865" y="511789"/>
                  </a:lnTo>
                  <a:lnTo>
                    <a:pt x="177669" y="498497"/>
                  </a:lnTo>
                  <a:lnTo>
                    <a:pt x="171694" y="493254"/>
                  </a:lnTo>
                  <a:lnTo>
                    <a:pt x="177303" y="484840"/>
                  </a:lnTo>
                  <a:lnTo>
                    <a:pt x="187790" y="486913"/>
                  </a:lnTo>
                  <a:lnTo>
                    <a:pt x="192058" y="486303"/>
                  </a:lnTo>
                  <a:lnTo>
                    <a:pt x="191326" y="474841"/>
                  </a:lnTo>
                  <a:lnTo>
                    <a:pt x="187302" y="474353"/>
                  </a:lnTo>
                  <a:lnTo>
                    <a:pt x="178035" y="480450"/>
                  </a:lnTo>
                  <a:lnTo>
                    <a:pt x="168645" y="472158"/>
                  </a:lnTo>
                  <a:lnTo>
                    <a:pt x="164621" y="437161"/>
                  </a:lnTo>
                  <a:lnTo>
                    <a:pt x="164621" y="437161"/>
                  </a:lnTo>
                  <a:lnTo>
                    <a:pt x="171816" y="431186"/>
                  </a:lnTo>
                  <a:lnTo>
                    <a:pt x="178766" y="431186"/>
                  </a:lnTo>
                  <a:lnTo>
                    <a:pt x="200472" y="442526"/>
                  </a:lnTo>
                  <a:lnTo>
                    <a:pt x="214373" y="441672"/>
                  </a:lnTo>
                  <a:lnTo>
                    <a:pt x="221568" y="436917"/>
                  </a:lnTo>
                  <a:lnTo>
                    <a:pt x="221568" y="406919"/>
                  </a:lnTo>
                  <a:lnTo>
                    <a:pt x="231079" y="397286"/>
                  </a:lnTo>
                  <a:lnTo>
                    <a:pt x="233274" y="386799"/>
                  </a:lnTo>
                  <a:lnTo>
                    <a:pt x="260101" y="386799"/>
                  </a:lnTo>
                  <a:lnTo>
                    <a:pt x="276076" y="379360"/>
                  </a:lnTo>
                  <a:lnTo>
                    <a:pt x="294733" y="377409"/>
                  </a:lnTo>
                  <a:lnTo>
                    <a:pt x="308756" y="366191"/>
                  </a:lnTo>
                  <a:lnTo>
                    <a:pt x="315097" y="365215"/>
                  </a:lnTo>
                  <a:lnTo>
                    <a:pt x="327779" y="346192"/>
                  </a:lnTo>
                  <a:lnTo>
                    <a:pt x="336193" y="332657"/>
                  </a:lnTo>
                  <a:lnTo>
                    <a:pt x="324731" y="322901"/>
                  </a:lnTo>
                  <a:lnTo>
                    <a:pt x="323511" y="31473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7" name="Freihandform: Form 566">
              <a:extLst>
                <a:ext uri="{FF2B5EF4-FFF2-40B4-BE49-F238E27FC236}">
                  <a16:creationId xmlns:a16="http://schemas.microsoft.com/office/drawing/2014/main" id="{A39C5872-9DFB-4F21-9FB7-00D521DDFDF6}"/>
                </a:ext>
              </a:extLst>
            </p:cNvPr>
            <p:cNvSpPr/>
            <p:nvPr/>
          </p:nvSpPr>
          <p:spPr>
            <a:xfrm>
              <a:off x="2719341" y="3225748"/>
              <a:ext cx="62190" cy="45606"/>
            </a:xfrm>
            <a:custGeom>
              <a:avLst/>
              <a:gdLst>
                <a:gd name="connsiteX0" fmla="*/ 62190 w 62190"/>
                <a:gd name="connsiteY0" fmla="*/ 21462 h 45606"/>
                <a:gd name="connsiteX1" fmla="*/ 44996 w 62190"/>
                <a:gd name="connsiteY1" fmla="*/ 7561 h 45606"/>
                <a:gd name="connsiteX2" fmla="*/ 44996 w 62190"/>
                <a:gd name="connsiteY2" fmla="*/ 7682 h 45606"/>
                <a:gd name="connsiteX3" fmla="*/ 37558 w 62190"/>
                <a:gd name="connsiteY3" fmla="*/ 4756 h 45606"/>
                <a:gd name="connsiteX4" fmla="*/ 31705 w 62190"/>
                <a:gd name="connsiteY4" fmla="*/ 2561 h 45606"/>
                <a:gd name="connsiteX5" fmla="*/ 17194 w 62190"/>
                <a:gd name="connsiteY5" fmla="*/ 1097 h 45606"/>
                <a:gd name="connsiteX6" fmla="*/ 11097 w 62190"/>
                <a:gd name="connsiteY6" fmla="*/ 732 h 45606"/>
                <a:gd name="connsiteX7" fmla="*/ 0 w 62190"/>
                <a:gd name="connsiteY7" fmla="*/ 0 h 45606"/>
                <a:gd name="connsiteX8" fmla="*/ 610 w 62190"/>
                <a:gd name="connsiteY8" fmla="*/ 7926 h 45606"/>
                <a:gd name="connsiteX9" fmla="*/ 12804 w 62190"/>
                <a:gd name="connsiteY9" fmla="*/ 15243 h 45606"/>
                <a:gd name="connsiteX10" fmla="*/ 18535 w 62190"/>
                <a:gd name="connsiteY10" fmla="*/ 12438 h 45606"/>
                <a:gd name="connsiteX11" fmla="*/ 29388 w 62190"/>
                <a:gd name="connsiteY11" fmla="*/ 18901 h 45606"/>
                <a:gd name="connsiteX12" fmla="*/ 37070 w 62190"/>
                <a:gd name="connsiteY12" fmla="*/ 32437 h 45606"/>
                <a:gd name="connsiteX13" fmla="*/ 51215 w 62190"/>
                <a:gd name="connsiteY13" fmla="*/ 45606 h 45606"/>
                <a:gd name="connsiteX14" fmla="*/ 54386 w 62190"/>
                <a:gd name="connsiteY14" fmla="*/ 44875 h 45606"/>
                <a:gd name="connsiteX15" fmla="*/ 53410 w 62190"/>
                <a:gd name="connsiteY15" fmla="*/ 38290 h 45606"/>
                <a:gd name="connsiteX16" fmla="*/ 52923 w 62190"/>
                <a:gd name="connsiteY16" fmla="*/ 35729 h 45606"/>
                <a:gd name="connsiteX17" fmla="*/ 54630 w 62190"/>
                <a:gd name="connsiteY17" fmla="*/ 33656 h 45606"/>
                <a:gd name="connsiteX18" fmla="*/ 58288 w 62190"/>
                <a:gd name="connsiteY18" fmla="*/ 28778 h 45606"/>
                <a:gd name="connsiteX19" fmla="*/ 59751 w 62190"/>
                <a:gd name="connsiteY19" fmla="*/ 26827 h 45606"/>
                <a:gd name="connsiteX20" fmla="*/ 62190 w 62190"/>
                <a:gd name="connsiteY20" fmla="*/ 23779 h 45606"/>
                <a:gd name="connsiteX21" fmla="*/ 62190 w 62190"/>
                <a:gd name="connsiteY21" fmla="*/ 21462 h 4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190" h="45606">
                  <a:moveTo>
                    <a:pt x="62190" y="21462"/>
                  </a:moveTo>
                  <a:lnTo>
                    <a:pt x="44996" y="7561"/>
                  </a:lnTo>
                  <a:lnTo>
                    <a:pt x="44996" y="7682"/>
                  </a:lnTo>
                  <a:lnTo>
                    <a:pt x="37558" y="4756"/>
                  </a:lnTo>
                  <a:lnTo>
                    <a:pt x="31705" y="2561"/>
                  </a:lnTo>
                  <a:lnTo>
                    <a:pt x="17194" y="1097"/>
                  </a:lnTo>
                  <a:lnTo>
                    <a:pt x="11097" y="732"/>
                  </a:lnTo>
                  <a:lnTo>
                    <a:pt x="0" y="0"/>
                  </a:lnTo>
                  <a:lnTo>
                    <a:pt x="610" y="7926"/>
                  </a:lnTo>
                  <a:lnTo>
                    <a:pt x="12804" y="15243"/>
                  </a:lnTo>
                  <a:lnTo>
                    <a:pt x="18535" y="12438"/>
                  </a:lnTo>
                  <a:lnTo>
                    <a:pt x="29388" y="18901"/>
                  </a:lnTo>
                  <a:lnTo>
                    <a:pt x="37070" y="32437"/>
                  </a:lnTo>
                  <a:lnTo>
                    <a:pt x="51215" y="45606"/>
                  </a:lnTo>
                  <a:lnTo>
                    <a:pt x="54386" y="44875"/>
                  </a:lnTo>
                  <a:lnTo>
                    <a:pt x="53410" y="38290"/>
                  </a:lnTo>
                  <a:lnTo>
                    <a:pt x="52923" y="35729"/>
                  </a:lnTo>
                  <a:lnTo>
                    <a:pt x="54630" y="33656"/>
                  </a:lnTo>
                  <a:lnTo>
                    <a:pt x="58288" y="28778"/>
                  </a:lnTo>
                  <a:lnTo>
                    <a:pt x="59751" y="26827"/>
                  </a:lnTo>
                  <a:lnTo>
                    <a:pt x="62190" y="23779"/>
                  </a:lnTo>
                  <a:lnTo>
                    <a:pt x="62190" y="2146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8" name="Freihandform: Form 567">
              <a:extLst>
                <a:ext uri="{FF2B5EF4-FFF2-40B4-BE49-F238E27FC236}">
                  <a16:creationId xmlns:a16="http://schemas.microsoft.com/office/drawing/2014/main" id="{821F82D4-359F-4536-A35C-7D1EBC664AF3}"/>
                </a:ext>
              </a:extLst>
            </p:cNvPr>
            <p:cNvSpPr/>
            <p:nvPr/>
          </p:nvSpPr>
          <p:spPr>
            <a:xfrm>
              <a:off x="3944366" y="1442351"/>
              <a:ext cx="44142" cy="21705"/>
            </a:xfrm>
            <a:custGeom>
              <a:avLst/>
              <a:gdLst>
                <a:gd name="connsiteX0" fmla="*/ 44143 w 44142"/>
                <a:gd name="connsiteY0" fmla="*/ 9877 h 21705"/>
                <a:gd name="connsiteX1" fmla="*/ 32680 w 44142"/>
                <a:gd name="connsiteY1" fmla="*/ 8414 h 21705"/>
                <a:gd name="connsiteX2" fmla="*/ 20120 w 44142"/>
                <a:gd name="connsiteY2" fmla="*/ 0 h 21705"/>
                <a:gd name="connsiteX3" fmla="*/ 1585 w 44142"/>
                <a:gd name="connsiteY3" fmla="*/ 0 h 21705"/>
                <a:gd name="connsiteX4" fmla="*/ 0 w 44142"/>
                <a:gd name="connsiteY4" fmla="*/ 1219 h 21705"/>
                <a:gd name="connsiteX5" fmla="*/ 14755 w 44142"/>
                <a:gd name="connsiteY5" fmla="*/ 13048 h 21705"/>
                <a:gd name="connsiteX6" fmla="*/ 36948 w 44142"/>
                <a:gd name="connsiteY6" fmla="*/ 21706 h 21705"/>
                <a:gd name="connsiteX7" fmla="*/ 38412 w 44142"/>
                <a:gd name="connsiteY7" fmla="*/ 19389 h 21705"/>
                <a:gd name="connsiteX8" fmla="*/ 38290 w 44142"/>
                <a:gd name="connsiteY8" fmla="*/ 14633 h 21705"/>
                <a:gd name="connsiteX9" fmla="*/ 44143 w 44142"/>
                <a:gd name="connsiteY9" fmla="*/ 10365 h 21705"/>
                <a:gd name="connsiteX10" fmla="*/ 44143 w 44142"/>
                <a:gd name="connsiteY10" fmla="*/ 9877 h 2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142" h="21705">
                  <a:moveTo>
                    <a:pt x="44143" y="9877"/>
                  </a:moveTo>
                  <a:lnTo>
                    <a:pt x="32680" y="8414"/>
                  </a:lnTo>
                  <a:lnTo>
                    <a:pt x="20120" y="0"/>
                  </a:lnTo>
                  <a:lnTo>
                    <a:pt x="1585" y="0"/>
                  </a:lnTo>
                  <a:lnTo>
                    <a:pt x="0" y="1219"/>
                  </a:lnTo>
                  <a:lnTo>
                    <a:pt x="14755" y="13048"/>
                  </a:lnTo>
                  <a:lnTo>
                    <a:pt x="36948" y="21706"/>
                  </a:lnTo>
                  <a:lnTo>
                    <a:pt x="38412" y="19389"/>
                  </a:lnTo>
                  <a:lnTo>
                    <a:pt x="38290" y="14633"/>
                  </a:lnTo>
                  <a:lnTo>
                    <a:pt x="44143" y="10365"/>
                  </a:lnTo>
                  <a:lnTo>
                    <a:pt x="44143" y="987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69" name="Freihandform: Form 568">
              <a:extLst>
                <a:ext uri="{FF2B5EF4-FFF2-40B4-BE49-F238E27FC236}">
                  <a16:creationId xmlns:a16="http://schemas.microsoft.com/office/drawing/2014/main" id="{9F11BEEE-EEE7-4815-9D4F-AB9C68F52EC2}"/>
                </a:ext>
              </a:extLst>
            </p:cNvPr>
            <p:cNvSpPr/>
            <p:nvPr/>
          </p:nvSpPr>
          <p:spPr>
            <a:xfrm>
              <a:off x="3960340" y="1430523"/>
              <a:ext cx="27558" cy="11218"/>
            </a:xfrm>
            <a:custGeom>
              <a:avLst/>
              <a:gdLst>
                <a:gd name="connsiteX0" fmla="*/ 24998 w 27558"/>
                <a:gd name="connsiteY0" fmla="*/ 11219 h 11218"/>
                <a:gd name="connsiteX1" fmla="*/ 27559 w 27558"/>
                <a:gd name="connsiteY1" fmla="*/ 6097 h 11218"/>
                <a:gd name="connsiteX2" fmla="*/ 23779 w 27558"/>
                <a:gd name="connsiteY2" fmla="*/ 3171 h 11218"/>
                <a:gd name="connsiteX3" fmla="*/ 6219 w 27558"/>
                <a:gd name="connsiteY3" fmla="*/ 0 h 11218"/>
                <a:gd name="connsiteX4" fmla="*/ 0 w 27558"/>
                <a:gd name="connsiteY4" fmla="*/ 1341 h 11218"/>
                <a:gd name="connsiteX5" fmla="*/ 5609 w 27558"/>
                <a:gd name="connsiteY5" fmla="*/ 2683 h 11218"/>
                <a:gd name="connsiteX6" fmla="*/ 24998 w 27558"/>
                <a:gd name="connsiteY6" fmla="*/ 11219 h 11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558" h="11218">
                  <a:moveTo>
                    <a:pt x="24998" y="11219"/>
                  </a:moveTo>
                  <a:lnTo>
                    <a:pt x="27559" y="6097"/>
                  </a:lnTo>
                  <a:lnTo>
                    <a:pt x="23779" y="3171"/>
                  </a:lnTo>
                  <a:lnTo>
                    <a:pt x="6219" y="0"/>
                  </a:lnTo>
                  <a:lnTo>
                    <a:pt x="0" y="1341"/>
                  </a:lnTo>
                  <a:lnTo>
                    <a:pt x="5609" y="2683"/>
                  </a:lnTo>
                  <a:lnTo>
                    <a:pt x="24998" y="1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0" name="Freihandform: Form 569">
              <a:extLst>
                <a:ext uri="{FF2B5EF4-FFF2-40B4-BE49-F238E27FC236}">
                  <a16:creationId xmlns:a16="http://schemas.microsoft.com/office/drawing/2014/main" id="{9AFD5783-23C4-4493-BAAD-A7A907B922B8}"/>
                </a:ext>
              </a:extLst>
            </p:cNvPr>
            <p:cNvSpPr/>
            <p:nvPr/>
          </p:nvSpPr>
          <p:spPr>
            <a:xfrm>
              <a:off x="2965053" y="915564"/>
              <a:ext cx="1212953" cy="1032967"/>
            </a:xfrm>
            <a:custGeom>
              <a:avLst/>
              <a:gdLst>
                <a:gd name="connsiteX0" fmla="*/ 1181005 w 1212953"/>
                <a:gd name="connsiteY0" fmla="*/ 161573 h 1032967"/>
                <a:gd name="connsiteX1" fmla="*/ 1212953 w 1212953"/>
                <a:gd name="connsiteY1" fmla="*/ 139135 h 1032967"/>
                <a:gd name="connsiteX2" fmla="*/ 1212587 w 1212953"/>
                <a:gd name="connsiteY2" fmla="*/ 138282 h 1032967"/>
                <a:gd name="connsiteX3" fmla="*/ 1172591 w 1212953"/>
                <a:gd name="connsiteY3" fmla="*/ 120356 h 1032967"/>
                <a:gd name="connsiteX4" fmla="*/ 1133813 w 1212953"/>
                <a:gd name="connsiteY4" fmla="*/ 116698 h 1032967"/>
                <a:gd name="connsiteX5" fmla="*/ 1119424 w 1212953"/>
                <a:gd name="connsiteY5" fmla="*/ 124259 h 1032967"/>
                <a:gd name="connsiteX6" fmla="*/ 1110522 w 1212953"/>
                <a:gd name="connsiteY6" fmla="*/ 121698 h 1032967"/>
                <a:gd name="connsiteX7" fmla="*/ 1105523 w 1212953"/>
                <a:gd name="connsiteY7" fmla="*/ 122429 h 1032967"/>
                <a:gd name="connsiteX8" fmla="*/ 1109547 w 1212953"/>
                <a:gd name="connsiteY8" fmla="*/ 129258 h 1032967"/>
                <a:gd name="connsiteX9" fmla="*/ 1101377 w 1212953"/>
                <a:gd name="connsiteY9" fmla="*/ 132185 h 1032967"/>
                <a:gd name="connsiteX10" fmla="*/ 1104059 w 1212953"/>
                <a:gd name="connsiteY10" fmla="*/ 133648 h 1032967"/>
                <a:gd name="connsiteX11" fmla="*/ 1099304 w 1212953"/>
                <a:gd name="connsiteY11" fmla="*/ 134136 h 1032967"/>
                <a:gd name="connsiteX12" fmla="*/ 1098572 w 1212953"/>
                <a:gd name="connsiteY12" fmla="*/ 136697 h 1032967"/>
                <a:gd name="connsiteX13" fmla="*/ 1096743 w 1212953"/>
                <a:gd name="connsiteY13" fmla="*/ 143038 h 1032967"/>
                <a:gd name="connsiteX14" fmla="*/ 1079427 w 1212953"/>
                <a:gd name="connsiteY14" fmla="*/ 144379 h 1032967"/>
                <a:gd name="connsiteX15" fmla="*/ 1067965 w 1212953"/>
                <a:gd name="connsiteY15" fmla="*/ 142550 h 1032967"/>
                <a:gd name="connsiteX16" fmla="*/ 1056136 w 1212953"/>
                <a:gd name="connsiteY16" fmla="*/ 143281 h 1032967"/>
                <a:gd name="connsiteX17" fmla="*/ 1056136 w 1212953"/>
                <a:gd name="connsiteY17" fmla="*/ 137794 h 1032967"/>
                <a:gd name="connsiteX18" fmla="*/ 1046991 w 1212953"/>
                <a:gd name="connsiteY18" fmla="*/ 138648 h 1032967"/>
                <a:gd name="connsiteX19" fmla="*/ 1045771 w 1212953"/>
                <a:gd name="connsiteY19" fmla="*/ 142550 h 1032967"/>
                <a:gd name="connsiteX20" fmla="*/ 1022846 w 1212953"/>
                <a:gd name="connsiteY20" fmla="*/ 154256 h 1032967"/>
                <a:gd name="connsiteX21" fmla="*/ 1012847 w 1212953"/>
                <a:gd name="connsiteY21" fmla="*/ 170352 h 1032967"/>
                <a:gd name="connsiteX22" fmla="*/ 990776 w 1212953"/>
                <a:gd name="connsiteY22" fmla="*/ 181083 h 1032967"/>
                <a:gd name="connsiteX23" fmla="*/ 990776 w 1212953"/>
                <a:gd name="connsiteY23" fmla="*/ 191570 h 1032967"/>
                <a:gd name="connsiteX24" fmla="*/ 978825 w 1212953"/>
                <a:gd name="connsiteY24" fmla="*/ 196692 h 1032967"/>
                <a:gd name="connsiteX25" fmla="*/ 971021 w 1212953"/>
                <a:gd name="connsiteY25" fmla="*/ 194253 h 1032967"/>
                <a:gd name="connsiteX26" fmla="*/ 971021 w 1212953"/>
                <a:gd name="connsiteY26" fmla="*/ 185839 h 1032967"/>
                <a:gd name="connsiteX27" fmla="*/ 979069 w 1212953"/>
                <a:gd name="connsiteY27" fmla="*/ 181693 h 1032967"/>
                <a:gd name="connsiteX28" fmla="*/ 977728 w 1212953"/>
                <a:gd name="connsiteY28" fmla="*/ 177059 h 1032967"/>
                <a:gd name="connsiteX29" fmla="*/ 989434 w 1212953"/>
                <a:gd name="connsiteY29" fmla="*/ 168889 h 1032967"/>
                <a:gd name="connsiteX30" fmla="*/ 989434 w 1212953"/>
                <a:gd name="connsiteY30" fmla="*/ 158646 h 1032967"/>
                <a:gd name="connsiteX31" fmla="*/ 997604 w 1212953"/>
                <a:gd name="connsiteY31" fmla="*/ 150232 h 1032967"/>
                <a:gd name="connsiteX32" fmla="*/ 1010652 w 1212953"/>
                <a:gd name="connsiteY32" fmla="*/ 142916 h 1032967"/>
                <a:gd name="connsiteX33" fmla="*/ 1009311 w 1212953"/>
                <a:gd name="connsiteY33" fmla="*/ 114869 h 1032967"/>
                <a:gd name="connsiteX34" fmla="*/ 1007604 w 1212953"/>
                <a:gd name="connsiteY34" fmla="*/ 113040 h 1032967"/>
                <a:gd name="connsiteX35" fmla="*/ 975167 w 1212953"/>
                <a:gd name="connsiteY35" fmla="*/ 113650 h 1032967"/>
                <a:gd name="connsiteX36" fmla="*/ 972240 w 1212953"/>
                <a:gd name="connsiteY36" fmla="*/ 115723 h 1032967"/>
                <a:gd name="connsiteX37" fmla="*/ 970777 w 1212953"/>
                <a:gd name="connsiteY37" fmla="*/ 130356 h 1032967"/>
                <a:gd name="connsiteX38" fmla="*/ 935414 w 1212953"/>
                <a:gd name="connsiteY38" fmla="*/ 140599 h 1032967"/>
                <a:gd name="connsiteX39" fmla="*/ 923952 w 1212953"/>
                <a:gd name="connsiteY39" fmla="*/ 144867 h 1032967"/>
                <a:gd name="connsiteX40" fmla="*/ 908709 w 1212953"/>
                <a:gd name="connsiteY40" fmla="*/ 148891 h 1032967"/>
                <a:gd name="connsiteX41" fmla="*/ 904197 w 1212953"/>
                <a:gd name="connsiteY41" fmla="*/ 144989 h 1032967"/>
                <a:gd name="connsiteX42" fmla="*/ 887735 w 1212953"/>
                <a:gd name="connsiteY42" fmla="*/ 144989 h 1032967"/>
                <a:gd name="connsiteX43" fmla="*/ 912489 w 1212953"/>
                <a:gd name="connsiteY43" fmla="*/ 134258 h 1032967"/>
                <a:gd name="connsiteX44" fmla="*/ 922854 w 1212953"/>
                <a:gd name="connsiteY44" fmla="*/ 127917 h 1032967"/>
                <a:gd name="connsiteX45" fmla="*/ 944072 w 1212953"/>
                <a:gd name="connsiteY45" fmla="*/ 122186 h 1032967"/>
                <a:gd name="connsiteX46" fmla="*/ 944072 w 1212953"/>
                <a:gd name="connsiteY46" fmla="*/ 117430 h 1032967"/>
                <a:gd name="connsiteX47" fmla="*/ 940170 w 1212953"/>
                <a:gd name="connsiteY47" fmla="*/ 116088 h 1032967"/>
                <a:gd name="connsiteX48" fmla="*/ 893222 w 1212953"/>
                <a:gd name="connsiteY48" fmla="*/ 114869 h 1032967"/>
                <a:gd name="connsiteX49" fmla="*/ 885174 w 1212953"/>
                <a:gd name="connsiteY49" fmla="*/ 113040 h 1032967"/>
                <a:gd name="connsiteX50" fmla="*/ 849811 w 1212953"/>
                <a:gd name="connsiteY50" fmla="*/ 122307 h 1032967"/>
                <a:gd name="connsiteX51" fmla="*/ 841275 w 1212953"/>
                <a:gd name="connsiteY51" fmla="*/ 120478 h 1032967"/>
                <a:gd name="connsiteX52" fmla="*/ 803595 w 1212953"/>
                <a:gd name="connsiteY52" fmla="*/ 129746 h 1032967"/>
                <a:gd name="connsiteX53" fmla="*/ 803595 w 1212953"/>
                <a:gd name="connsiteY53" fmla="*/ 134867 h 1032967"/>
                <a:gd name="connsiteX54" fmla="*/ 786279 w 1212953"/>
                <a:gd name="connsiteY54" fmla="*/ 137794 h 1032967"/>
                <a:gd name="connsiteX55" fmla="*/ 778841 w 1212953"/>
                <a:gd name="connsiteY55" fmla="*/ 125722 h 1032967"/>
                <a:gd name="connsiteX56" fmla="*/ 792011 w 1212953"/>
                <a:gd name="connsiteY56" fmla="*/ 115723 h 1032967"/>
                <a:gd name="connsiteX57" fmla="*/ 825057 w 1212953"/>
                <a:gd name="connsiteY57" fmla="*/ 106821 h 1032967"/>
                <a:gd name="connsiteX58" fmla="*/ 794450 w 1212953"/>
                <a:gd name="connsiteY58" fmla="*/ 100236 h 1032967"/>
                <a:gd name="connsiteX59" fmla="*/ 794450 w 1212953"/>
                <a:gd name="connsiteY59" fmla="*/ 100236 h 1032967"/>
                <a:gd name="connsiteX60" fmla="*/ 838836 w 1212953"/>
                <a:gd name="connsiteY60" fmla="*/ 100236 h 1032967"/>
                <a:gd name="connsiteX61" fmla="*/ 848470 w 1212953"/>
                <a:gd name="connsiteY61" fmla="*/ 102675 h 1032967"/>
                <a:gd name="connsiteX62" fmla="*/ 890784 w 1212953"/>
                <a:gd name="connsiteY62" fmla="*/ 99626 h 1032967"/>
                <a:gd name="connsiteX63" fmla="*/ 890784 w 1212953"/>
                <a:gd name="connsiteY63" fmla="*/ 99626 h 1032967"/>
                <a:gd name="connsiteX64" fmla="*/ 912245 w 1212953"/>
                <a:gd name="connsiteY64" fmla="*/ 100846 h 1032967"/>
                <a:gd name="connsiteX65" fmla="*/ 956998 w 1212953"/>
                <a:gd name="connsiteY65" fmla="*/ 99626 h 1032967"/>
                <a:gd name="connsiteX66" fmla="*/ 975533 w 1212953"/>
                <a:gd name="connsiteY66" fmla="*/ 90359 h 1032967"/>
                <a:gd name="connsiteX67" fmla="*/ 990044 w 1212953"/>
                <a:gd name="connsiteY67" fmla="*/ 92188 h 1032967"/>
                <a:gd name="connsiteX68" fmla="*/ 1011140 w 1212953"/>
                <a:gd name="connsiteY68" fmla="*/ 87554 h 1032967"/>
                <a:gd name="connsiteX69" fmla="*/ 1013579 w 1212953"/>
                <a:gd name="connsiteY69" fmla="*/ 79506 h 1032967"/>
                <a:gd name="connsiteX70" fmla="*/ 1025163 w 1212953"/>
                <a:gd name="connsiteY70" fmla="*/ 77677 h 1032967"/>
                <a:gd name="connsiteX71" fmla="*/ 1026139 w 1212953"/>
                <a:gd name="connsiteY71" fmla="*/ 73043 h 1032967"/>
                <a:gd name="connsiteX72" fmla="*/ 1014310 w 1212953"/>
                <a:gd name="connsiteY72" fmla="*/ 63654 h 1032967"/>
                <a:gd name="connsiteX73" fmla="*/ 990166 w 1212953"/>
                <a:gd name="connsiteY73" fmla="*/ 58410 h 1032967"/>
                <a:gd name="connsiteX74" fmla="*/ 971753 w 1212953"/>
                <a:gd name="connsiteY74" fmla="*/ 62678 h 1032967"/>
                <a:gd name="connsiteX75" fmla="*/ 973338 w 1212953"/>
                <a:gd name="connsiteY75" fmla="*/ 55240 h 1032967"/>
                <a:gd name="connsiteX76" fmla="*/ 967851 w 1212953"/>
                <a:gd name="connsiteY76" fmla="*/ 55240 h 1032967"/>
                <a:gd name="connsiteX77" fmla="*/ 941755 w 1212953"/>
                <a:gd name="connsiteY77" fmla="*/ 65848 h 1032967"/>
                <a:gd name="connsiteX78" fmla="*/ 939438 w 1212953"/>
                <a:gd name="connsiteY78" fmla="*/ 55118 h 1032967"/>
                <a:gd name="connsiteX79" fmla="*/ 948706 w 1212953"/>
                <a:gd name="connsiteY79" fmla="*/ 49874 h 1032967"/>
                <a:gd name="connsiteX80" fmla="*/ 952120 w 1212953"/>
                <a:gd name="connsiteY80" fmla="*/ 42070 h 1032967"/>
                <a:gd name="connsiteX81" fmla="*/ 944072 w 1212953"/>
                <a:gd name="connsiteY81" fmla="*/ 35729 h 1032967"/>
                <a:gd name="connsiteX82" fmla="*/ 919928 w 1212953"/>
                <a:gd name="connsiteY82" fmla="*/ 38655 h 1032967"/>
                <a:gd name="connsiteX83" fmla="*/ 914196 w 1212953"/>
                <a:gd name="connsiteY83" fmla="*/ 42314 h 1032967"/>
                <a:gd name="connsiteX84" fmla="*/ 875053 w 1212953"/>
                <a:gd name="connsiteY84" fmla="*/ 43655 h 1032967"/>
                <a:gd name="connsiteX85" fmla="*/ 855177 w 1212953"/>
                <a:gd name="connsiteY85" fmla="*/ 39875 h 1032967"/>
                <a:gd name="connsiteX86" fmla="*/ 834446 w 1212953"/>
                <a:gd name="connsiteY86" fmla="*/ 39875 h 1032967"/>
                <a:gd name="connsiteX87" fmla="*/ 808595 w 1212953"/>
                <a:gd name="connsiteY87" fmla="*/ 46948 h 1032967"/>
                <a:gd name="connsiteX88" fmla="*/ 805668 w 1212953"/>
                <a:gd name="connsiteY88" fmla="*/ 52801 h 1032967"/>
                <a:gd name="connsiteX89" fmla="*/ 772134 w 1212953"/>
                <a:gd name="connsiteY89" fmla="*/ 53410 h 1032967"/>
                <a:gd name="connsiteX90" fmla="*/ 770793 w 1212953"/>
                <a:gd name="connsiteY90" fmla="*/ 61459 h 1032967"/>
                <a:gd name="connsiteX91" fmla="*/ 758721 w 1212953"/>
                <a:gd name="connsiteY91" fmla="*/ 65848 h 1032967"/>
                <a:gd name="connsiteX92" fmla="*/ 757135 w 1212953"/>
                <a:gd name="connsiteY92" fmla="*/ 57556 h 1032967"/>
                <a:gd name="connsiteX93" fmla="*/ 749575 w 1212953"/>
                <a:gd name="connsiteY93" fmla="*/ 57191 h 1032967"/>
                <a:gd name="connsiteX94" fmla="*/ 739698 w 1212953"/>
                <a:gd name="connsiteY94" fmla="*/ 63288 h 1032967"/>
                <a:gd name="connsiteX95" fmla="*/ 725918 w 1212953"/>
                <a:gd name="connsiteY95" fmla="*/ 63288 h 1032967"/>
                <a:gd name="connsiteX96" fmla="*/ 731284 w 1212953"/>
                <a:gd name="connsiteY96" fmla="*/ 57069 h 1032967"/>
                <a:gd name="connsiteX97" fmla="*/ 722016 w 1212953"/>
                <a:gd name="connsiteY97" fmla="*/ 52923 h 1032967"/>
                <a:gd name="connsiteX98" fmla="*/ 754331 w 1212953"/>
                <a:gd name="connsiteY98" fmla="*/ 46826 h 1032967"/>
                <a:gd name="connsiteX99" fmla="*/ 772866 w 1212953"/>
                <a:gd name="connsiteY99" fmla="*/ 42070 h 1032967"/>
                <a:gd name="connsiteX100" fmla="*/ 763720 w 1212953"/>
                <a:gd name="connsiteY100" fmla="*/ 37314 h 1032967"/>
                <a:gd name="connsiteX101" fmla="*/ 786036 w 1212953"/>
                <a:gd name="connsiteY101" fmla="*/ 36339 h 1032967"/>
                <a:gd name="connsiteX102" fmla="*/ 800059 w 1212953"/>
                <a:gd name="connsiteY102" fmla="*/ 39265 h 1032967"/>
                <a:gd name="connsiteX103" fmla="*/ 819692 w 1212953"/>
                <a:gd name="connsiteY103" fmla="*/ 33900 h 1032967"/>
                <a:gd name="connsiteX104" fmla="*/ 849689 w 1212953"/>
                <a:gd name="connsiteY104" fmla="*/ 30120 h 1032967"/>
                <a:gd name="connsiteX105" fmla="*/ 882248 w 1212953"/>
                <a:gd name="connsiteY105" fmla="*/ 32558 h 1032967"/>
                <a:gd name="connsiteX106" fmla="*/ 914562 w 1212953"/>
                <a:gd name="connsiteY106" fmla="*/ 29510 h 1032967"/>
                <a:gd name="connsiteX107" fmla="*/ 935170 w 1212953"/>
                <a:gd name="connsiteY107" fmla="*/ 24266 h 1032967"/>
                <a:gd name="connsiteX108" fmla="*/ 930902 w 1212953"/>
                <a:gd name="connsiteY108" fmla="*/ 19389 h 1032967"/>
                <a:gd name="connsiteX109" fmla="*/ 887125 w 1212953"/>
                <a:gd name="connsiteY109" fmla="*/ 10609 h 1032967"/>
                <a:gd name="connsiteX110" fmla="*/ 880297 w 1212953"/>
                <a:gd name="connsiteY110" fmla="*/ 15852 h 1032967"/>
                <a:gd name="connsiteX111" fmla="*/ 867737 w 1212953"/>
                <a:gd name="connsiteY111" fmla="*/ 16584 h 1032967"/>
                <a:gd name="connsiteX112" fmla="*/ 855664 w 1212953"/>
                <a:gd name="connsiteY112" fmla="*/ 10243 h 1032967"/>
                <a:gd name="connsiteX113" fmla="*/ 867127 w 1212953"/>
                <a:gd name="connsiteY113" fmla="*/ 6585 h 1032967"/>
                <a:gd name="connsiteX114" fmla="*/ 866273 w 1212953"/>
                <a:gd name="connsiteY114" fmla="*/ 6097 h 1032967"/>
                <a:gd name="connsiteX115" fmla="*/ 852250 w 1212953"/>
                <a:gd name="connsiteY115" fmla="*/ 6707 h 1032967"/>
                <a:gd name="connsiteX116" fmla="*/ 843714 w 1212953"/>
                <a:gd name="connsiteY116" fmla="*/ 3658 h 1032967"/>
                <a:gd name="connsiteX117" fmla="*/ 832739 w 1212953"/>
                <a:gd name="connsiteY117" fmla="*/ 3658 h 1032967"/>
                <a:gd name="connsiteX118" fmla="*/ 814082 w 1212953"/>
                <a:gd name="connsiteY118" fmla="*/ 2439 h 1032967"/>
                <a:gd name="connsiteX119" fmla="*/ 801644 w 1212953"/>
                <a:gd name="connsiteY119" fmla="*/ 1829 h 1032967"/>
                <a:gd name="connsiteX120" fmla="*/ 789816 w 1212953"/>
                <a:gd name="connsiteY120" fmla="*/ 3780 h 1032967"/>
                <a:gd name="connsiteX121" fmla="*/ 782621 w 1212953"/>
                <a:gd name="connsiteY121" fmla="*/ 0 h 1032967"/>
                <a:gd name="connsiteX122" fmla="*/ 761038 w 1212953"/>
                <a:gd name="connsiteY122" fmla="*/ 1707 h 1032967"/>
                <a:gd name="connsiteX123" fmla="*/ 755428 w 1212953"/>
                <a:gd name="connsiteY123" fmla="*/ 5487 h 1032967"/>
                <a:gd name="connsiteX124" fmla="*/ 747380 w 1212953"/>
                <a:gd name="connsiteY124" fmla="*/ 6097 h 1032967"/>
                <a:gd name="connsiteX125" fmla="*/ 737259 w 1212953"/>
                <a:gd name="connsiteY125" fmla="*/ 3049 h 1032967"/>
                <a:gd name="connsiteX126" fmla="*/ 730918 w 1212953"/>
                <a:gd name="connsiteY126" fmla="*/ 2439 h 1032967"/>
                <a:gd name="connsiteX127" fmla="*/ 719334 w 1212953"/>
                <a:gd name="connsiteY127" fmla="*/ 7438 h 1032967"/>
                <a:gd name="connsiteX128" fmla="*/ 710554 w 1212953"/>
                <a:gd name="connsiteY128" fmla="*/ 4390 h 1032967"/>
                <a:gd name="connsiteX129" fmla="*/ 705554 w 1212953"/>
                <a:gd name="connsiteY129" fmla="*/ 5609 h 1032967"/>
                <a:gd name="connsiteX130" fmla="*/ 717870 w 1212953"/>
                <a:gd name="connsiteY130" fmla="*/ 15121 h 1032967"/>
                <a:gd name="connsiteX131" fmla="*/ 704944 w 1212953"/>
                <a:gd name="connsiteY131" fmla="*/ 19755 h 1032967"/>
                <a:gd name="connsiteX132" fmla="*/ 688970 w 1212953"/>
                <a:gd name="connsiteY132" fmla="*/ 11584 h 1032967"/>
                <a:gd name="connsiteX133" fmla="*/ 684580 w 1212953"/>
                <a:gd name="connsiteY133" fmla="*/ 11584 h 1032967"/>
                <a:gd name="connsiteX134" fmla="*/ 687629 w 1212953"/>
                <a:gd name="connsiteY134" fmla="*/ 14755 h 1032967"/>
                <a:gd name="connsiteX135" fmla="*/ 678117 w 1212953"/>
                <a:gd name="connsiteY135" fmla="*/ 17925 h 1032967"/>
                <a:gd name="connsiteX136" fmla="*/ 669703 w 1212953"/>
                <a:gd name="connsiteY136" fmla="*/ 15487 h 1032967"/>
                <a:gd name="connsiteX137" fmla="*/ 668606 w 1212953"/>
                <a:gd name="connsiteY137" fmla="*/ 15974 h 1032967"/>
                <a:gd name="connsiteX138" fmla="*/ 673849 w 1212953"/>
                <a:gd name="connsiteY138" fmla="*/ 23413 h 1032967"/>
                <a:gd name="connsiteX139" fmla="*/ 668484 w 1212953"/>
                <a:gd name="connsiteY139" fmla="*/ 27681 h 1032967"/>
                <a:gd name="connsiteX140" fmla="*/ 677020 w 1212953"/>
                <a:gd name="connsiteY140" fmla="*/ 30120 h 1032967"/>
                <a:gd name="connsiteX141" fmla="*/ 702871 w 1212953"/>
                <a:gd name="connsiteY141" fmla="*/ 30851 h 1032967"/>
                <a:gd name="connsiteX142" fmla="*/ 702871 w 1212953"/>
                <a:gd name="connsiteY142" fmla="*/ 37924 h 1032967"/>
                <a:gd name="connsiteX143" fmla="*/ 683970 w 1212953"/>
                <a:gd name="connsiteY143" fmla="*/ 39265 h 1032967"/>
                <a:gd name="connsiteX144" fmla="*/ 674581 w 1212953"/>
                <a:gd name="connsiteY144" fmla="*/ 40363 h 1032967"/>
                <a:gd name="connsiteX145" fmla="*/ 674581 w 1212953"/>
                <a:gd name="connsiteY145" fmla="*/ 40607 h 1032967"/>
                <a:gd name="connsiteX146" fmla="*/ 703725 w 1212953"/>
                <a:gd name="connsiteY146" fmla="*/ 40607 h 1032967"/>
                <a:gd name="connsiteX147" fmla="*/ 688604 w 1212953"/>
                <a:gd name="connsiteY147" fmla="*/ 48533 h 1032967"/>
                <a:gd name="connsiteX148" fmla="*/ 670069 w 1212953"/>
                <a:gd name="connsiteY148" fmla="*/ 48533 h 1032967"/>
                <a:gd name="connsiteX149" fmla="*/ 667021 w 1212953"/>
                <a:gd name="connsiteY149" fmla="*/ 50118 h 1032967"/>
                <a:gd name="connsiteX150" fmla="*/ 679215 w 1212953"/>
                <a:gd name="connsiteY150" fmla="*/ 56337 h 1032967"/>
                <a:gd name="connsiteX151" fmla="*/ 676898 w 1212953"/>
                <a:gd name="connsiteY151" fmla="*/ 64507 h 1032967"/>
                <a:gd name="connsiteX152" fmla="*/ 665679 w 1212953"/>
                <a:gd name="connsiteY152" fmla="*/ 64507 h 1032967"/>
                <a:gd name="connsiteX153" fmla="*/ 658363 w 1212953"/>
                <a:gd name="connsiteY153" fmla="*/ 55483 h 1032967"/>
                <a:gd name="connsiteX154" fmla="*/ 649339 w 1212953"/>
                <a:gd name="connsiteY154" fmla="*/ 51581 h 1032967"/>
                <a:gd name="connsiteX155" fmla="*/ 630560 w 1212953"/>
                <a:gd name="connsiteY155" fmla="*/ 52191 h 1032967"/>
                <a:gd name="connsiteX156" fmla="*/ 630560 w 1212953"/>
                <a:gd name="connsiteY156" fmla="*/ 52191 h 1032967"/>
                <a:gd name="connsiteX157" fmla="*/ 619098 w 1212953"/>
                <a:gd name="connsiteY157" fmla="*/ 43533 h 1032967"/>
                <a:gd name="connsiteX158" fmla="*/ 605440 w 1212953"/>
                <a:gd name="connsiteY158" fmla="*/ 42192 h 1032967"/>
                <a:gd name="connsiteX159" fmla="*/ 603977 w 1212953"/>
                <a:gd name="connsiteY159" fmla="*/ 34022 h 1032967"/>
                <a:gd name="connsiteX160" fmla="*/ 585807 w 1212953"/>
                <a:gd name="connsiteY160" fmla="*/ 30120 h 1032967"/>
                <a:gd name="connsiteX161" fmla="*/ 569223 w 1212953"/>
                <a:gd name="connsiteY161" fmla="*/ 31705 h 1032967"/>
                <a:gd name="connsiteX162" fmla="*/ 582759 w 1212953"/>
                <a:gd name="connsiteY162" fmla="*/ 34022 h 1032967"/>
                <a:gd name="connsiteX163" fmla="*/ 588612 w 1212953"/>
                <a:gd name="connsiteY163" fmla="*/ 41460 h 1032967"/>
                <a:gd name="connsiteX164" fmla="*/ 573004 w 1212953"/>
                <a:gd name="connsiteY164" fmla="*/ 42436 h 1032967"/>
                <a:gd name="connsiteX165" fmla="*/ 560078 w 1212953"/>
                <a:gd name="connsiteY165" fmla="*/ 39265 h 1032967"/>
                <a:gd name="connsiteX166" fmla="*/ 539592 w 1212953"/>
                <a:gd name="connsiteY166" fmla="*/ 39265 h 1032967"/>
                <a:gd name="connsiteX167" fmla="*/ 537519 w 1212953"/>
                <a:gd name="connsiteY167" fmla="*/ 40119 h 1032967"/>
                <a:gd name="connsiteX168" fmla="*/ 552396 w 1212953"/>
                <a:gd name="connsiteY168" fmla="*/ 46216 h 1032967"/>
                <a:gd name="connsiteX169" fmla="*/ 564346 w 1212953"/>
                <a:gd name="connsiteY169" fmla="*/ 47435 h 1032967"/>
                <a:gd name="connsiteX170" fmla="*/ 565687 w 1212953"/>
                <a:gd name="connsiteY170" fmla="*/ 49142 h 1032967"/>
                <a:gd name="connsiteX171" fmla="*/ 567150 w 1212953"/>
                <a:gd name="connsiteY171" fmla="*/ 49142 h 1032967"/>
                <a:gd name="connsiteX172" fmla="*/ 567272 w 1212953"/>
                <a:gd name="connsiteY172" fmla="*/ 51337 h 1032967"/>
                <a:gd name="connsiteX173" fmla="*/ 570077 w 1212953"/>
                <a:gd name="connsiteY173" fmla="*/ 54874 h 1032967"/>
                <a:gd name="connsiteX174" fmla="*/ 585929 w 1212953"/>
                <a:gd name="connsiteY174" fmla="*/ 52801 h 1032967"/>
                <a:gd name="connsiteX175" fmla="*/ 623609 w 1212953"/>
                <a:gd name="connsiteY175" fmla="*/ 60483 h 1032967"/>
                <a:gd name="connsiteX176" fmla="*/ 636901 w 1212953"/>
                <a:gd name="connsiteY176" fmla="*/ 66214 h 1032967"/>
                <a:gd name="connsiteX177" fmla="*/ 647632 w 1212953"/>
                <a:gd name="connsiteY177" fmla="*/ 81945 h 1032967"/>
                <a:gd name="connsiteX178" fmla="*/ 647632 w 1212953"/>
                <a:gd name="connsiteY178" fmla="*/ 91944 h 1032967"/>
                <a:gd name="connsiteX179" fmla="*/ 647632 w 1212953"/>
                <a:gd name="connsiteY179" fmla="*/ 91944 h 1032967"/>
                <a:gd name="connsiteX180" fmla="*/ 632023 w 1212953"/>
                <a:gd name="connsiteY180" fmla="*/ 85237 h 1032967"/>
                <a:gd name="connsiteX181" fmla="*/ 632023 w 1212953"/>
                <a:gd name="connsiteY181" fmla="*/ 79872 h 1032967"/>
                <a:gd name="connsiteX182" fmla="*/ 623000 w 1212953"/>
                <a:gd name="connsiteY182" fmla="*/ 71580 h 1032967"/>
                <a:gd name="connsiteX183" fmla="*/ 614342 w 1212953"/>
                <a:gd name="connsiteY183" fmla="*/ 67800 h 1032967"/>
                <a:gd name="connsiteX184" fmla="*/ 611293 w 1212953"/>
                <a:gd name="connsiteY184" fmla="*/ 69385 h 1032967"/>
                <a:gd name="connsiteX185" fmla="*/ 615805 w 1212953"/>
                <a:gd name="connsiteY185" fmla="*/ 79140 h 1032967"/>
                <a:gd name="connsiteX186" fmla="*/ 603733 w 1212953"/>
                <a:gd name="connsiteY186" fmla="*/ 82554 h 1032967"/>
                <a:gd name="connsiteX187" fmla="*/ 597880 w 1212953"/>
                <a:gd name="connsiteY187" fmla="*/ 76579 h 1032967"/>
                <a:gd name="connsiteX188" fmla="*/ 599221 w 1212953"/>
                <a:gd name="connsiteY188" fmla="*/ 66702 h 1032967"/>
                <a:gd name="connsiteX189" fmla="*/ 595441 w 1212953"/>
                <a:gd name="connsiteY189" fmla="*/ 65117 h 1032967"/>
                <a:gd name="connsiteX190" fmla="*/ 566053 w 1212953"/>
                <a:gd name="connsiteY190" fmla="*/ 65727 h 1032967"/>
                <a:gd name="connsiteX191" fmla="*/ 537884 w 1212953"/>
                <a:gd name="connsiteY191" fmla="*/ 63897 h 1032967"/>
                <a:gd name="connsiteX192" fmla="*/ 534958 w 1212953"/>
                <a:gd name="connsiteY192" fmla="*/ 64507 h 1032967"/>
                <a:gd name="connsiteX193" fmla="*/ 540201 w 1212953"/>
                <a:gd name="connsiteY193" fmla="*/ 66092 h 1032967"/>
                <a:gd name="connsiteX194" fmla="*/ 574833 w 1212953"/>
                <a:gd name="connsiteY194" fmla="*/ 87920 h 1032967"/>
                <a:gd name="connsiteX195" fmla="*/ 570321 w 1212953"/>
                <a:gd name="connsiteY195" fmla="*/ 89871 h 1032967"/>
                <a:gd name="connsiteX196" fmla="*/ 602514 w 1212953"/>
                <a:gd name="connsiteY196" fmla="*/ 96212 h 1032967"/>
                <a:gd name="connsiteX197" fmla="*/ 587637 w 1212953"/>
                <a:gd name="connsiteY197" fmla="*/ 101334 h 1032967"/>
                <a:gd name="connsiteX198" fmla="*/ 571540 w 1212953"/>
                <a:gd name="connsiteY198" fmla="*/ 100114 h 1032967"/>
                <a:gd name="connsiteX199" fmla="*/ 553859 w 1212953"/>
                <a:gd name="connsiteY199" fmla="*/ 98895 h 1032967"/>
                <a:gd name="connsiteX200" fmla="*/ 550079 w 1212953"/>
                <a:gd name="connsiteY200" fmla="*/ 101334 h 1032967"/>
                <a:gd name="connsiteX201" fmla="*/ 554346 w 1212953"/>
                <a:gd name="connsiteY201" fmla="*/ 115357 h 1032967"/>
                <a:gd name="connsiteX202" fmla="*/ 551542 w 1212953"/>
                <a:gd name="connsiteY202" fmla="*/ 117674 h 1032967"/>
                <a:gd name="connsiteX203" fmla="*/ 564590 w 1212953"/>
                <a:gd name="connsiteY203" fmla="*/ 123405 h 1032967"/>
                <a:gd name="connsiteX204" fmla="*/ 561663 w 1212953"/>
                <a:gd name="connsiteY204" fmla="*/ 129624 h 1032967"/>
                <a:gd name="connsiteX205" fmla="*/ 545567 w 1212953"/>
                <a:gd name="connsiteY205" fmla="*/ 129624 h 1032967"/>
                <a:gd name="connsiteX206" fmla="*/ 519593 w 1212953"/>
                <a:gd name="connsiteY206" fmla="*/ 111455 h 1032967"/>
                <a:gd name="connsiteX207" fmla="*/ 505936 w 1212953"/>
                <a:gd name="connsiteY207" fmla="*/ 104992 h 1032967"/>
                <a:gd name="connsiteX208" fmla="*/ 489230 w 1212953"/>
                <a:gd name="connsiteY208" fmla="*/ 103650 h 1032967"/>
                <a:gd name="connsiteX209" fmla="*/ 487766 w 1212953"/>
                <a:gd name="connsiteY209" fmla="*/ 98041 h 1032967"/>
                <a:gd name="connsiteX210" fmla="*/ 467890 w 1212953"/>
                <a:gd name="connsiteY210" fmla="*/ 94261 h 1032967"/>
                <a:gd name="connsiteX211" fmla="*/ 466427 w 1212953"/>
                <a:gd name="connsiteY211" fmla="*/ 88408 h 1032967"/>
                <a:gd name="connsiteX212" fmla="*/ 454964 w 1212953"/>
                <a:gd name="connsiteY212" fmla="*/ 82311 h 1032967"/>
                <a:gd name="connsiteX213" fmla="*/ 432161 w 1212953"/>
                <a:gd name="connsiteY213" fmla="*/ 82920 h 1032967"/>
                <a:gd name="connsiteX214" fmla="*/ 430332 w 1212953"/>
                <a:gd name="connsiteY214" fmla="*/ 84506 h 1032967"/>
                <a:gd name="connsiteX215" fmla="*/ 434966 w 1212953"/>
                <a:gd name="connsiteY215" fmla="*/ 88530 h 1032967"/>
                <a:gd name="connsiteX216" fmla="*/ 433502 w 1212953"/>
                <a:gd name="connsiteY216" fmla="*/ 103041 h 1032967"/>
                <a:gd name="connsiteX217" fmla="*/ 449355 w 1212953"/>
                <a:gd name="connsiteY217" fmla="*/ 112186 h 1032967"/>
                <a:gd name="connsiteX218" fmla="*/ 463988 w 1212953"/>
                <a:gd name="connsiteY218" fmla="*/ 121576 h 1032967"/>
                <a:gd name="connsiteX219" fmla="*/ 438258 w 1212953"/>
                <a:gd name="connsiteY219" fmla="*/ 121576 h 1032967"/>
                <a:gd name="connsiteX220" fmla="*/ 464110 w 1212953"/>
                <a:gd name="connsiteY220" fmla="*/ 133282 h 1032967"/>
                <a:gd name="connsiteX221" fmla="*/ 454233 w 1212953"/>
                <a:gd name="connsiteY221" fmla="*/ 139745 h 1032967"/>
                <a:gd name="connsiteX222" fmla="*/ 409358 w 1212953"/>
                <a:gd name="connsiteY222" fmla="*/ 119747 h 1032967"/>
                <a:gd name="connsiteX223" fmla="*/ 394725 w 1212953"/>
                <a:gd name="connsiteY223" fmla="*/ 116820 h 1032967"/>
                <a:gd name="connsiteX224" fmla="*/ 393628 w 1212953"/>
                <a:gd name="connsiteY224" fmla="*/ 117430 h 1032967"/>
                <a:gd name="connsiteX225" fmla="*/ 397652 w 1212953"/>
                <a:gd name="connsiteY225" fmla="*/ 119259 h 1032967"/>
                <a:gd name="connsiteX226" fmla="*/ 383019 w 1212953"/>
                <a:gd name="connsiteY226" fmla="*/ 139745 h 1032967"/>
                <a:gd name="connsiteX227" fmla="*/ 375702 w 1212953"/>
                <a:gd name="connsiteY227" fmla="*/ 142062 h 1032967"/>
                <a:gd name="connsiteX228" fmla="*/ 369483 w 1212953"/>
                <a:gd name="connsiteY228" fmla="*/ 138526 h 1032967"/>
                <a:gd name="connsiteX229" fmla="*/ 372410 w 1212953"/>
                <a:gd name="connsiteY229" fmla="*/ 106943 h 1032967"/>
                <a:gd name="connsiteX230" fmla="*/ 367288 w 1212953"/>
                <a:gd name="connsiteY230" fmla="*/ 95236 h 1032967"/>
                <a:gd name="connsiteX231" fmla="*/ 361435 w 1212953"/>
                <a:gd name="connsiteY231" fmla="*/ 92188 h 1032967"/>
                <a:gd name="connsiteX232" fmla="*/ 344851 w 1212953"/>
                <a:gd name="connsiteY232" fmla="*/ 95358 h 1032967"/>
                <a:gd name="connsiteX233" fmla="*/ 348021 w 1212953"/>
                <a:gd name="connsiteY233" fmla="*/ 102797 h 1032967"/>
                <a:gd name="connsiteX234" fmla="*/ 328023 w 1212953"/>
                <a:gd name="connsiteY234" fmla="*/ 101334 h 1032967"/>
                <a:gd name="connsiteX235" fmla="*/ 312171 w 1212953"/>
                <a:gd name="connsiteY235" fmla="*/ 105601 h 1032967"/>
                <a:gd name="connsiteX236" fmla="*/ 296806 w 1212953"/>
                <a:gd name="connsiteY236" fmla="*/ 105601 h 1032967"/>
                <a:gd name="connsiteX237" fmla="*/ 264979 w 1212953"/>
                <a:gd name="connsiteY237" fmla="*/ 112186 h 1032967"/>
                <a:gd name="connsiteX238" fmla="*/ 278027 w 1212953"/>
                <a:gd name="connsiteY238" fmla="*/ 118405 h 1032967"/>
                <a:gd name="connsiteX239" fmla="*/ 282417 w 1212953"/>
                <a:gd name="connsiteY239" fmla="*/ 124015 h 1032967"/>
                <a:gd name="connsiteX240" fmla="*/ 302781 w 1212953"/>
                <a:gd name="connsiteY240" fmla="*/ 135355 h 1032967"/>
                <a:gd name="connsiteX241" fmla="*/ 304976 w 1212953"/>
                <a:gd name="connsiteY241" fmla="*/ 148037 h 1032967"/>
                <a:gd name="connsiteX242" fmla="*/ 267540 w 1212953"/>
                <a:gd name="connsiteY242" fmla="*/ 133282 h 1032967"/>
                <a:gd name="connsiteX243" fmla="*/ 267540 w 1212953"/>
                <a:gd name="connsiteY243" fmla="*/ 126941 h 1032967"/>
                <a:gd name="connsiteX244" fmla="*/ 260589 w 1212953"/>
                <a:gd name="connsiteY244" fmla="*/ 123527 h 1032967"/>
                <a:gd name="connsiteX245" fmla="*/ 234372 w 1212953"/>
                <a:gd name="connsiteY245" fmla="*/ 124137 h 1032967"/>
                <a:gd name="connsiteX246" fmla="*/ 222422 w 1212953"/>
                <a:gd name="connsiteY246" fmla="*/ 126332 h 1032967"/>
                <a:gd name="connsiteX247" fmla="*/ 221446 w 1212953"/>
                <a:gd name="connsiteY247" fmla="*/ 127429 h 1032967"/>
                <a:gd name="connsiteX248" fmla="*/ 224738 w 1212953"/>
                <a:gd name="connsiteY248" fmla="*/ 130721 h 1032967"/>
                <a:gd name="connsiteX249" fmla="*/ 226080 w 1212953"/>
                <a:gd name="connsiteY249" fmla="*/ 136331 h 1032967"/>
                <a:gd name="connsiteX250" fmla="*/ 239981 w 1212953"/>
                <a:gd name="connsiteY250" fmla="*/ 141696 h 1032967"/>
                <a:gd name="connsiteX251" fmla="*/ 229128 w 1212953"/>
                <a:gd name="connsiteY251" fmla="*/ 149622 h 1032967"/>
                <a:gd name="connsiteX252" fmla="*/ 233396 w 1212953"/>
                <a:gd name="connsiteY252" fmla="*/ 152915 h 1032967"/>
                <a:gd name="connsiteX253" fmla="*/ 233396 w 1212953"/>
                <a:gd name="connsiteY253" fmla="*/ 163524 h 1032967"/>
                <a:gd name="connsiteX254" fmla="*/ 211081 w 1212953"/>
                <a:gd name="connsiteY254" fmla="*/ 169743 h 1032967"/>
                <a:gd name="connsiteX255" fmla="*/ 211081 w 1212953"/>
                <a:gd name="connsiteY255" fmla="*/ 169743 h 1032967"/>
                <a:gd name="connsiteX256" fmla="*/ 204984 w 1212953"/>
                <a:gd name="connsiteY256" fmla="*/ 165719 h 1032967"/>
                <a:gd name="connsiteX257" fmla="*/ 195472 w 1212953"/>
                <a:gd name="connsiteY257" fmla="*/ 163890 h 1032967"/>
                <a:gd name="connsiteX258" fmla="*/ 196692 w 1212953"/>
                <a:gd name="connsiteY258" fmla="*/ 177669 h 1032967"/>
                <a:gd name="connsiteX259" fmla="*/ 185961 w 1212953"/>
                <a:gd name="connsiteY259" fmla="*/ 180474 h 1032967"/>
                <a:gd name="connsiteX260" fmla="*/ 181693 w 1212953"/>
                <a:gd name="connsiteY260" fmla="*/ 167914 h 1032967"/>
                <a:gd name="connsiteX261" fmla="*/ 178157 w 1212953"/>
                <a:gd name="connsiteY261" fmla="*/ 168279 h 1032967"/>
                <a:gd name="connsiteX262" fmla="*/ 149744 w 1212953"/>
                <a:gd name="connsiteY262" fmla="*/ 185839 h 1032967"/>
                <a:gd name="connsiteX263" fmla="*/ 149744 w 1212953"/>
                <a:gd name="connsiteY263" fmla="*/ 193277 h 1032967"/>
                <a:gd name="connsiteX264" fmla="*/ 138404 w 1212953"/>
                <a:gd name="connsiteY264" fmla="*/ 194619 h 1032967"/>
                <a:gd name="connsiteX265" fmla="*/ 126941 w 1212953"/>
                <a:gd name="connsiteY265" fmla="*/ 201448 h 1032967"/>
                <a:gd name="connsiteX266" fmla="*/ 110113 w 1212953"/>
                <a:gd name="connsiteY266" fmla="*/ 205959 h 1032967"/>
                <a:gd name="connsiteX267" fmla="*/ 110113 w 1212953"/>
                <a:gd name="connsiteY267" fmla="*/ 212910 h 1032967"/>
                <a:gd name="connsiteX268" fmla="*/ 115723 w 1212953"/>
                <a:gd name="connsiteY268" fmla="*/ 215959 h 1032967"/>
                <a:gd name="connsiteX269" fmla="*/ 115723 w 1212953"/>
                <a:gd name="connsiteY269" fmla="*/ 220227 h 1032967"/>
                <a:gd name="connsiteX270" fmla="*/ 141574 w 1212953"/>
                <a:gd name="connsiteY270" fmla="*/ 223031 h 1032967"/>
                <a:gd name="connsiteX271" fmla="*/ 150110 w 1212953"/>
                <a:gd name="connsiteY271" fmla="*/ 218763 h 1032967"/>
                <a:gd name="connsiteX272" fmla="*/ 157183 w 1212953"/>
                <a:gd name="connsiteY272" fmla="*/ 219373 h 1032967"/>
                <a:gd name="connsiteX273" fmla="*/ 169133 w 1212953"/>
                <a:gd name="connsiteY273" fmla="*/ 214251 h 1032967"/>
                <a:gd name="connsiteX274" fmla="*/ 169133 w 1212953"/>
                <a:gd name="connsiteY274" fmla="*/ 214251 h 1032967"/>
                <a:gd name="connsiteX275" fmla="*/ 179986 w 1212953"/>
                <a:gd name="connsiteY275" fmla="*/ 221690 h 1032967"/>
                <a:gd name="connsiteX276" fmla="*/ 171328 w 1212953"/>
                <a:gd name="connsiteY276" fmla="*/ 226446 h 1032967"/>
                <a:gd name="connsiteX277" fmla="*/ 168889 w 1212953"/>
                <a:gd name="connsiteY277" fmla="*/ 228031 h 1032967"/>
                <a:gd name="connsiteX278" fmla="*/ 179742 w 1212953"/>
                <a:gd name="connsiteY278" fmla="*/ 233518 h 1032967"/>
                <a:gd name="connsiteX279" fmla="*/ 157670 w 1212953"/>
                <a:gd name="connsiteY279" fmla="*/ 237664 h 1032967"/>
                <a:gd name="connsiteX280" fmla="*/ 168036 w 1212953"/>
                <a:gd name="connsiteY280" fmla="*/ 247663 h 1032967"/>
                <a:gd name="connsiteX281" fmla="*/ 133892 w 1212953"/>
                <a:gd name="connsiteY281" fmla="*/ 271198 h 1032967"/>
                <a:gd name="connsiteX282" fmla="*/ 124746 w 1212953"/>
                <a:gd name="connsiteY282" fmla="*/ 268515 h 1032967"/>
                <a:gd name="connsiteX283" fmla="*/ 95846 w 1212953"/>
                <a:gd name="connsiteY283" fmla="*/ 269735 h 1032967"/>
                <a:gd name="connsiteX284" fmla="*/ 87310 w 1212953"/>
                <a:gd name="connsiteY284" fmla="*/ 275222 h 1032967"/>
                <a:gd name="connsiteX285" fmla="*/ 80969 w 1212953"/>
                <a:gd name="connsiteY285" fmla="*/ 275710 h 1032967"/>
                <a:gd name="connsiteX286" fmla="*/ 85847 w 1212953"/>
                <a:gd name="connsiteY286" fmla="*/ 277905 h 1032967"/>
                <a:gd name="connsiteX287" fmla="*/ 75848 w 1212953"/>
                <a:gd name="connsiteY287" fmla="*/ 283270 h 1032967"/>
                <a:gd name="connsiteX288" fmla="*/ 60239 w 1212953"/>
                <a:gd name="connsiteY288" fmla="*/ 283270 h 1032967"/>
                <a:gd name="connsiteX289" fmla="*/ 40119 w 1212953"/>
                <a:gd name="connsiteY289" fmla="*/ 293148 h 1032967"/>
                <a:gd name="connsiteX290" fmla="*/ 40119 w 1212953"/>
                <a:gd name="connsiteY290" fmla="*/ 293148 h 1032967"/>
                <a:gd name="connsiteX291" fmla="*/ 31217 w 1212953"/>
                <a:gd name="connsiteY291" fmla="*/ 291319 h 1032967"/>
                <a:gd name="connsiteX292" fmla="*/ 19267 w 1212953"/>
                <a:gd name="connsiteY292" fmla="*/ 291806 h 1032967"/>
                <a:gd name="connsiteX293" fmla="*/ 12316 w 1212953"/>
                <a:gd name="connsiteY293" fmla="*/ 295952 h 1032967"/>
                <a:gd name="connsiteX294" fmla="*/ 1829 w 1212953"/>
                <a:gd name="connsiteY294" fmla="*/ 300586 h 1032967"/>
                <a:gd name="connsiteX295" fmla="*/ 1341 w 1212953"/>
                <a:gd name="connsiteY295" fmla="*/ 301684 h 1032967"/>
                <a:gd name="connsiteX296" fmla="*/ 7195 w 1212953"/>
                <a:gd name="connsiteY296" fmla="*/ 305098 h 1032967"/>
                <a:gd name="connsiteX297" fmla="*/ 366 w 1212953"/>
                <a:gd name="connsiteY297" fmla="*/ 309000 h 1032967"/>
                <a:gd name="connsiteX298" fmla="*/ 0 w 1212953"/>
                <a:gd name="connsiteY298" fmla="*/ 309732 h 1032967"/>
                <a:gd name="connsiteX299" fmla="*/ 14999 w 1212953"/>
                <a:gd name="connsiteY299" fmla="*/ 318390 h 1032967"/>
                <a:gd name="connsiteX300" fmla="*/ 30607 w 1212953"/>
                <a:gd name="connsiteY300" fmla="*/ 319731 h 1032967"/>
                <a:gd name="connsiteX301" fmla="*/ 30607 w 1212953"/>
                <a:gd name="connsiteY301" fmla="*/ 321438 h 1032967"/>
                <a:gd name="connsiteX302" fmla="*/ 46582 w 1212953"/>
                <a:gd name="connsiteY302" fmla="*/ 322048 h 1032967"/>
                <a:gd name="connsiteX303" fmla="*/ 49508 w 1212953"/>
                <a:gd name="connsiteY303" fmla="*/ 325950 h 1032967"/>
                <a:gd name="connsiteX304" fmla="*/ 57556 w 1212953"/>
                <a:gd name="connsiteY304" fmla="*/ 327291 h 1032967"/>
                <a:gd name="connsiteX305" fmla="*/ 57556 w 1212953"/>
                <a:gd name="connsiteY305" fmla="*/ 331681 h 1032967"/>
                <a:gd name="connsiteX306" fmla="*/ 76335 w 1212953"/>
                <a:gd name="connsiteY306" fmla="*/ 335461 h 1032967"/>
                <a:gd name="connsiteX307" fmla="*/ 86335 w 1212953"/>
                <a:gd name="connsiteY307" fmla="*/ 329242 h 1032967"/>
                <a:gd name="connsiteX308" fmla="*/ 95358 w 1212953"/>
                <a:gd name="connsiteY308" fmla="*/ 331803 h 1032967"/>
                <a:gd name="connsiteX309" fmla="*/ 107309 w 1212953"/>
                <a:gd name="connsiteY309" fmla="*/ 330706 h 1032967"/>
                <a:gd name="connsiteX310" fmla="*/ 116088 w 1212953"/>
                <a:gd name="connsiteY310" fmla="*/ 326316 h 1032967"/>
                <a:gd name="connsiteX311" fmla="*/ 132794 w 1212953"/>
                <a:gd name="connsiteY311" fmla="*/ 328267 h 1032967"/>
                <a:gd name="connsiteX312" fmla="*/ 143281 w 1212953"/>
                <a:gd name="connsiteY312" fmla="*/ 335461 h 1032967"/>
                <a:gd name="connsiteX313" fmla="*/ 125234 w 1212953"/>
                <a:gd name="connsiteY313" fmla="*/ 344851 h 1032967"/>
                <a:gd name="connsiteX314" fmla="*/ 114747 w 1212953"/>
                <a:gd name="connsiteY314" fmla="*/ 342290 h 1032967"/>
                <a:gd name="connsiteX315" fmla="*/ 106699 w 1212953"/>
                <a:gd name="connsiteY315" fmla="*/ 342290 h 1032967"/>
                <a:gd name="connsiteX316" fmla="*/ 101090 w 1212953"/>
                <a:gd name="connsiteY316" fmla="*/ 343144 h 1032967"/>
                <a:gd name="connsiteX317" fmla="*/ 103772 w 1212953"/>
                <a:gd name="connsiteY317" fmla="*/ 342900 h 1032967"/>
                <a:gd name="connsiteX318" fmla="*/ 129258 w 1212953"/>
                <a:gd name="connsiteY318" fmla="*/ 347534 h 1032967"/>
                <a:gd name="connsiteX319" fmla="*/ 132185 w 1212953"/>
                <a:gd name="connsiteY319" fmla="*/ 354728 h 1032967"/>
                <a:gd name="connsiteX320" fmla="*/ 120600 w 1212953"/>
                <a:gd name="connsiteY320" fmla="*/ 356435 h 1032967"/>
                <a:gd name="connsiteX321" fmla="*/ 102309 w 1212953"/>
                <a:gd name="connsiteY321" fmla="*/ 351558 h 1032967"/>
                <a:gd name="connsiteX322" fmla="*/ 98041 w 1212953"/>
                <a:gd name="connsiteY322" fmla="*/ 352655 h 1032967"/>
                <a:gd name="connsiteX323" fmla="*/ 79262 w 1212953"/>
                <a:gd name="connsiteY323" fmla="*/ 353265 h 1032967"/>
                <a:gd name="connsiteX324" fmla="*/ 66458 w 1212953"/>
                <a:gd name="connsiteY324" fmla="*/ 349607 h 1032967"/>
                <a:gd name="connsiteX325" fmla="*/ 50118 w 1212953"/>
                <a:gd name="connsiteY325" fmla="*/ 348997 h 1032967"/>
                <a:gd name="connsiteX326" fmla="*/ 34022 w 1212953"/>
                <a:gd name="connsiteY326" fmla="*/ 353997 h 1032967"/>
                <a:gd name="connsiteX327" fmla="*/ 40607 w 1212953"/>
                <a:gd name="connsiteY327" fmla="*/ 360094 h 1032967"/>
                <a:gd name="connsiteX328" fmla="*/ 51581 w 1212953"/>
                <a:gd name="connsiteY328" fmla="*/ 359606 h 1032967"/>
                <a:gd name="connsiteX329" fmla="*/ 55849 w 1212953"/>
                <a:gd name="connsiteY329" fmla="*/ 354606 h 1032967"/>
                <a:gd name="connsiteX330" fmla="*/ 68165 w 1212953"/>
                <a:gd name="connsiteY330" fmla="*/ 354606 h 1032967"/>
                <a:gd name="connsiteX331" fmla="*/ 65361 w 1212953"/>
                <a:gd name="connsiteY331" fmla="*/ 364484 h 1032967"/>
                <a:gd name="connsiteX332" fmla="*/ 98285 w 1212953"/>
                <a:gd name="connsiteY332" fmla="*/ 365703 h 1032967"/>
                <a:gd name="connsiteX333" fmla="*/ 100724 w 1212953"/>
                <a:gd name="connsiteY333" fmla="*/ 376190 h 1032967"/>
                <a:gd name="connsiteX334" fmla="*/ 84140 w 1212953"/>
                <a:gd name="connsiteY334" fmla="*/ 375458 h 1032967"/>
                <a:gd name="connsiteX335" fmla="*/ 68897 w 1212953"/>
                <a:gd name="connsiteY335" fmla="*/ 380580 h 1032967"/>
                <a:gd name="connsiteX336" fmla="*/ 80238 w 1212953"/>
                <a:gd name="connsiteY336" fmla="*/ 387896 h 1032967"/>
                <a:gd name="connsiteX337" fmla="*/ 105967 w 1212953"/>
                <a:gd name="connsiteY337" fmla="*/ 391067 h 1032967"/>
                <a:gd name="connsiteX338" fmla="*/ 112552 w 1212953"/>
                <a:gd name="connsiteY338" fmla="*/ 393871 h 1032967"/>
                <a:gd name="connsiteX339" fmla="*/ 122429 w 1212953"/>
                <a:gd name="connsiteY339" fmla="*/ 393506 h 1032967"/>
                <a:gd name="connsiteX340" fmla="*/ 113284 w 1212953"/>
                <a:gd name="connsiteY340" fmla="*/ 391677 h 1032967"/>
                <a:gd name="connsiteX341" fmla="*/ 110845 w 1212953"/>
                <a:gd name="connsiteY341" fmla="*/ 382287 h 1032967"/>
                <a:gd name="connsiteX342" fmla="*/ 124136 w 1212953"/>
                <a:gd name="connsiteY342" fmla="*/ 382287 h 1032967"/>
                <a:gd name="connsiteX343" fmla="*/ 130599 w 1212953"/>
                <a:gd name="connsiteY343" fmla="*/ 386677 h 1032967"/>
                <a:gd name="connsiteX344" fmla="*/ 135477 w 1212953"/>
                <a:gd name="connsiteY344" fmla="*/ 383019 h 1032967"/>
                <a:gd name="connsiteX345" fmla="*/ 146086 w 1212953"/>
                <a:gd name="connsiteY345" fmla="*/ 381433 h 1032967"/>
                <a:gd name="connsiteX346" fmla="*/ 149257 w 1212953"/>
                <a:gd name="connsiteY346" fmla="*/ 388872 h 1032967"/>
                <a:gd name="connsiteX347" fmla="*/ 153403 w 1212953"/>
                <a:gd name="connsiteY347" fmla="*/ 390213 h 1032967"/>
                <a:gd name="connsiteX348" fmla="*/ 164499 w 1212953"/>
                <a:gd name="connsiteY348" fmla="*/ 387531 h 1032967"/>
                <a:gd name="connsiteX349" fmla="*/ 167426 w 1212953"/>
                <a:gd name="connsiteY349" fmla="*/ 379970 h 1032967"/>
                <a:gd name="connsiteX350" fmla="*/ 178157 w 1212953"/>
                <a:gd name="connsiteY350" fmla="*/ 378995 h 1032967"/>
                <a:gd name="connsiteX351" fmla="*/ 178157 w 1212953"/>
                <a:gd name="connsiteY351" fmla="*/ 385336 h 1032967"/>
                <a:gd name="connsiteX352" fmla="*/ 186205 w 1212953"/>
                <a:gd name="connsiteY352" fmla="*/ 385336 h 1032967"/>
                <a:gd name="connsiteX353" fmla="*/ 190595 w 1212953"/>
                <a:gd name="connsiteY353" fmla="*/ 379117 h 1032967"/>
                <a:gd name="connsiteX354" fmla="*/ 199984 w 1212953"/>
                <a:gd name="connsiteY354" fmla="*/ 379848 h 1032967"/>
                <a:gd name="connsiteX355" fmla="*/ 203886 w 1212953"/>
                <a:gd name="connsiteY355" fmla="*/ 386189 h 1032967"/>
                <a:gd name="connsiteX356" fmla="*/ 214129 w 1212953"/>
                <a:gd name="connsiteY356" fmla="*/ 382775 h 1032967"/>
                <a:gd name="connsiteX357" fmla="*/ 237542 w 1212953"/>
                <a:gd name="connsiteY357" fmla="*/ 386433 h 1032967"/>
                <a:gd name="connsiteX358" fmla="*/ 235713 w 1212953"/>
                <a:gd name="connsiteY358" fmla="*/ 389604 h 1032967"/>
                <a:gd name="connsiteX359" fmla="*/ 241566 w 1212953"/>
                <a:gd name="connsiteY359" fmla="*/ 392652 h 1032967"/>
                <a:gd name="connsiteX360" fmla="*/ 253395 w 1212953"/>
                <a:gd name="connsiteY360" fmla="*/ 390701 h 1032967"/>
                <a:gd name="connsiteX361" fmla="*/ 259126 w 1212953"/>
                <a:gd name="connsiteY361" fmla="*/ 396920 h 1032967"/>
                <a:gd name="connsiteX362" fmla="*/ 268515 w 1212953"/>
                <a:gd name="connsiteY362" fmla="*/ 396432 h 1032967"/>
                <a:gd name="connsiteX363" fmla="*/ 287782 w 1212953"/>
                <a:gd name="connsiteY363" fmla="*/ 402651 h 1032967"/>
                <a:gd name="connsiteX364" fmla="*/ 284977 w 1212953"/>
                <a:gd name="connsiteY364" fmla="*/ 413504 h 1032967"/>
                <a:gd name="connsiteX365" fmla="*/ 293391 w 1212953"/>
                <a:gd name="connsiteY365" fmla="*/ 414967 h 1032967"/>
                <a:gd name="connsiteX366" fmla="*/ 317658 w 1212953"/>
                <a:gd name="connsiteY366" fmla="*/ 442892 h 1032967"/>
                <a:gd name="connsiteX367" fmla="*/ 327413 w 1212953"/>
                <a:gd name="connsiteY367" fmla="*/ 446184 h 1032967"/>
                <a:gd name="connsiteX368" fmla="*/ 338754 w 1212953"/>
                <a:gd name="connsiteY368" fmla="*/ 455330 h 1032967"/>
                <a:gd name="connsiteX369" fmla="*/ 330218 w 1212953"/>
                <a:gd name="connsiteY369" fmla="*/ 459476 h 1032967"/>
                <a:gd name="connsiteX370" fmla="*/ 333876 w 1212953"/>
                <a:gd name="connsiteY370" fmla="*/ 473134 h 1032967"/>
                <a:gd name="connsiteX371" fmla="*/ 344607 w 1212953"/>
                <a:gd name="connsiteY371" fmla="*/ 479596 h 1032967"/>
                <a:gd name="connsiteX372" fmla="*/ 340217 w 1212953"/>
                <a:gd name="connsiteY372" fmla="*/ 489230 h 1032967"/>
                <a:gd name="connsiteX373" fmla="*/ 355826 w 1212953"/>
                <a:gd name="connsiteY373" fmla="*/ 502765 h 1032967"/>
                <a:gd name="connsiteX374" fmla="*/ 350704 w 1212953"/>
                <a:gd name="connsiteY374" fmla="*/ 514472 h 1032967"/>
                <a:gd name="connsiteX375" fmla="*/ 366556 w 1212953"/>
                <a:gd name="connsiteY375" fmla="*/ 516789 h 1032967"/>
                <a:gd name="connsiteX376" fmla="*/ 369971 w 1212953"/>
                <a:gd name="connsiteY376" fmla="*/ 540811 h 1032967"/>
                <a:gd name="connsiteX377" fmla="*/ 353996 w 1212953"/>
                <a:gd name="connsiteY377" fmla="*/ 538006 h 1032967"/>
                <a:gd name="connsiteX378" fmla="*/ 353143 w 1212953"/>
                <a:gd name="connsiteY378" fmla="*/ 538738 h 1032967"/>
                <a:gd name="connsiteX379" fmla="*/ 358508 w 1212953"/>
                <a:gd name="connsiteY379" fmla="*/ 548493 h 1032967"/>
                <a:gd name="connsiteX380" fmla="*/ 354606 w 1212953"/>
                <a:gd name="connsiteY380" fmla="*/ 555566 h 1032967"/>
                <a:gd name="connsiteX381" fmla="*/ 364849 w 1212953"/>
                <a:gd name="connsiteY381" fmla="*/ 563736 h 1032967"/>
                <a:gd name="connsiteX382" fmla="*/ 348875 w 1212953"/>
                <a:gd name="connsiteY382" fmla="*/ 568614 h 1032967"/>
                <a:gd name="connsiteX383" fmla="*/ 358265 w 1212953"/>
                <a:gd name="connsiteY383" fmla="*/ 573613 h 1032967"/>
                <a:gd name="connsiteX384" fmla="*/ 372654 w 1212953"/>
                <a:gd name="connsiteY384" fmla="*/ 575808 h 1032967"/>
                <a:gd name="connsiteX385" fmla="*/ 374117 w 1212953"/>
                <a:gd name="connsiteY385" fmla="*/ 563614 h 1032967"/>
                <a:gd name="connsiteX386" fmla="*/ 380946 w 1212953"/>
                <a:gd name="connsiteY386" fmla="*/ 562761 h 1032967"/>
                <a:gd name="connsiteX387" fmla="*/ 380946 w 1212953"/>
                <a:gd name="connsiteY387" fmla="*/ 553005 h 1032967"/>
                <a:gd name="connsiteX388" fmla="*/ 380946 w 1212953"/>
                <a:gd name="connsiteY388" fmla="*/ 553005 h 1032967"/>
                <a:gd name="connsiteX389" fmla="*/ 394359 w 1212953"/>
                <a:gd name="connsiteY389" fmla="*/ 554103 h 1032967"/>
                <a:gd name="connsiteX390" fmla="*/ 397408 w 1212953"/>
                <a:gd name="connsiteY390" fmla="*/ 560566 h 1032967"/>
                <a:gd name="connsiteX391" fmla="*/ 416431 w 1212953"/>
                <a:gd name="connsiteY391" fmla="*/ 572028 h 1032967"/>
                <a:gd name="connsiteX392" fmla="*/ 409602 w 1212953"/>
                <a:gd name="connsiteY392" fmla="*/ 577759 h 1032967"/>
                <a:gd name="connsiteX393" fmla="*/ 424845 w 1212953"/>
                <a:gd name="connsiteY393" fmla="*/ 585564 h 1032967"/>
                <a:gd name="connsiteX394" fmla="*/ 440697 w 1212953"/>
                <a:gd name="connsiteY394" fmla="*/ 587881 h 1032967"/>
                <a:gd name="connsiteX395" fmla="*/ 430088 w 1212953"/>
                <a:gd name="connsiteY395" fmla="*/ 596295 h 1032967"/>
                <a:gd name="connsiteX396" fmla="*/ 436429 w 1212953"/>
                <a:gd name="connsiteY396" fmla="*/ 603245 h 1032967"/>
                <a:gd name="connsiteX397" fmla="*/ 435210 w 1212953"/>
                <a:gd name="connsiteY397" fmla="*/ 607757 h 1032967"/>
                <a:gd name="connsiteX398" fmla="*/ 451794 w 1212953"/>
                <a:gd name="connsiteY398" fmla="*/ 615683 h 1032967"/>
                <a:gd name="connsiteX399" fmla="*/ 439843 w 1212953"/>
                <a:gd name="connsiteY399" fmla="*/ 621415 h 1032967"/>
                <a:gd name="connsiteX400" fmla="*/ 415211 w 1212953"/>
                <a:gd name="connsiteY400" fmla="*/ 610074 h 1032967"/>
                <a:gd name="connsiteX401" fmla="*/ 405212 w 1212953"/>
                <a:gd name="connsiteY401" fmla="*/ 610074 h 1032967"/>
                <a:gd name="connsiteX402" fmla="*/ 389725 w 1212953"/>
                <a:gd name="connsiteY402" fmla="*/ 605806 h 1032967"/>
                <a:gd name="connsiteX403" fmla="*/ 372044 w 1212953"/>
                <a:gd name="connsiteY403" fmla="*/ 603367 h 1032967"/>
                <a:gd name="connsiteX404" fmla="*/ 369605 w 1212953"/>
                <a:gd name="connsiteY404" fmla="*/ 604465 h 1032967"/>
                <a:gd name="connsiteX405" fmla="*/ 377043 w 1212953"/>
                <a:gd name="connsiteY405" fmla="*/ 612879 h 1032967"/>
                <a:gd name="connsiteX406" fmla="*/ 393871 w 1212953"/>
                <a:gd name="connsiteY406" fmla="*/ 616171 h 1032967"/>
                <a:gd name="connsiteX407" fmla="*/ 409358 w 1212953"/>
                <a:gd name="connsiteY407" fmla="*/ 626414 h 1032967"/>
                <a:gd name="connsiteX408" fmla="*/ 434112 w 1212953"/>
                <a:gd name="connsiteY408" fmla="*/ 629707 h 1032967"/>
                <a:gd name="connsiteX409" fmla="*/ 452891 w 1212953"/>
                <a:gd name="connsiteY409" fmla="*/ 626902 h 1032967"/>
                <a:gd name="connsiteX410" fmla="*/ 454842 w 1212953"/>
                <a:gd name="connsiteY410" fmla="*/ 637877 h 1032967"/>
                <a:gd name="connsiteX411" fmla="*/ 448623 w 1212953"/>
                <a:gd name="connsiteY411" fmla="*/ 642389 h 1032967"/>
                <a:gd name="connsiteX412" fmla="*/ 456305 w 1212953"/>
                <a:gd name="connsiteY412" fmla="*/ 650559 h 1032967"/>
                <a:gd name="connsiteX413" fmla="*/ 440087 w 1212953"/>
                <a:gd name="connsiteY413" fmla="*/ 656412 h 1032967"/>
                <a:gd name="connsiteX414" fmla="*/ 436673 w 1212953"/>
                <a:gd name="connsiteY414" fmla="*/ 667996 h 1032967"/>
                <a:gd name="connsiteX415" fmla="*/ 444721 w 1212953"/>
                <a:gd name="connsiteY415" fmla="*/ 671167 h 1032967"/>
                <a:gd name="connsiteX416" fmla="*/ 444721 w 1212953"/>
                <a:gd name="connsiteY416" fmla="*/ 679703 h 1032967"/>
                <a:gd name="connsiteX417" fmla="*/ 424479 w 1212953"/>
                <a:gd name="connsiteY417" fmla="*/ 680678 h 1032967"/>
                <a:gd name="connsiteX418" fmla="*/ 408992 w 1212953"/>
                <a:gd name="connsiteY418" fmla="*/ 683849 h 1032967"/>
                <a:gd name="connsiteX419" fmla="*/ 408260 w 1212953"/>
                <a:gd name="connsiteY419" fmla="*/ 687141 h 1032967"/>
                <a:gd name="connsiteX420" fmla="*/ 415699 w 1212953"/>
                <a:gd name="connsiteY420" fmla="*/ 688361 h 1032967"/>
                <a:gd name="connsiteX421" fmla="*/ 433137 w 1212953"/>
                <a:gd name="connsiteY421" fmla="*/ 684824 h 1032967"/>
                <a:gd name="connsiteX422" fmla="*/ 433137 w 1212953"/>
                <a:gd name="connsiteY422" fmla="*/ 684824 h 1032967"/>
                <a:gd name="connsiteX423" fmla="*/ 438990 w 1212953"/>
                <a:gd name="connsiteY423" fmla="*/ 688482 h 1032967"/>
                <a:gd name="connsiteX424" fmla="*/ 451916 w 1212953"/>
                <a:gd name="connsiteY424" fmla="*/ 689580 h 1032967"/>
                <a:gd name="connsiteX425" fmla="*/ 445087 w 1212953"/>
                <a:gd name="connsiteY425" fmla="*/ 700433 h 1032967"/>
                <a:gd name="connsiteX426" fmla="*/ 423991 w 1212953"/>
                <a:gd name="connsiteY426" fmla="*/ 696896 h 1032967"/>
                <a:gd name="connsiteX427" fmla="*/ 404724 w 1212953"/>
                <a:gd name="connsiteY427" fmla="*/ 696896 h 1032967"/>
                <a:gd name="connsiteX428" fmla="*/ 386921 w 1212953"/>
                <a:gd name="connsiteY428" fmla="*/ 703725 h 1032967"/>
                <a:gd name="connsiteX429" fmla="*/ 387652 w 1212953"/>
                <a:gd name="connsiteY429" fmla="*/ 707383 h 1032967"/>
                <a:gd name="connsiteX430" fmla="*/ 391311 w 1212953"/>
                <a:gd name="connsiteY430" fmla="*/ 707871 h 1032967"/>
                <a:gd name="connsiteX431" fmla="*/ 408139 w 1212953"/>
                <a:gd name="connsiteY431" fmla="*/ 700311 h 1032967"/>
                <a:gd name="connsiteX432" fmla="*/ 418504 w 1212953"/>
                <a:gd name="connsiteY432" fmla="*/ 700311 h 1032967"/>
                <a:gd name="connsiteX433" fmla="*/ 443989 w 1212953"/>
                <a:gd name="connsiteY433" fmla="*/ 701164 h 1032967"/>
                <a:gd name="connsiteX434" fmla="*/ 449843 w 1212953"/>
                <a:gd name="connsiteY434" fmla="*/ 712993 h 1032967"/>
                <a:gd name="connsiteX435" fmla="*/ 439721 w 1212953"/>
                <a:gd name="connsiteY435" fmla="*/ 716651 h 1032967"/>
                <a:gd name="connsiteX436" fmla="*/ 424967 w 1212953"/>
                <a:gd name="connsiteY436" fmla="*/ 710432 h 1032967"/>
                <a:gd name="connsiteX437" fmla="*/ 413016 w 1212953"/>
                <a:gd name="connsiteY437" fmla="*/ 707993 h 1032967"/>
                <a:gd name="connsiteX438" fmla="*/ 388994 w 1212953"/>
                <a:gd name="connsiteY438" fmla="*/ 716773 h 1032967"/>
                <a:gd name="connsiteX439" fmla="*/ 383994 w 1212953"/>
                <a:gd name="connsiteY439" fmla="*/ 729455 h 1032967"/>
                <a:gd name="connsiteX440" fmla="*/ 385457 w 1212953"/>
                <a:gd name="connsiteY440" fmla="*/ 732138 h 1032967"/>
                <a:gd name="connsiteX441" fmla="*/ 394237 w 1212953"/>
                <a:gd name="connsiteY441" fmla="*/ 729211 h 1032967"/>
                <a:gd name="connsiteX442" fmla="*/ 410699 w 1212953"/>
                <a:gd name="connsiteY442" fmla="*/ 731406 h 1032967"/>
                <a:gd name="connsiteX443" fmla="*/ 401310 w 1212953"/>
                <a:gd name="connsiteY443" fmla="*/ 746527 h 1032967"/>
                <a:gd name="connsiteX444" fmla="*/ 393140 w 1212953"/>
                <a:gd name="connsiteY444" fmla="*/ 746527 h 1032967"/>
                <a:gd name="connsiteX445" fmla="*/ 389603 w 1212953"/>
                <a:gd name="connsiteY445" fmla="*/ 757014 h 1032967"/>
                <a:gd name="connsiteX446" fmla="*/ 397164 w 1212953"/>
                <a:gd name="connsiteY446" fmla="*/ 770793 h 1032967"/>
                <a:gd name="connsiteX447" fmla="*/ 408626 w 1212953"/>
                <a:gd name="connsiteY447" fmla="*/ 772256 h 1032967"/>
                <a:gd name="connsiteX448" fmla="*/ 414601 w 1212953"/>
                <a:gd name="connsiteY448" fmla="*/ 786280 h 1032967"/>
                <a:gd name="connsiteX449" fmla="*/ 401188 w 1212953"/>
                <a:gd name="connsiteY449" fmla="*/ 786280 h 1032967"/>
                <a:gd name="connsiteX450" fmla="*/ 400090 w 1212953"/>
                <a:gd name="connsiteY450" fmla="*/ 787865 h 1032967"/>
                <a:gd name="connsiteX451" fmla="*/ 419723 w 1212953"/>
                <a:gd name="connsiteY451" fmla="*/ 801766 h 1032967"/>
                <a:gd name="connsiteX452" fmla="*/ 416431 w 1212953"/>
                <a:gd name="connsiteY452" fmla="*/ 809814 h 1032967"/>
                <a:gd name="connsiteX453" fmla="*/ 420699 w 1212953"/>
                <a:gd name="connsiteY453" fmla="*/ 829447 h 1032967"/>
                <a:gd name="connsiteX454" fmla="*/ 418016 w 1212953"/>
                <a:gd name="connsiteY454" fmla="*/ 846519 h 1032967"/>
                <a:gd name="connsiteX455" fmla="*/ 423137 w 1212953"/>
                <a:gd name="connsiteY455" fmla="*/ 848226 h 1032967"/>
                <a:gd name="connsiteX456" fmla="*/ 432405 w 1212953"/>
                <a:gd name="connsiteY456" fmla="*/ 830910 h 1032967"/>
                <a:gd name="connsiteX457" fmla="*/ 442526 w 1212953"/>
                <a:gd name="connsiteY457" fmla="*/ 822618 h 1032967"/>
                <a:gd name="connsiteX458" fmla="*/ 462159 w 1212953"/>
                <a:gd name="connsiteY458" fmla="*/ 835666 h 1032967"/>
                <a:gd name="connsiteX459" fmla="*/ 458013 w 1212953"/>
                <a:gd name="connsiteY459" fmla="*/ 848226 h 1032967"/>
                <a:gd name="connsiteX460" fmla="*/ 450574 w 1212953"/>
                <a:gd name="connsiteY460" fmla="*/ 843836 h 1032967"/>
                <a:gd name="connsiteX461" fmla="*/ 446184 w 1212953"/>
                <a:gd name="connsiteY461" fmla="*/ 852616 h 1032967"/>
                <a:gd name="connsiteX462" fmla="*/ 446184 w 1212953"/>
                <a:gd name="connsiteY462" fmla="*/ 864078 h 1032967"/>
                <a:gd name="connsiteX463" fmla="*/ 430576 w 1212953"/>
                <a:gd name="connsiteY463" fmla="*/ 865420 h 1032967"/>
                <a:gd name="connsiteX464" fmla="*/ 430576 w 1212953"/>
                <a:gd name="connsiteY464" fmla="*/ 879565 h 1032967"/>
                <a:gd name="connsiteX465" fmla="*/ 440209 w 1212953"/>
                <a:gd name="connsiteY465" fmla="*/ 887857 h 1032967"/>
                <a:gd name="connsiteX466" fmla="*/ 441673 w 1212953"/>
                <a:gd name="connsiteY466" fmla="*/ 892247 h 1032967"/>
                <a:gd name="connsiteX467" fmla="*/ 451794 w 1212953"/>
                <a:gd name="connsiteY467" fmla="*/ 903831 h 1032967"/>
                <a:gd name="connsiteX468" fmla="*/ 451794 w 1212953"/>
                <a:gd name="connsiteY468" fmla="*/ 912489 h 1032967"/>
                <a:gd name="connsiteX469" fmla="*/ 455208 w 1212953"/>
                <a:gd name="connsiteY469" fmla="*/ 917489 h 1032967"/>
                <a:gd name="connsiteX470" fmla="*/ 449355 w 1212953"/>
                <a:gd name="connsiteY470" fmla="*/ 924683 h 1032967"/>
                <a:gd name="connsiteX471" fmla="*/ 451306 w 1212953"/>
                <a:gd name="connsiteY471" fmla="*/ 928586 h 1032967"/>
                <a:gd name="connsiteX472" fmla="*/ 467280 w 1212953"/>
                <a:gd name="connsiteY472" fmla="*/ 937243 h 1032967"/>
                <a:gd name="connsiteX473" fmla="*/ 468744 w 1212953"/>
                <a:gd name="connsiteY473" fmla="*/ 947974 h 1032967"/>
                <a:gd name="connsiteX474" fmla="*/ 474231 w 1212953"/>
                <a:gd name="connsiteY474" fmla="*/ 961510 h 1032967"/>
                <a:gd name="connsiteX475" fmla="*/ 484230 w 1212953"/>
                <a:gd name="connsiteY475" fmla="*/ 970168 h 1032967"/>
                <a:gd name="connsiteX476" fmla="*/ 485693 w 1212953"/>
                <a:gd name="connsiteY476" fmla="*/ 976996 h 1032967"/>
                <a:gd name="connsiteX477" fmla="*/ 497156 w 1212953"/>
                <a:gd name="connsiteY477" fmla="*/ 984191 h 1032967"/>
                <a:gd name="connsiteX478" fmla="*/ 498497 w 1212953"/>
                <a:gd name="connsiteY478" fmla="*/ 999678 h 1032967"/>
                <a:gd name="connsiteX479" fmla="*/ 501302 w 1212953"/>
                <a:gd name="connsiteY479" fmla="*/ 1001019 h 1032967"/>
                <a:gd name="connsiteX480" fmla="*/ 506545 w 1212953"/>
                <a:gd name="connsiteY480" fmla="*/ 991995 h 1032967"/>
                <a:gd name="connsiteX481" fmla="*/ 537519 w 1212953"/>
                <a:gd name="connsiteY481" fmla="*/ 988825 h 1032967"/>
                <a:gd name="connsiteX482" fmla="*/ 544957 w 1212953"/>
                <a:gd name="connsiteY482" fmla="*/ 1003702 h 1032967"/>
                <a:gd name="connsiteX483" fmla="*/ 565443 w 1212953"/>
                <a:gd name="connsiteY483" fmla="*/ 1013945 h 1032967"/>
                <a:gd name="connsiteX484" fmla="*/ 563980 w 1212953"/>
                <a:gd name="connsiteY484" fmla="*/ 1026139 h 1032967"/>
                <a:gd name="connsiteX485" fmla="*/ 567029 w 1212953"/>
                <a:gd name="connsiteY485" fmla="*/ 1032358 h 1032967"/>
                <a:gd name="connsiteX486" fmla="*/ 579101 w 1212953"/>
                <a:gd name="connsiteY486" fmla="*/ 1026870 h 1032967"/>
                <a:gd name="connsiteX487" fmla="*/ 586417 w 1212953"/>
                <a:gd name="connsiteY487" fmla="*/ 1032968 h 1032967"/>
                <a:gd name="connsiteX488" fmla="*/ 591905 w 1212953"/>
                <a:gd name="connsiteY488" fmla="*/ 1019798 h 1032967"/>
                <a:gd name="connsiteX489" fmla="*/ 580198 w 1212953"/>
                <a:gd name="connsiteY489" fmla="*/ 1006384 h 1032967"/>
                <a:gd name="connsiteX490" fmla="*/ 596173 w 1212953"/>
                <a:gd name="connsiteY490" fmla="*/ 1004799 h 1032967"/>
                <a:gd name="connsiteX491" fmla="*/ 594953 w 1212953"/>
                <a:gd name="connsiteY491" fmla="*/ 997726 h 1032967"/>
                <a:gd name="connsiteX492" fmla="*/ 602148 w 1212953"/>
                <a:gd name="connsiteY492" fmla="*/ 987727 h 1032967"/>
                <a:gd name="connsiteX493" fmla="*/ 600562 w 1212953"/>
                <a:gd name="connsiteY493" fmla="*/ 978582 h 1032967"/>
                <a:gd name="connsiteX494" fmla="*/ 609708 w 1212953"/>
                <a:gd name="connsiteY494" fmla="*/ 973948 h 1032967"/>
                <a:gd name="connsiteX495" fmla="*/ 614708 w 1212953"/>
                <a:gd name="connsiteY495" fmla="*/ 961388 h 1032967"/>
                <a:gd name="connsiteX496" fmla="*/ 604830 w 1212953"/>
                <a:gd name="connsiteY496" fmla="*/ 941633 h 1032967"/>
                <a:gd name="connsiteX497" fmla="*/ 610440 w 1212953"/>
                <a:gd name="connsiteY497" fmla="*/ 926269 h 1032967"/>
                <a:gd name="connsiteX498" fmla="*/ 604464 w 1212953"/>
                <a:gd name="connsiteY498" fmla="*/ 918830 h 1032967"/>
                <a:gd name="connsiteX499" fmla="*/ 613366 w 1212953"/>
                <a:gd name="connsiteY499" fmla="*/ 907977 h 1032967"/>
                <a:gd name="connsiteX500" fmla="*/ 613366 w 1212953"/>
                <a:gd name="connsiteY500" fmla="*/ 907977 h 1032967"/>
                <a:gd name="connsiteX501" fmla="*/ 621171 w 1212953"/>
                <a:gd name="connsiteY501" fmla="*/ 909319 h 1032967"/>
                <a:gd name="connsiteX502" fmla="*/ 625317 w 1212953"/>
                <a:gd name="connsiteY502" fmla="*/ 892857 h 1032967"/>
                <a:gd name="connsiteX503" fmla="*/ 632267 w 1212953"/>
                <a:gd name="connsiteY503" fmla="*/ 891515 h 1032967"/>
                <a:gd name="connsiteX504" fmla="*/ 633365 w 1212953"/>
                <a:gd name="connsiteY504" fmla="*/ 886516 h 1032967"/>
                <a:gd name="connsiteX505" fmla="*/ 624463 w 1212953"/>
                <a:gd name="connsiteY505" fmla="*/ 870663 h 1032967"/>
                <a:gd name="connsiteX506" fmla="*/ 624463 w 1212953"/>
                <a:gd name="connsiteY506" fmla="*/ 870663 h 1032967"/>
                <a:gd name="connsiteX507" fmla="*/ 643120 w 1212953"/>
                <a:gd name="connsiteY507" fmla="*/ 873712 h 1032967"/>
                <a:gd name="connsiteX508" fmla="*/ 642023 w 1212953"/>
                <a:gd name="connsiteY508" fmla="*/ 859689 h 1032967"/>
                <a:gd name="connsiteX509" fmla="*/ 626658 w 1212953"/>
                <a:gd name="connsiteY509" fmla="*/ 856884 h 1032967"/>
                <a:gd name="connsiteX510" fmla="*/ 622878 w 1212953"/>
                <a:gd name="connsiteY510" fmla="*/ 841519 h 1032967"/>
                <a:gd name="connsiteX511" fmla="*/ 639584 w 1212953"/>
                <a:gd name="connsiteY511" fmla="*/ 841519 h 1032967"/>
                <a:gd name="connsiteX512" fmla="*/ 641657 w 1212953"/>
                <a:gd name="connsiteY512" fmla="*/ 834203 h 1032967"/>
                <a:gd name="connsiteX513" fmla="*/ 634706 w 1212953"/>
                <a:gd name="connsiteY513" fmla="*/ 825911 h 1032967"/>
                <a:gd name="connsiteX514" fmla="*/ 636413 w 1212953"/>
                <a:gd name="connsiteY514" fmla="*/ 809083 h 1032967"/>
                <a:gd name="connsiteX515" fmla="*/ 654705 w 1212953"/>
                <a:gd name="connsiteY515" fmla="*/ 807741 h 1032967"/>
                <a:gd name="connsiteX516" fmla="*/ 654705 w 1212953"/>
                <a:gd name="connsiteY516" fmla="*/ 803230 h 1032967"/>
                <a:gd name="connsiteX517" fmla="*/ 648851 w 1212953"/>
                <a:gd name="connsiteY517" fmla="*/ 794328 h 1032967"/>
                <a:gd name="connsiteX518" fmla="*/ 650924 w 1212953"/>
                <a:gd name="connsiteY518" fmla="*/ 787987 h 1032967"/>
                <a:gd name="connsiteX519" fmla="*/ 688848 w 1212953"/>
                <a:gd name="connsiteY519" fmla="*/ 780914 h 1032967"/>
                <a:gd name="connsiteX520" fmla="*/ 691653 w 1212953"/>
                <a:gd name="connsiteY520" fmla="*/ 753599 h 1032967"/>
                <a:gd name="connsiteX521" fmla="*/ 695189 w 1212953"/>
                <a:gd name="connsiteY521" fmla="*/ 744820 h 1032967"/>
                <a:gd name="connsiteX522" fmla="*/ 710310 w 1212953"/>
                <a:gd name="connsiteY522" fmla="*/ 748478 h 1032967"/>
                <a:gd name="connsiteX523" fmla="*/ 707261 w 1212953"/>
                <a:gd name="connsiteY523" fmla="*/ 765306 h 1032967"/>
                <a:gd name="connsiteX524" fmla="*/ 710066 w 1212953"/>
                <a:gd name="connsiteY524" fmla="*/ 770061 h 1032967"/>
                <a:gd name="connsiteX525" fmla="*/ 720797 w 1212953"/>
                <a:gd name="connsiteY525" fmla="*/ 764696 h 1032967"/>
                <a:gd name="connsiteX526" fmla="*/ 729211 w 1212953"/>
                <a:gd name="connsiteY526" fmla="*/ 770305 h 1032967"/>
                <a:gd name="connsiteX527" fmla="*/ 742746 w 1212953"/>
                <a:gd name="connsiteY527" fmla="*/ 762989 h 1032967"/>
                <a:gd name="connsiteX528" fmla="*/ 744210 w 1212953"/>
                <a:gd name="connsiteY528" fmla="*/ 747868 h 1032967"/>
                <a:gd name="connsiteX529" fmla="*/ 762135 w 1212953"/>
                <a:gd name="connsiteY529" fmla="*/ 749331 h 1032967"/>
                <a:gd name="connsiteX530" fmla="*/ 777012 w 1212953"/>
                <a:gd name="connsiteY530" fmla="*/ 730187 h 1032967"/>
                <a:gd name="connsiteX531" fmla="*/ 785426 w 1212953"/>
                <a:gd name="connsiteY531" fmla="*/ 714944 h 1032967"/>
                <a:gd name="connsiteX532" fmla="*/ 794572 w 1212953"/>
                <a:gd name="connsiteY532" fmla="*/ 701286 h 1032967"/>
                <a:gd name="connsiteX533" fmla="*/ 813960 w 1212953"/>
                <a:gd name="connsiteY533" fmla="*/ 699579 h 1032967"/>
                <a:gd name="connsiteX534" fmla="*/ 816033 w 1212953"/>
                <a:gd name="connsiteY534" fmla="*/ 690068 h 1032967"/>
                <a:gd name="connsiteX535" fmla="*/ 805912 w 1212953"/>
                <a:gd name="connsiteY535" fmla="*/ 685434 h 1032967"/>
                <a:gd name="connsiteX536" fmla="*/ 796157 w 1212953"/>
                <a:gd name="connsiteY536" fmla="*/ 675191 h 1032967"/>
                <a:gd name="connsiteX537" fmla="*/ 813472 w 1212953"/>
                <a:gd name="connsiteY537" fmla="*/ 676532 h 1032967"/>
                <a:gd name="connsiteX538" fmla="*/ 830544 w 1212953"/>
                <a:gd name="connsiteY538" fmla="*/ 686775 h 1032967"/>
                <a:gd name="connsiteX539" fmla="*/ 837739 w 1212953"/>
                <a:gd name="connsiteY539" fmla="*/ 687507 h 1032967"/>
                <a:gd name="connsiteX540" fmla="*/ 845055 w 1212953"/>
                <a:gd name="connsiteY540" fmla="*/ 682263 h 1032967"/>
                <a:gd name="connsiteX541" fmla="*/ 853591 w 1212953"/>
                <a:gd name="connsiteY541" fmla="*/ 684824 h 1032967"/>
                <a:gd name="connsiteX542" fmla="*/ 862371 w 1212953"/>
                <a:gd name="connsiteY542" fmla="*/ 679581 h 1032967"/>
                <a:gd name="connsiteX543" fmla="*/ 862371 w 1212953"/>
                <a:gd name="connsiteY543" fmla="*/ 679581 h 1032967"/>
                <a:gd name="connsiteX544" fmla="*/ 870053 w 1212953"/>
                <a:gd name="connsiteY544" fmla="*/ 683239 h 1032967"/>
                <a:gd name="connsiteX545" fmla="*/ 877492 w 1212953"/>
                <a:gd name="connsiteY545" fmla="*/ 683239 h 1032967"/>
                <a:gd name="connsiteX546" fmla="*/ 897856 w 1212953"/>
                <a:gd name="connsiteY546" fmla="*/ 672874 h 1032967"/>
                <a:gd name="connsiteX547" fmla="*/ 906270 w 1212953"/>
                <a:gd name="connsiteY547" fmla="*/ 676288 h 1032967"/>
                <a:gd name="connsiteX548" fmla="*/ 920049 w 1212953"/>
                <a:gd name="connsiteY548" fmla="*/ 668850 h 1032967"/>
                <a:gd name="connsiteX549" fmla="*/ 936755 w 1212953"/>
                <a:gd name="connsiteY549" fmla="*/ 668850 h 1032967"/>
                <a:gd name="connsiteX550" fmla="*/ 946633 w 1212953"/>
                <a:gd name="connsiteY550" fmla="*/ 658607 h 1032967"/>
                <a:gd name="connsiteX551" fmla="*/ 953705 w 1212953"/>
                <a:gd name="connsiteY551" fmla="*/ 658607 h 1032967"/>
                <a:gd name="connsiteX552" fmla="*/ 962363 w 1212953"/>
                <a:gd name="connsiteY552" fmla="*/ 648120 h 1032967"/>
                <a:gd name="connsiteX553" fmla="*/ 969192 w 1212953"/>
                <a:gd name="connsiteY553" fmla="*/ 649827 h 1032967"/>
                <a:gd name="connsiteX554" fmla="*/ 974679 w 1212953"/>
                <a:gd name="connsiteY554" fmla="*/ 639950 h 1032967"/>
                <a:gd name="connsiteX555" fmla="*/ 983947 w 1212953"/>
                <a:gd name="connsiteY555" fmla="*/ 639950 h 1032967"/>
                <a:gd name="connsiteX556" fmla="*/ 1011384 w 1212953"/>
                <a:gd name="connsiteY556" fmla="*/ 625561 h 1032967"/>
                <a:gd name="connsiteX557" fmla="*/ 1011994 w 1212953"/>
                <a:gd name="connsiteY557" fmla="*/ 623610 h 1032967"/>
                <a:gd name="connsiteX558" fmla="*/ 1009798 w 1212953"/>
                <a:gd name="connsiteY558" fmla="*/ 622268 h 1032967"/>
                <a:gd name="connsiteX559" fmla="*/ 1001263 w 1212953"/>
                <a:gd name="connsiteY559" fmla="*/ 625683 h 1032967"/>
                <a:gd name="connsiteX560" fmla="*/ 996629 w 1212953"/>
                <a:gd name="connsiteY560" fmla="*/ 622878 h 1032967"/>
                <a:gd name="connsiteX561" fmla="*/ 960534 w 1212953"/>
                <a:gd name="connsiteY561" fmla="*/ 622878 h 1032967"/>
                <a:gd name="connsiteX562" fmla="*/ 956266 w 1212953"/>
                <a:gd name="connsiteY562" fmla="*/ 615317 h 1032967"/>
                <a:gd name="connsiteX563" fmla="*/ 945901 w 1212953"/>
                <a:gd name="connsiteY563" fmla="*/ 616049 h 1032967"/>
                <a:gd name="connsiteX564" fmla="*/ 940170 w 1212953"/>
                <a:gd name="connsiteY564" fmla="*/ 625439 h 1032967"/>
                <a:gd name="connsiteX565" fmla="*/ 929317 w 1212953"/>
                <a:gd name="connsiteY565" fmla="*/ 625439 h 1032967"/>
                <a:gd name="connsiteX566" fmla="*/ 914928 w 1212953"/>
                <a:gd name="connsiteY566" fmla="*/ 628853 h 1032967"/>
                <a:gd name="connsiteX567" fmla="*/ 895539 w 1212953"/>
                <a:gd name="connsiteY567" fmla="*/ 628853 h 1032967"/>
                <a:gd name="connsiteX568" fmla="*/ 888101 w 1212953"/>
                <a:gd name="connsiteY568" fmla="*/ 619951 h 1032967"/>
                <a:gd name="connsiteX569" fmla="*/ 907611 w 1212953"/>
                <a:gd name="connsiteY569" fmla="*/ 617756 h 1032967"/>
                <a:gd name="connsiteX570" fmla="*/ 925903 w 1212953"/>
                <a:gd name="connsiteY570" fmla="*/ 617025 h 1032967"/>
                <a:gd name="connsiteX571" fmla="*/ 926634 w 1212953"/>
                <a:gd name="connsiteY571" fmla="*/ 612635 h 1032967"/>
                <a:gd name="connsiteX572" fmla="*/ 918220 w 1212953"/>
                <a:gd name="connsiteY572" fmla="*/ 612635 h 1032967"/>
                <a:gd name="connsiteX573" fmla="*/ 911148 w 1212953"/>
                <a:gd name="connsiteY573" fmla="*/ 616049 h 1032967"/>
                <a:gd name="connsiteX574" fmla="*/ 894929 w 1212953"/>
                <a:gd name="connsiteY574" fmla="*/ 616903 h 1032967"/>
                <a:gd name="connsiteX575" fmla="*/ 894929 w 1212953"/>
                <a:gd name="connsiteY575" fmla="*/ 616903 h 1032967"/>
                <a:gd name="connsiteX576" fmla="*/ 876516 w 1212953"/>
                <a:gd name="connsiteY576" fmla="*/ 613244 h 1032967"/>
                <a:gd name="connsiteX577" fmla="*/ 873590 w 1212953"/>
                <a:gd name="connsiteY577" fmla="*/ 606172 h 1032967"/>
                <a:gd name="connsiteX578" fmla="*/ 887003 w 1212953"/>
                <a:gd name="connsiteY578" fmla="*/ 605074 h 1032967"/>
                <a:gd name="connsiteX579" fmla="*/ 893588 w 1212953"/>
                <a:gd name="connsiteY579" fmla="*/ 598611 h 1032967"/>
                <a:gd name="connsiteX580" fmla="*/ 885906 w 1212953"/>
                <a:gd name="connsiteY580" fmla="*/ 590563 h 1032967"/>
                <a:gd name="connsiteX581" fmla="*/ 920293 w 1212953"/>
                <a:gd name="connsiteY581" fmla="*/ 590563 h 1032967"/>
                <a:gd name="connsiteX582" fmla="*/ 942852 w 1212953"/>
                <a:gd name="connsiteY582" fmla="*/ 585076 h 1032967"/>
                <a:gd name="connsiteX583" fmla="*/ 943706 w 1212953"/>
                <a:gd name="connsiteY583" fmla="*/ 578491 h 1032967"/>
                <a:gd name="connsiteX584" fmla="*/ 915782 w 1212953"/>
                <a:gd name="connsiteY584" fmla="*/ 576052 h 1032967"/>
                <a:gd name="connsiteX585" fmla="*/ 897246 w 1212953"/>
                <a:gd name="connsiteY585" fmla="*/ 571419 h 1032967"/>
                <a:gd name="connsiteX586" fmla="*/ 897246 w 1212953"/>
                <a:gd name="connsiteY586" fmla="*/ 562639 h 1032967"/>
                <a:gd name="connsiteX587" fmla="*/ 878711 w 1212953"/>
                <a:gd name="connsiteY587" fmla="*/ 554591 h 1032967"/>
                <a:gd name="connsiteX588" fmla="*/ 892003 w 1212953"/>
                <a:gd name="connsiteY588" fmla="*/ 548006 h 1032967"/>
                <a:gd name="connsiteX589" fmla="*/ 908953 w 1212953"/>
                <a:gd name="connsiteY589" fmla="*/ 551664 h 1032967"/>
                <a:gd name="connsiteX590" fmla="*/ 920293 w 1212953"/>
                <a:gd name="connsiteY590" fmla="*/ 565078 h 1032967"/>
                <a:gd name="connsiteX591" fmla="*/ 942487 w 1212953"/>
                <a:gd name="connsiteY591" fmla="*/ 566907 h 1032967"/>
                <a:gd name="connsiteX592" fmla="*/ 972362 w 1212953"/>
                <a:gd name="connsiteY592" fmla="*/ 575808 h 1032967"/>
                <a:gd name="connsiteX593" fmla="*/ 972362 w 1212953"/>
                <a:gd name="connsiteY593" fmla="*/ 584344 h 1032967"/>
                <a:gd name="connsiteX594" fmla="*/ 987117 w 1212953"/>
                <a:gd name="connsiteY594" fmla="*/ 604465 h 1032967"/>
                <a:gd name="connsiteX595" fmla="*/ 1006994 w 1212953"/>
                <a:gd name="connsiteY595" fmla="*/ 608855 h 1032967"/>
                <a:gd name="connsiteX596" fmla="*/ 1008091 w 1212953"/>
                <a:gd name="connsiteY596" fmla="*/ 604099 h 1032967"/>
                <a:gd name="connsiteX597" fmla="*/ 1015774 w 1212953"/>
                <a:gd name="connsiteY597" fmla="*/ 599465 h 1032967"/>
                <a:gd name="connsiteX598" fmla="*/ 1024919 w 1212953"/>
                <a:gd name="connsiteY598" fmla="*/ 606782 h 1032967"/>
                <a:gd name="connsiteX599" fmla="*/ 1029309 w 1212953"/>
                <a:gd name="connsiteY599" fmla="*/ 606782 h 1032967"/>
                <a:gd name="connsiteX600" fmla="*/ 1031870 w 1212953"/>
                <a:gd name="connsiteY600" fmla="*/ 580076 h 1032967"/>
                <a:gd name="connsiteX601" fmla="*/ 1025529 w 1212953"/>
                <a:gd name="connsiteY601" fmla="*/ 575686 h 1032967"/>
                <a:gd name="connsiteX602" fmla="*/ 1019798 w 1212953"/>
                <a:gd name="connsiteY602" fmla="*/ 579711 h 1032967"/>
                <a:gd name="connsiteX603" fmla="*/ 1013579 w 1212953"/>
                <a:gd name="connsiteY603" fmla="*/ 565809 h 1032967"/>
                <a:gd name="connsiteX604" fmla="*/ 1003214 w 1212953"/>
                <a:gd name="connsiteY604" fmla="*/ 557151 h 1032967"/>
                <a:gd name="connsiteX605" fmla="*/ 988947 w 1212953"/>
                <a:gd name="connsiteY605" fmla="*/ 552761 h 1032967"/>
                <a:gd name="connsiteX606" fmla="*/ 974070 w 1212953"/>
                <a:gd name="connsiteY606" fmla="*/ 543006 h 1032967"/>
                <a:gd name="connsiteX607" fmla="*/ 954071 w 1212953"/>
                <a:gd name="connsiteY607" fmla="*/ 547274 h 1032967"/>
                <a:gd name="connsiteX608" fmla="*/ 939682 w 1212953"/>
                <a:gd name="connsiteY608" fmla="*/ 536177 h 1032967"/>
                <a:gd name="connsiteX609" fmla="*/ 959071 w 1212953"/>
                <a:gd name="connsiteY609" fmla="*/ 532641 h 1032967"/>
                <a:gd name="connsiteX610" fmla="*/ 953949 w 1212953"/>
                <a:gd name="connsiteY610" fmla="*/ 527032 h 1032967"/>
                <a:gd name="connsiteX611" fmla="*/ 932609 w 1212953"/>
                <a:gd name="connsiteY611" fmla="*/ 533007 h 1032967"/>
                <a:gd name="connsiteX612" fmla="*/ 932609 w 1212953"/>
                <a:gd name="connsiteY612" fmla="*/ 533007 h 1032967"/>
                <a:gd name="connsiteX613" fmla="*/ 922001 w 1212953"/>
                <a:gd name="connsiteY613" fmla="*/ 520325 h 1032967"/>
                <a:gd name="connsiteX614" fmla="*/ 949193 w 1212953"/>
                <a:gd name="connsiteY614" fmla="*/ 518374 h 1032967"/>
                <a:gd name="connsiteX615" fmla="*/ 951389 w 1212953"/>
                <a:gd name="connsiteY615" fmla="*/ 514716 h 1032967"/>
                <a:gd name="connsiteX616" fmla="*/ 942121 w 1212953"/>
                <a:gd name="connsiteY616" fmla="*/ 511667 h 1032967"/>
                <a:gd name="connsiteX617" fmla="*/ 932122 w 1212953"/>
                <a:gd name="connsiteY617" fmla="*/ 517642 h 1032967"/>
                <a:gd name="connsiteX618" fmla="*/ 926268 w 1212953"/>
                <a:gd name="connsiteY618" fmla="*/ 515081 h 1032967"/>
                <a:gd name="connsiteX619" fmla="*/ 914318 w 1212953"/>
                <a:gd name="connsiteY619" fmla="*/ 519471 h 1032967"/>
                <a:gd name="connsiteX620" fmla="*/ 903465 w 1212953"/>
                <a:gd name="connsiteY620" fmla="*/ 507765 h 1032967"/>
                <a:gd name="connsiteX621" fmla="*/ 920659 w 1212953"/>
                <a:gd name="connsiteY621" fmla="*/ 505448 h 1032967"/>
                <a:gd name="connsiteX622" fmla="*/ 914196 w 1212953"/>
                <a:gd name="connsiteY622" fmla="*/ 500936 h 1032967"/>
                <a:gd name="connsiteX623" fmla="*/ 921513 w 1212953"/>
                <a:gd name="connsiteY623" fmla="*/ 495083 h 1032967"/>
                <a:gd name="connsiteX624" fmla="*/ 943340 w 1212953"/>
                <a:gd name="connsiteY624" fmla="*/ 501180 h 1032967"/>
                <a:gd name="connsiteX625" fmla="*/ 952120 w 1212953"/>
                <a:gd name="connsiteY625" fmla="*/ 498985 h 1032967"/>
                <a:gd name="connsiteX626" fmla="*/ 961266 w 1212953"/>
                <a:gd name="connsiteY626" fmla="*/ 490083 h 1032967"/>
                <a:gd name="connsiteX627" fmla="*/ 941023 w 1212953"/>
                <a:gd name="connsiteY627" fmla="*/ 476060 h 1032967"/>
                <a:gd name="connsiteX628" fmla="*/ 953461 w 1212953"/>
                <a:gd name="connsiteY628" fmla="*/ 473134 h 1032967"/>
                <a:gd name="connsiteX629" fmla="*/ 970655 w 1212953"/>
                <a:gd name="connsiteY629" fmla="*/ 481669 h 1032967"/>
                <a:gd name="connsiteX630" fmla="*/ 986264 w 1212953"/>
                <a:gd name="connsiteY630" fmla="*/ 480816 h 1032967"/>
                <a:gd name="connsiteX631" fmla="*/ 1015896 w 1212953"/>
                <a:gd name="connsiteY631" fmla="*/ 493132 h 1032967"/>
                <a:gd name="connsiteX632" fmla="*/ 1015896 w 1212953"/>
                <a:gd name="connsiteY632" fmla="*/ 493132 h 1032967"/>
                <a:gd name="connsiteX633" fmla="*/ 993580 w 1212953"/>
                <a:gd name="connsiteY633" fmla="*/ 492400 h 1032967"/>
                <a:gd name="connsiteX634" fmla="*/ 1011628 w 1212953"/>
                <a:gd name="connsiteY634" fmla="*/ 501180 h 1032967"/>
                <a:gd name="connsiteX635" fmla="*/ 1033577 w 1212953"/>
                <a:gd name="connsiteY635" fmla="*/ 495449 h 1032967"/>
                <a:gd name="connsiteX636" fmla="*/ 1051625 w 1212953"/>
                <a:gd name="connsiteY636" fmla="*/ 492278 h 1032967"/>
                <a:gd name="connsiteX637" fmla="*/ 1050649 w 1212953"/>
                <a:gd name="connsiteY637" fmla="*/ 481669 h 1032967"/>
                <a:gd name="connsiteX638" fmla="*/ 1032967 w 1212953"/>
                <a:gd name="connsiteY638" fmla="*/ 480938 h 1032967"/>
                <a:gd name="connsiteX639" fmla="*/ 1035284 w 1212953"/>
                <a:gd name="connsiteY639" fmla="*/ 487279 h 1032967"/>
                <a:gd name="connsiteX640" fmla="*/ 1027114 w 1212953"/>
                <a:gd name="connsiteY640" fmla="*/ 492156 h 1032967"/>
                <a:gd name="connsiteX641" fmla="*/ 1027114 w 1212953"/>
                <a:gd name="connsiteY641" fmla="*/ 492156 h 1032967"/>
                <a:gd name="connsiteX642" fmla="*/ 1027114 w 1212953"/>
                <a:gd name="connsiteY642" fmla="*/ 492156 h 1032967"/>
                <a:gd name="connsiteX643" fmla="*/ 1021383 w 1212953"/>
                <a:gd name="connsiteY643" fmla="*/ 471914 h 1032967"/>
                <a:gd name="connsiteX644" fmla="*/ 1013701 w 1212953"/>
                <a:gd name="connsiteY644" fmla="*/ 458135 h 1032967"/>
                <a:gd name="connsiteX645" fmla="*/ 1020529 w 1212953"/>
                <a:gd name="connsiteY645" fmla="*/ 448989 h 1032967"/>
                <a:gd name="connsiteX646" fmla="*/ 1025163 w 1212953"/>
                <a:gd name="connsiteY646" fmla="*/ 446794 h 1032967"/>
                <a:gd name="connsiteX647" fmla="*/ 1039430 w 1212953"/>
                <a:gd name="connsiteY647" fmla="*/ 447892 h 1032967"/>
                <a:gd name="connsiteX648" fmla="*/ 1039186 w 1212953"/>
                <a:gd name="connsiteY648" fmla="*/ 447282 h 1032967"/>
                <a:gd name="connsiteX649" fmla="*/ 1033455 w 1212953"/>
                <a:gd name="connsiteY649" fmla="*/ 441429 h 1032967"/>
                <a:gd name="connsiteX650" fmla="*/ 1037723 w 1212953"/>
                <a:gd name="connsiteY650" fmla="*/ 442038 h 1032967"/>
                <a:gd name="connsiteX651" fmla="*/ 1037357 w 1212953"/>
                <a:gd name="connsiteY651" fmla="*/ 440697 h 1032967"/>
                <a:gd name="connsiteX652" fmla="*/ 1043698 w 1212953"/>
                <a:gd name="connsiteY652" fmla="*/ 433990 h 1032967"/>
                <a:gd name="connsiteX653" fmla="*/ 1040528 w 1212953"/>
                <a:gd name="connsiteY653" fmla="*/ 431551 h 1032967"/>
                <a:gd name="connsiteX654" fmla="*/ 1022480 w 1212953"/>
                <a:gd name="connsiteY654" fmla="*/ 433259 h 1032967"/>
                <a:gd name="connsiteX655" fmla="*/ 1013457 w 1212953"/>
                <a:gd name="connsiteY655" fmla="*/ 426430 h 1032967"/>
                <a:gd name="connsiteX656" fmla="*/ 1025407 w 1212953"/>
                <a:gd name="connsiteY656" fmla="*/ 420455 h 1032967"/>
                <a:gd name="connsiteX657" fmla="*/ 1043942 w 1212953"/>
                <a:gd name="connsiteY657" fmla="*/ 419723 h 1032967"/>
                <a:gd name="connsiteX658" fmla="*/ 1044064 w 1212953"/>
                <a:gd name="connsiteY658" fmla="*/ 419479 h 1032967"/>
                <a:gd name="connsiteX659" fmla="*/ 1015896 w 1212953"/>
                <a:gd name="connsiteY659" fmla="*/ 407041 h 1032967"/>
                <a:gd name="connsiteX660" fmla="*/ 1031626 w 1212953"/>
                <a:gd name="connsiteY660" fmla="*/ 403627 h 1032967"/>
                <a:gd name="connsiteX661" fmla="*/ 1031626 w 1212953"/>
                <a:gd name="connsiteY661" fmla="*/ 403627 h 1032967"/>
                <a:gd name="connsiteX662" fmla="*/ 1040528 w 1212953"/>
                <a:gd name="connsiteY662" fmla="*/ 408748 h 1032967"/>
                <a:gd name="connsiteX663" fmla="*/ 1053210 w 1212953"/>
                <a:gd name="connsiteY663" fmla="*/ 411309 h 1032967"/>
                <a:gd name="connsiteX664" fmla="*/ 1065282 w 1212953"/>
                <a:gd name="connsiteY664" fmla="*/ 418382 h 1032967"/>
                <a:gd name="connsiteX665" fmla="*/ 1076988 w 1212953"/>
                <a:gd name="connsiteY665" fmla="*/ 411065 h 1032967"/>
                <a:gd name="connsiteX666" fmla="*/ 1074915 w 1212953"/>
                <a:gd name="connsiteY666" fmla="*/ 404358 h 1032967"/>
                <a:gd name="connsiteX667" fmla="*/ 1057722 w 1212953"/>
                <a:gd name="connsiteY667" fmla="*/ 396920 h 1032967"/>
                <a:gd name="connsiteX668" fmla="*/ 1029309 w 1212953"/>
                <a:gd name="connsiteY668" fmla="*/ 395091 h 1032967"/>
                <a:gd name="connsiteX669" fmla="*/ 1002482 w 1212953"/>
                <a:gd name="connsiteY669" fmla="*/ 388384 h 1032967"/>
                <a:gd name="connsiteX670" fmla="*/ 1046869 w 1212953"/>
                <a:gd name="connsiteY670" fmla="*/ 388384 h 1032967"/>
                <a:gd name="connsiteX671" fmla="*/ 1060282 w 1212953"/>
                <a:gd name="connsiteY671" fmla="*/ 387409 h 1032967"/>
                <a:gd name="connsiteX672" fmla="*/ 1060282 w 1212953"/>
                <a:gd name="connsiteY672" fmla="*/ 384482 h 1032967"/>
                <a:gd name="connsiteX673" fmla="*/ 1045527 w 1212953"/>
                <a:gd name="connsiteY673" fmla="*/ 382775 h 1032967"/>
                <a:gd name="connsiteX674" fmla="*/ 1032601 w 1212953"/>
                <a:gd name="connsiteY674" fmla="*/ 385336 h 1032967"/>
                <a:gd name="connsiteX675" fmla="*/ 1032601 w 1212953"/>
                <a:gd name="connsiteY675" fmla="*/ 385336 h 1032967"/>
                <a:gd name="connsiteX676" fmla="*/ 1022358 w 1212953"/>
                <a:gd name="connsiteY676" fmla="*/ 382409 h 1032967"/>
                <a:gd name="connsiteX677" fmla="*/ 1020773 w 1212953"/>
                <a:gd name="connsiteY677" fmla="*/ 374727 h 1032967"/>
                <a:gd name="connsiteX678" fmla="*/ 1014798 w 1212953"/>
                <a:gd name="connsiteY678" fmla="*/ 366191 h 1032967"/>
                <a:gd name="connsiteX679" fmla="*/ 1016749 w 1212953"/>
                <a:gd name="connsiteY679" fmla="*/ 360094 h 1032967"/>
                <a:gd name="connsiteX680" fmla="*/ 1025407 w 1212953"/>
                <a:gd name="connsiteY680" fmla="*/ 359484 h 1032967"/>
                <a:gd name="connsiteX681" fmla="*/ 1036748 w 1212953"/>
                <a:gd name="connsiteY681" fmla="*/ 359118 h 1032967"/>
                <a:gd name="connsiteX682" fmla="*/ 1029797 w 1212953"/>
                <a:gd name="connsiteY682" fmla="*/ 353753 h 1032967"/>
                <a:gd name="connsiteX683" fmla="*/ 1045527 w 1212953"/>
                <a:gd name="connsiteY683" fmla="*/ 352777 h 1032967"/>
                <a:gd name="connsiteX684" fmla="*/ 1075281 w 1212953"/>
                <a:gd name="connsiteY684" fmla="*/ 357655 h 1032967"/>
                <a:gd name="connsiteX685" fmla="*/ 1090890 w 1212953"/>
                <a:gd name="connsiteY685" fmla="*/ 357167 h 1032967"/>
                <a:gd name="connsiteX686" fmla="*/ 1095645 w 1212953"/>
                <a:gd name="connsiteY686" fmla="*/ 348387 h 1032967"/>
                <a:gd name="connsiteX687" fmla="*/ 1094792 w 1212953"/>
                <a:gd name="connsiteY687" fmla="*/ 344485 h 1032967"/>
                <a:gd name="connsiteX688" fmla="*/ 1081988 w 1212953"/>
                <a:gd name="connsiteY688" fmla="*/ 342412 h 1032967"/>
                <a:gd name="connsiteX689" fmla="*/ 1078939 w 1212953"/>
                <a:gd name="connsiteY689" fmla="*/ 347778 h 1032967"/>
                <a:gd name="connsiteX690" fmla="*/ 1054185 w 1212953"/>
                <a:gd name="connsiteY690" fmla="*/ 337047 h 1032967"/>
                <a:gd name="connsiteX691" fmla="*/ 1045284 w 1212953"/>
                <a:gd name="connsiteY691" fmla="*/ 327901 h 1032967"/>
                <a:gd name="connsiteX692" fmla="*/ 1050527 w 1212953"/>
                <a:gd name="connsiteY692" fmla="*/ 322292 h 1032967"/>
                <a:gd name="connsiteX693" fmla="*/ 1060160 w 1212953"/>
                <a:gd name="connsiteY693" fmla="*/ 325828 h 1032967"/>
                <a:gd name="connsiteX694" fmla="*/ 1072476 w 1212953"/>
                <a:gd name="connsiteY694" fmla="*/ 328267 h 1032967"/>
                <a:gd name="connsiteX695" fmla="*/ 1071989 w 1212953"/>
                <a:gd name="connsiteY695" fmla="*/ 325706 h 1032967"/>
                <a:gd name="connsiteX696" fmla="*/ 1046747 w 1212953"/>
                <a:gd name="connsiteY696" fmla="*/ 317170 h 1032967"/>
                <a:gd name="connsiteX697" fmla="*/ 1039796 w 1212953"/>
                <a:gd name="connsiteY697" fmla="*/ 318633 h 1032967"/>
                <a:gd name="connsiteX698" fmla="*/ 1035406 w 1212953"/>
                <a:gd name="connsiteY698" fmla="*/ 327535 h 1032967"/>
                <a:gd name="connsiteX699" fmla="*/ 1021383 w 1212953"/>
                <a:gd name="connsiteY699" fmla="*/ 327535 h 1032967"/>
                <a:gd name="connsiteX700" fmla="*/ 1017481 w 1212953"/>
                <a:gd name="connsiteY700" fmla="*/ 318390 h 1032967"/>
                <a:gd name="connsiteX701" fmla="*/ 1034675 w 1212953"/>
                <a:gd name="connsiteY701" fmla="*/ 290953 h 1032967"/>
                <a:gd name="connsiteX702" fmla="*/ 1026383 w 1212953"/>
                <a:gd name="connsiteY702" fmla="*/ 290221 h 1032967"/>
                <a:gd name="connsiteX703" fmla="*/ 1044552 w 1212953"/>
                <a:gd name="connsiteY703" fmla="*/ 272905 h 1032967"/>
                <a:gd name="connsiteX704" fmla="*/ 1058697 w 1212953"/>
                <a:gd name="connsiteY704" fmla="*/ 272905 h 1032967"/>
                <a:gd name="connsiteX705" fmla="*/ 1070525 w 1212953"/>
                <a:gd name="connsiteY705" fmla="*/ 260345 h 1032967"/>
                <a:gd name="connsiteX706" fmla="*/ 1071013 w 1212953"/>
                <a:gd name="connsiteY706" fmla="*/ 258638 h 1032967"/>
                <a:gd name="connsiteX707" fmla="*/ 1057844 w 1212953"/>
                <a:gd name="connsiteY707" fmla="*/ 258638 h 1032967"/>
                <a:gd name="connsiteX708" fmla="*/ 1069550 w 1212953"/>
                <a:gd name="connsiteY708" fmla="*/ 231689 h 1032967"/>
                <a:gd name="connsiteX709" fmla="*/ 1096743 w 1212953"/>
                <a:gd name="connsiteY709" fmla="*/ 231689 h 1032967"/>
                <a:gd name="connsiteX710" fmla="*/ 1104791 w 1212953"/>
                <a:gd name="connsiteY710" fmla="*/ 219251 h 1032967"/>
                <a:gd name="connsiteX711" fmla="*/ 1099182 w 1212953"/>
                <a:gd name="connsiteY711" fmla="*/ 216446 h 1032967"/>
                <a:gd name="connsiteX712" fmla="*/ 1085646 w 1212953"/>
                <a:gd name="connsiteY712" fmla="*/ 220958 h 1032967"/>
                <a:gd name="connsiteX713" fmla="*/ 1082476 w 1212953"/>
                <a:gd name="connsiteY713" fmla="*/ 216081 h 1032967"/>
                <a:gd name="connsiteX714" fmla="*/ 1072842 w 1212953"/>
                <a:gd name="connsiteY714" fmla="*/ 214495 h 1032967"/>
                <a:gd name="connsiteX715" fmla="*/ 1069062 w 1212953"/>
                <a:gd name="connsiteY715" fmla="*/ 216812 h 1032967"/>
                <a:gd name="connsiteX716" fmla="*/ 1074062 w 1212953"/>
                <a:gd name="connsiteY716" fmla="*/ 220592 h 1032967"/>
                <a:gd name="connsiteX717" fmla="*/ 1069794 w 1212953"/>
                <a:gd name="connsiteY717" fmla="*/ 225348 h 1032967"/>
                <a:gd name="connsiteX718" fmla="*/ 1065038 w 1212953"/>
                <a:gd name="connsiteY718" fmla="*/ 232909 h 1032967"/>
                <a:gd name="connsiteX719" fmla="*/ 1051868 w 1212953"/>
                <a:gd name="connsiteY719" fmla="*/ 232177 h 1032967"/>
                <a:gd name="connsiteX720" fmla="*/ 1051868 w 1212953"/>
                <a:gd name="connsiteY720" fmla="*/ 216324 h 1032967"/>
                <a:gd name="connsiteX721" fmla="*/ 1063087 w 1212953"/>
                <a:gd name="connsiteY721" fmla="*/ 205959 h 1032967"/>
                <a:gd name="connsiteX722" fmla="*/ 1063087 w 1212953"/>
                <a:gd name="connsiteY722" fmla="*/ 205959 h 1032967"/>
                <a:gd name="connsiteX723" fmla="*/ 1089792 w 1212953"/>
                <a:gd name="connsiteY723" fmla="*/ 205959 h 1032967"/>
                <a:gd name="connsiteX724" fmla="*/ 1107840 w 1212953"/>
                <a:gd name="connsiteY724" fmla="*/ 209008 h 1032967"/>
                <a:gd name="connsiteX725" fmla="*/ 1118571 w 1212953"/>
                <a:gd name="connsiteY725" fmla="*/ 207789 h 1032967"/>
                <a:gd name="connsiteX726" fmla="*/ 1135032 w 1212953"/>
                <a:gd name="connsiteY726" fmla="*/ 198765 h 1032967"/>
                <a:gd name="connsiteX727" fmla="*/ 1115156 w 1212953"/>
                <a:gd name="connsiteY727" fmla="*/ 192546 h 1032967"/>
                <a:gd name="connsiteX728" fmla="*/ 1104181 w 1212953"/>
                <a:gd name="connsiteY728" fmla="*/ 198399 h 1032967"/>
                <a:gd name="connsiteX729" fmla="*/ 1091865 w 1212953"/>
                <a:gd name="connsiteY729" fmla="*/ 199740 h 1032967"/>
                <a:gd name="connsiteX730" fmla="*/ 1071989 w 1212953"/>
                <a:gd name="connsiteY730" fmla="*/ 191083 h 1032967"/>
                <a:gd name="connsiteX731" fmla="*/ 1061258 w 1212953"/>
                <a:gd name="connsiteY731" fmla="*/ 192180 h 1032967"/>
                <a:gd name="connsiteX732" fmla="*/ 1059795 w 1212953"/>
                <a:gd name="connsiteY732" fmla="*/ 197789 h 1032967"/>
                <a:gd name="connsiteX733" fmla="*/ 1039064 w 1212953"/>
                <a:gd name="connsiteY733" fmla="*/ 198521 h 1032967"/>
                <a:gd name="connsiteX734" fmla="*/ 1039064 w 1212953"/>
                <a:gd name="connsiteY734" fmla="*/ 187668 h 1032967"/>
                <a:gd name="connsiteX735" fmla="*/ 1047722 w 1212953"/>
                <a:gd name="connsiteY735" fmla="*/ 186937 h 1032967"/>
                <a:gd name="connsiteX736" fmla="*/ 1056258 w 1212953"/>
                <a:gd name="connsiteY736" fmla="*/ 182547 h 1032967"/>
                <a:gd name="connsiteX737" fmla="*/ 1082476 w 1212953"/>
                <a:gd name="connsiteY737" fmla="*/ 181937 h 1032967"/>
                <a:gd name="connsiteX738" fmla="*/ 1090036 w 1212953"/>
                <a:gd name="connsiteY738" fmla="*/ 183522 h 1032967"/>
                <a:gd name="connsiteX739" fmla="*/ 1094304 w 1212953"/>
                <a:gd name="connsiteY739" fmla="*/ 178644 h 1032967"/>
                <a:gd name="connsiteX740" fmla="*/ 1115156 w 1212953"/>
                <a:gd name="connsiteY740" fmla="*/ 183156 h 1032967"/>
                <a:gd name="connsiteX741" fmla="*/ 1130277 w 1212953"/>
                <a:gd name="connsiteY741" fmla="*/ 183766 h 1032967"/>
                <a:gd name="connsiteX742" fmla="*/ 1139179 w 1212953"/>
                <a:gd name="connsiteY742" fmla="*/ 181571 h 1032967"/>
                <a:gd name="connsiteX743" fmla="*/ 1143568 w 1212953"/>
                <a:gd name="connsiteY743" fmla="*/ 175230 h 1032967"/>
                <a:gd name="connsiteX744" fmla="*/ 1159665 w 1212953"/>
                <a:gd name="connsiteY744" fmla="*/ 174620 h 1032967"/>
                <a:gd name="connsiteX745" fmla="*/ 1162103 w 1212953"/>
                <a:gd name="connsiteY745" fmla="*/ 172913 h 1032967"/>
                <a:gd name="connsiteX746" fmla="*/ 1152470 w 1212953"/>
                <a:gd name="connsiteY746" fmla="*/ 166328 h 1032967"/>
                <a:gd name="connsiteX747" fmla="*/ 1161128 w 1212953"/>
                <a:gd name="connsiteY747" fmla="*/ 159744 h 1032967"/>
                <a:gd name="connsiteX748" fmla="*/ 1181005 w 1212953"/>
                <a:gd name="connsiteY748" fmla="*/ 161573 h 1032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</a:cxnLst>
              <a:rect l="l" t="t" r="r" b="b"/>
              <a:pathLst>
                <a:path w="1212953" h="1032967">
                  <a:moveTo>
                    <a:pt x="1181005" y="161573"/>
                  </a:moveTo>
                  <a:lnTo>
                    <a:pt x="1212953" y="139135"/>
                  </a:lnTo>
                  <a:lnTo>
                    <a:pt x="1212587" y="138282"/>
                  </a:lnTo>
                  <a:lnTo>
                    <a:pt x="1172591" y="120356"/>
                  </a:lnTo>
                  <a:lnTo>
                    <a:pt x="1133813" y="116698"/>
                  </a:lnTo>
                  <a:lnTo>
                    <a:pt x="1119424" y="124259"/>
                  </a:lnTo>
                  <a:lnTo>
                    <a:pt x="1110522" y="121698"/>
                  </a:lnTo>
                  <a:lnTo>
                    <a:pt x="1105523" y="122429"/>
                  </a:lnTo>
                  <a:lnTo>
                    <a:pt x="1109547" y="129258"/>
                  </a:lnTo>
                  <a:lnTo>
                    <a:pt x="1101377" y="132185"/>
                  </a:lnTo>
                  <a:lnTo>
                    <a:pt x="1104059" y="133648"/>
                  </a:lnTo>
                  <a:lnTo>
                    <a:pt x="1099304" y="134136"/>
                  </a:lnTo>
                  <a:lnTo>
                    <a:pt x="1098572" y="136697"/>
                  </a:lnTo>
                  <a:lnTo>
                    <a:pt x="1096743" y="143038"/>
                  </a:lnTo>
                  <a:lnTo>
                    <a:pt x="1079427" y="144379"/>
                  </a:lnTo>
                  <a:lnTo>
                    <a:pt x="1067965" y="142550"/>
                  </a:lnTo>
                  <a:lnTo>
                    <a:pt x="1056136" y="143281"/>
                  </a:lnTo>
                  <a:lnTo>
                    <a:pt x="1056136" y="137794"/>
                  </a:lnTo>
                  <a:lnTo>
                    <a:pt x="1046991" y="138648"/>
                  </a:lnTo>
                  <a:lnTo>
                    <a:pt x="1045771" y="142550"/>
                  </a:lnTo>
                  <a:lnTo>
                    <a:pt x="1022846" y="154256"/>
                  </a:lnTo>
                  <a:lnTo>
                    <a:pt x="1012847" y="170352"/>
                  </a:lnTo>
                  <a:lnTo>
                    <a:pt x="990776" y="181083"/>
                  </a:lnTo>
                  <a:lnTo>
                    <a:pt x="990776" y="191570"/>
                  </a:lnTo>
                  <a:lnTo>
                    <a:pt x="978825" y="196692"/>
                  </a:lnTo>
                  <a:lnTo>
                    <a:pt x="971021" y="194253"/>
                  </a:lnTo>
                  <a:lnTo>
                    <a:pt x="971021" y="185839"/>
                  </a:lnTo>
                  <a:lnTo>
                    <a:pt x="979069" y="181693"/>
                  </a:lnTo>
                  <a:lnTo>
                    <a:pt x="977728" y="177059"/>
                  </a:lnTo>
                  <a:lnTo>
                    <a:pt x="989434" y="168889"/>
                  </a:lnTo>
                  <a:lnTo>
                    <a:pt x="989434" y="158646"/>
                  </a:lnTo>
                  <a:lnTo>
                    <a:pt x="997604" y="150232"/>
                  </a:lnTo>
                  <a:lnTo>
                    <a:pt x="1010652" y="142916"/>
                  </a:lnTo>
                  <a:lnTo>
                    <a:pt x="1009311" y="114869"/>
                  </a:lnTo>
                  <a:lnTo>
                    <a:pt x="1007604" y="113040"/>
                  </a:lnTo>
                  <a:lnTo>
                    <a:pt x="975167" y="113650"/>
                  </a:lnTo>
                  <a:lnTo>
                    <a:pt x="972240" y="115723"/>
                  </a:lnTo>
                  <a:lnTo>
                    <a:pt x="970777" y="130356"/>
                  </a:lnTo>
                  <a:lnTo>
                    <a:pt x="935414" y="140599"/>
                  </a:lnTo>
                  <a:lnTo>
                    <a:pt x="923952" y="144867"/>
                  </a:lnTo>
                  <a:lnTo>
                    <a:pt x="908709" y="148891"/>
                  </a:lnTo>
                  <a:lnTo>
                    <a:pt x="904197" y="144989"/>
                  </a:lnTo>
                  <a:lnTo>
                    <a:pt x="887735" y="144989"/>
                  </a:lnTo>
                  <a:lnTo>
                    <a:pt x="912489" y="134258"/>
                  </a:lnTo>
                  <a:lnTo>
                    <a:pt x="922854" y="127917"/>
                  </a:lnTo>
                  <a:lnTo>
                    <a:pt x="944072" y="122186"/>
                  </a:lnTo>
                  <a:lnTo>
                    <a:pt x="944072" y="117430"/>
                  </a:lnTo>
                  <a:lnTo>
                    <a:pt x="940170" y="116088"/>
                  </a:lnTo>
                  <a:lnTo>
                    <a:pt x="893222" y="114869"/>
                  </a:lnTo>
                  <a:lnTo>
                    <a:pt x="885174" y="113040"/>
                  </a:lnTo>
                  <a:lnTo>
                    <a:pt x="849811" y="122307"/>
                  </a:lnTo>
                  <a:lnTo>
                    <a:pt x="841275" y="120478"/>
                  </a:lnTo>
                  <a:lnTo>
                    <a:pt x="803595" y="129746"/>
                  </a:lnTo>
                  <a:lnTo>
                    <a:pt x="803595" y="134867"/>
                  </a:lnTo>
                  <a:lnTo>
                    <a:pt x="786279" y="137794"/>
                  </a:lnTo>
                  <a:lnTo>
                    <a:pt x="778841" y="125722"/>
                  </a:lnTo>
                  <a:lnTo>
                    <a:pt x="792011" y="115723"/>
                  </a:lnTo>
                  <a:lnTo>
                    <a:pt x="825057" y="106821"/>
                  </a:lnTo>
                  <a:lnTo>
                    <a:pt x="794450" y="100236"/>
                  </a:lnTo>
                  <a:lnTo>
                    <a:pt x="794450" y="100236"/>
                  </a:lnTo>
                  <a:lnTo>
                    <a:pt x="838836" y="100236"/>
                  </a:lnTo>
                  <a:lnTo>
                    <a:pt x="848470" y="102675"/>
                  </a:lnTo>
                  <a:lnTo>
                    <a:pt x="890784" y="99626"/>
                  </a:lnTo>
                  <a:lnTo>
                    <a:pt x="890784" y="99626"/>
                  </a:lnTo>
                  <a:lnTo>
                    <a:pt x="912245" y="100846"/>
                  </a:lnTo>
                  <a:lnTo>
                    <a:pt x="956998" y="99626"/>
                  </a:lnTo>
                  <a:lnTo>
                    <a:pt x="975533" y="90359"/>
                  </a:lnTo>
                  <a:lnTo>
                    <a:pt x="990044" y="92188"/>
                  </a:lnTo>
                  <a:lnTo>
                    <a:pt x="1011140" y="87554"/>
                  </a:lnTo>
                  <a:lnTo>
                    <a:pt x="1013579" y="79506"/>
                  </a:lnTo>
                  <a:lnTo>
                    <a:pt x="1025163" y="77677"/>
                  </a:lnTo>
                  <a:lnTo>
                    <a:pt x="1026139" y="73043"/>
                  </a:lnTo>
                  <a:lnTo>
                    <a:pt x="1014310" y="63654"/>
                  </a:lnTo>
                  <a:lnTo>
                    <a:pt x="990166" y="58410"/>
                  </a:lnTo>
                  <a:lnTo>
                    <a:pt x="971753" y="62678"/>
                  </a:lnTo>
                  <a:lnTo>
                    <a:pt x="973338" y="55240"/>
                  </a:lnTo>
                  <a:lnTo>
                    <a:pt x="967851" y="55240"/>
                  </a:lnTo>
                  <a:lnTo>
                    <a:pt x="941755" y="65848"/>
                  </a:lnTo>
                  <a:lnTo>
                    <a:pt x="939438" y="55118"/>
                  </a:lnTo>
                  <a:lnTo>
                    <a:pt x="948706" y="49874"/>
                  </a:lnTo>
                  <a:lnTo>
                    <a:pt x="952120" y="42070"/>
                  </a:lnTo>
                  <a:lnTo>
                    <a:pt x="944072" y="35729"/>
                  </a:lnTo>
                  <a:lnTo>
                    <a:pt x="919928" y="38655"/>
                  </a:lnTo>
                  <a:lnTo>
                    <a:pt x="914196" y="42314"/>
                  </a:lnTo>
                  <a:lnTo>
                    <a:pt x="875053" y="43655"/>
                  </a:lnTo>
                  <a:lnTo>
                    <a:pt x="855177" y="39875"/>
                  </a:lnTo>
                  <a:lnTo>
                    <a:pt x="834446" y="39875"/>
                  </a:lnTo>
                  <a:lnTo>
                    <a:pt x="808595" y="46948"/>
                  </a:lnTo>
                  <a:lnTo>
                    <a:pt x="805668" y="52801"/>
                  </a:lnTo>
                  <a:lnTo>
                    <a:pt x="772134" y="53410"/>
                  </a:lnTo>
                  <a:lnTo>
                    <a:pt x="770793" y="61459"/>
                  </a:lnTo>
                  <a:lnTo>
                    <a:pt x="758721" y="65848"/>
                  </a:lnTo>
                  <a:lnTo>
                    <a:pt x="757135" y="57556"/>
                  </a:lnTo>
                  <a:lnTo>
                    <a:pt x="749575" y="57191"/>
                  </a:lnTo>
                  <a:lnTo>
                    <a:pt x="739698" y="63288"/>
                  </a:lnTo>
                  <a:lnTo>
                    <a:pt x="725918" y="63288"/>
                  </a:lnTo>
                  <a:lnTo>
                    <a:pt x="731284" y="57069"/>
                  </a:lnTo>
                  <a:lnTo>
                    <a:pt x="722016" y="52923"/>
                  </a:lnTo>
                  <a:lnTo>
                    <a:pt x="754331" y="46826"/>
                  </a:lnTo>
                  <a:lnTo>
                    <a:pt x="772866" y="42070"/>
                  </a:lnTo>
                  <a:lnTo>
                    <a:pt x="763720" y="37314"/>
                  </a:lnTo>
                  <a:lnTo>
                    <a:pt x="786036" y="36339"/>
                  </a:lnTo>
                  <a:lnTo>
                    <a:pt x="800059" y="39265"/>
                  </a:lnTo>
                  <a:lnTo>
                    <a:pt x="819692" y="33900"/>
                  </a:lnTo>
                  <a:lnTo>
                    <a:pt x="849689" y="30120"/>
                  </a:lnTo>
                  <a:lnTo>
                    <a:pt x="882248" y="32558"/>
                  </a:lnTo>
                  <a:lnTo>
                    <a:pt x="914562" y="29510"/>
                  </a:lnTo>
                  <a:lnTo>
                    <a:pt x="935170" y="24266"/>
                  </a:lnTo>
                  <a:lnTo>
                    <a:pt x="930902" y="19389"/>
                  </a:lnTo>
                  <a:lnTo>
                    <a:pt x="887125" y="10609"/>
                  </a:lnTo>
                  <a:lnTo>
                    <a:pt x="880297" y="15852"/>
                  </a:lnTo>
                  <a:lnTo>
                    <a:pt x="867737" y="16584"/>
                  </a:lnTo>
                  <a:lnTo>
                    <a:pt x="855664" y="10243"/>
                  </a:lnTo>
                  <a:lnTo>
                    <a:pt x="867127" y="6585"/>
                  </a:lnTo>
                  <a:lnTo>
                    <a:pt x="866273" y="6097"/>
                  </a:lnTo>
                  <a:lnTo>
                    <a:pt x="852250" y="6707"/>
                  </a:lnTo>
                  <a:lnTo>
                    <a:pt x="843714" y="3658"/>
                  </a:lnTo>
                  <a:lnTo>
                    <a:pt x="832739" y="3658"/>
                  </a:lnTo>
                  <a:lnTo>
                    <a:pt x="814082" y="2439"/>
                  </a:lnTo>
                  <a:lnTo>
                    <a:pt x="801644" y="1829"/>
                  </a:lnTo>
                  <a:lnTo>
                    <a:pt x="789816" y="3780"/>
                  </a:lnTo>
                  <a:lnTo>
                    <a:pt x="782621" y="0"/>
                  </a:lnTo>
                  <a:lnTo>
                    <a:pt x="761038" y="1707"/>
                  </a:lnTo>
                  <a:lnTo>
                    <a:pt x="755428" y="5487"/>
                  </a:lnTo>
                  <a:lnTo>
                    <a:pt x="747380" y="6097"/>
                  </a:lnTo>
                  <a:lnTo>
                    <a:pt x="737259" y="3049"/>
                  </a:lnTo>
                  <a:lnTo>
                    <a:pt x="730918" y="2439"/>
                  </a:lnTo>
                  <a:lnTo>
                    <a:pt x="719334" y="7438"/>
                  </a:lnTo>
                  <a:lnTo>
                    <a:pt x="710554" y="4390"/>
                  </a:lnTo>
                  <a:lnTo>
                    <a:pt x="705554" y="5609"/>
                  </a:lnTo>
                  <a:lnTo>
                    <a:pt x="717870" y="15121"/>
                  </a:lnTo>
                  <a:lnTo>
                    <a:pt x="704944" y="19755"/>
                  </a:lnTo>
                  <a:lnTo>
                    <a:pt x="688970" y="11584"/>
                  </a:lnTo>
                  <a:lnTo>
                    <a:pt x="684580" y="11584"/>
                  </a:lnTo>
                  <a:lnTo>
                    <a:pt x="687629" y="14755"/>
                  </a:lnTo>
                  <a:lnTo>
                    <a:pt x="678117" y="17925"/>
                  </a:lnTo>
                  <a:lnTo>
                    <a:pt x="669703" y="15487"/>
                  </a:lnTo>
                  <a:lnTo>
                    <a:pt x="668606" y="15974"/>
                  </a:lnTo>
                  <a:lnTo>
                    <a:pt x="673849" y="23413"/>
                  </a:lnTo>
                  <a:lnTo>
                    <a:pt x="668484" y="27681"/>
                  </a:lnTo>
                  <a:lnTo>
                    <a:pt x="677020" y="30120"/>
                  </a:lnTo>
                  <a:lnTo>
                    <a:pt x="702871" y="30851"/>
                  </a:lnTo>
                  <a:lnTo>
                    <a:pt x="702871" y="37924"/>
                  </a:lnTo>
                  <a:lnTo>
                    <a:pt x="683970" y="39265"/>
                  </a:lnTo>
                  <a:lnTo>
                    <a:pt x="674581" y="40363"/>
                  </a:lnTo>
                  <a:lnTo>
                    <a:pt x="674581" y="40607"/>
                  </a:lnTo>
                  <a:lnTo>
                    <a:pt x="703725" y="40607"/>
                  </a:lnTo>
                  <a:lnTo>
                    <a:pt x="688604" y="48533"/>
                  </a:lnTo>
                  <a:lnTo>
                    <a:pt x="670069" y="48533"/>
                  </a:lnTo>
                  <a:lnTo>
                    <a:pt x="667021" y="50118"/>
                  </a:lnTo>
                  <a:lnTo>
                    <a:pt x="679215" y="56337"/>
                  </a:lnTo>
                  <a:lnTo>
                    <a:pt x="676898" y="64507"/>
                  </a:lnTo>
                  <a:lnTo>
                    <a:pt x="665679" y="64507"/>
                  </a:lnTo>
                  <a:lnTo>
                    <a:pt x="658363" y="55483"/>
                  </a:lnTo>
                  <a:lnTo>
                    <a:pt x="649339" y="51581"/>
                  </a:lnTo>
                  <a:lnTo>
                    <a:pt x="630560" y="52191"/>
                  </a:lnTo>
                  <a:lnTo>
                    <a:pt x="630560" y="52191"/>
                  </a:lnTo>
                  <a:lnTo>
                    <a:pt x="619098" y="43533"/>
                  </a:lnTo>
                  <a:lnTo>
                    <a:pt x="605440" y="42192"/>
                  </a:lnTo>
                  <a:lnTo>
                    <a:pt x="603977" y="34022"/>
                  </a:lnTo>
                  <a:lnTo>
                    <a:pt x="585807" y="30120"/>
                  </a:lnTo>
                  <a:lnTo>
                    <a:pt x="569223" y="31705"/>
                  </a:lnTo>
                  <a:lnTo>
                    <a:pt x="582759" y="34022"/>
                  </a:lnTo>
                  <a:lnTo>
                    <a:pt x="588612" y="41460"/>
                  </a:lnTo>
                  <a:lnTo>
                    <a:pt x="573004" y="42436"/>
                  </a:lnTo>
                  <a:lnTo>
                    <a:pt x="560078" y="39265"/>
                  </a:lnTo>
                  <a:lnTo>
                    <a:pt x="539592" y="39265"/>
                  </a:lnTo>
                  <a:lnTo>
                    <a:pt x="537519" y="40119"/>
                  </a:lnTo>
                  <a:lnTo>
                    <a:pt x="552396" y="46216"/>
                  </a:lnTo>
                  <a:lnTo>
                    <a:pt x="564346" y="47435"/>
                  </a:lnTo>
                  <a:lnTo>
                    <a:pt x="565687" y="49142"/>
                  </a:lnTo>
                  <a:lnTo>
                    <a:pt x="567150" y="49142"/>
                  </a:lnTo>
                  <a:lnTo>
                    <a:pt x="567272" y="51337"/>
                  </a:lnTo>
                  <a:lnTo>
                    <a:pt x="570077" y="54874"/>
                  </a:lnTo>
                  <a:lnTo>
                    <a:pt x="585929" y="52801"/>
                  </a:lnTo>
                  <a:lnTo>
                    <a:pt x="623609" y="60483"/>
                  </a:lnTo>
                  <a:lnTo>
                    <a:pt x="636901" y="66214"/>
                  </a:lnTo>
                  <a:lnTo>
                    <a:pt x="647632" y="81945"/>
                  </a:lnTo>
                  <a:lnTo>
                    <a:pt x="647632" y="91944"/>
                  </a:lnTo>
                  <a:lnTo>
                    <a:pt x="647632" y="91944"/>
                  </a:lnTo>
                  <a:lnTo>
                    <a:pt x="632023" y="85237"/>
                  </a:lnTo>
                  <a:lnTo>
                    <a:pt x="632023" y="79872"/>
                  </a:lnTo>
                  <a:lnTo>
                    <a:pt x="623000" y="71580"/>
                  </a:lnTo>
                  <a:lnTo>
                    <a:pt x="614342" y="67800"/>
                  </a:lnTo>
                  <a:lnTo>
                    <a:pt x="611293" y="69385"/>
                  </a:lnTo>
                  <a:lnTo>
                    <a:pt x="615805" y="79140"/>
                  </a:lnTo>
                  <a:lnTo>
                    <a:pt x="603733" y="82554"/>
                  </a:lnTo>
                  <a:lnTo>
                    <a:pt x="597880" y="76579"/>
                  </a:lnTo>
                  <a:lnTo>
                    <a:pt x="599221" y="66702"/>
                  </a:lnTo>
                  <a:lnTo>
                    <a:pt x="595441" y="65117"/>
                  </a:lnTo>
                  <a:lnTo>
                    <a:pt x="566053" y="65727"/>
                  </a:lnTo>
                  <a:lnTo>
                    <a:pt x="537884" y="63897"/>
                  </a:lnTo>
                  <a:lnTo>
                    <a:pt x="534958" y="64507"/>
                  </a:lnTo>
                  <a:lnTo>
                    <a:pt x="540201" y="66092"/>
                  </a:lnTo>
                  <a:lnTo>
                    <a:pt x="574833" y="87920"/>
                  </a:lnTo>
                  <a:lnTo>
                    <a:pt x="570321" y="89871"/>
                  </a:lnTo>
                  <a:lnTo>
                    <a:pt x="602514" y="96212"/>
                  </a:lnTo>
                  <a:lnTo>
                    <a:pt x="587637" y="101334"/>
                  </a:lnTo>
                  <a:lnTo>
                    <a:pt x="571540" y="100114"/>
                  </a:lnTo>
                  <a:lnTo>
                    <a:pt x="553859" y="98895"/>
                  </a:lnTo>
                  <a:lnTo>
                    <a:pt x="550079" y="101334"/>
                  </a:lnTo>
                  <a:lnTo>
                    <a:pt x="554346" y="115357"/>
                  </a:lnTo>
                  <a:lnTo>
                    <a:pt x="551542" y="117674"/>
                  </a:lnTo>
                  <a:lnTo>
                    <a:pt x="564590" y="123405"/>
                  </a:lnTo>
                  <a:lnTo>
                    <a:pt x="561663" y="129624"/>
                  </a:lnTo>
                  <a:lnTo>
                    <a:pt x="545567" y="129624"/>
                  </a:lnTo>
                  <a:lnTo>
                    <a:pt x="519593" y="111455"/>
                  </a:lnTo>
                  <a:lnTo>
                    <a:pt x="505936" y="104992"/>
                  </a:lnTo>
                  <a:lnTo>
                    <a:pt x="489230" y="103650"/>
                  </a:lnTo>
                  <a:lnTo>
                    <a:pt x="487766" y="98041"/>
                  </a:lnTo>
                  <a:lnTo>
                    <a:pt x="467890" y="94261"/>
                  </a:lnTo>
                  <a:lnTo>
                    <a:pt x="466427" y="88408"/>
                  </a:lnTo>
                  <a:lnTo>
                    <a:pt x="454964" y="82311"/>
                  </a:lnTo>
                  <a:lnTo>
                    <a:pt x="432161" y="82920"/>
                  </a:lnTo>
                  <a:lnTo>
                    <a:pt x="430332" y="84506"/>
                  </a:lnTo>
                  <a:lnTo>
                    <a:pt x="434966" y="88530"/>
                  </a:lnTo>
                  <a:lnTo>
                    <a:pt x="433502" y="103041"/>
                  </a:lnTo>
                  <a:lnTo>
                    <a:pt x="449355" y="112186"/>
                  </a:lnTo>
                  <a:lnTo>
                    <a:pt x="463988" y="121576"/>
                  </a:lnTo>
                  <a:lnTo>
                    <a:pt x="438258" y="121576"/>
                  </a:lnTo>
                  <a:lnTo>
                    <a:pt x="464110" y="133282"/>
                  </a:lnTo>
                  <a:lnTo>
                    <a:pt x="454233" y="139745"/>
                  </a:lnTo>
                  <a:lnTo>
                    <a:pt x="409358" y="119747"/>
                  </a:lnTo>
                  <a:lnTo>
                    <a:pt x="394725" y="116820"/>
                  </a:lnTo>
                  <a:lnTo>
                    <a:pt x="393628" y="117430"/>
                  </a:lnTo>
                  <a:lnTo>
                    <a:pt x="397652" y="119259"/>
                  </a:lnTo>
                  <a:lnTo>
                    <a:pt x="383019" y="139745"/>
                  </a:lnTo>
                  <a:lnTo>
                    <a:pt x="375702" y="142062"/>
                  </a:lnTo>
                  <a:lnTo>
                    <a:pt x="369483" y="138526"/>
                  </a:lnTo>
                  <a:lnTo>
                    <a:pt x="372410" y="106943"/>
                  </a:lnTo>
                  <a:lnTo>
                    <a:pt x="367288" y="95236"/>
                  </a:lnTo>
                  <a:lnTo>
                    <a:pt x="361435" y="92188"/>
                  </a:lnTo>
                  <a:lnTo>
                    <a:pt x="344851" y="95358"/>
                  </a:lnTo>
                  <a:lnTo>
                    <a:pt x="348021" y="102797"/>
                  </a:lnTo>
                  <a:lnTo>
                    <a:pt x="328023" y="101334"/>
                  </a:lnTo>
                  <a:lnTo>
                    <a:pt x="312171" y="105601"/>
                  </a:lnTo>
                  <a:lnTo>
                    <a:pt x="296806" y="105601"/>
                  </a:lnTo>
                  <a:lnTo>
                    <a:pt x="264979" y="112186"/>
                  </a:lnTo>
                  <a:lnTo>
                    <a:pt x="278027" y="118405"/>
                  </a:lnTo>
                  <a:lnTo>
                    <a:pt x="282417" y="124015"/>
                  </a:lnTo>
                  <a:lnTo>
                    <a:pt x="302781" y="135355"/>
                  </a:lnTo>
                  <a:lnTo>
                    <a:pt x="304976" y="148037"/>
                  </a:lnTo>
                  <a:lnTo>
                    <a:pt x="267540" y="133282"/>
                  </a:lnTo>
                  <a:lnTo>
                    <a:pt x="267540" y="126941"/>
                  </a:lnTo>
                  <a:lnTo>
                    <a:pt x="260589" y="123527"/>
                  </a:lnTo>
                  <a:lnTo>
                    <a:pt x="234372" y="124137"/>
                  </a:lnTo>
                  <a:lnTo>
                    <a:pt x="222422" y="126332"/>
                  </a:lnTo>
                  <a:lnTo>
                    <a:pt x="221446" y="127429"/>
                  </a:lnTo>
                  <a:lnTo>
                    <a:pt x="224738" y="130721"/>
                  </a:lnTo>
                  <a:lnTo>
                    <a:pt x="226080" y="136331"/>
                  </a:lnTo>
                  <a:lnTo>
                    <a:pt x="239981" y="141696"/>
                  </a:lnTo>
                  <a:lnTo>
                    <a:pt x="229128" y="149622"/>
                  </a:lnTo>
                  <a:lnTo>
                    <a:pt x="233396" y="152915"/>
                  </a:lnTo>
                  <a:lnTo>
                    <a:pt x="233396" y="163524"/>
                  </a:lnTo>
                  <a:lnTo>
                    <a:pt x="211081" y="169743"/>
                  </a:lnTo>
                  <a:lnTo>
                    <a:pt x="211081" y="169743"/>
                  </a:lnTo>
                  <a:lnTo>
                    <a:pt x="204984" y="165719"/>
                  </a:lnTo>
                  <a:lnTo>
                    <a:pt x="195472" y="163890"/>
                  </a:lnTo>
                  <a:lnTo>
                    <a:pt x="196692" y="177669"/>
                  </a:lnTo>
                  <a:lnTo>
                    <a:pt x="185961" y="180474"/>
                  </a:lnTo>
                  <a:lnTo>
                    <a:pt x="181693" y="167914"/>
                  </a:lnTo>
                  <a:lnTo>
                    <a:pt x="178157" y="168279"/>
                  </a:lnTo>
                  <a:lnTo>
                    <a:pt x="149744" y="185839"/>
                  </a:lnTo>
                  <a:lnTo>
                    <a:pt x="149744" y="193277"/>
                  </a:lnTo>
                  <a:lnTo>
                    <a:pt x="138404" y="194619"/>
                  </a:lnTo>
                  <a:lnTo>
                    <a:pt x="126941" y="201448"/>
                  </a:lnTo>
                  <a:lnTo>
                    <a:pt x="110113" y="205959"/>
                  </a:lnTo>
                  <a:lnTo>
                    <a:pt x="110113" y="212910"/>
                  </a:lnTo>
                  <a:lnTo>
                    <a:pt x="115723" y="215959"/>
                  </a:lnTo>
                  <a:lnTo>
                    <a:pt x="115723" y="220227"/>
                  </a:lnTo>
                  <a:lnTo>
                    <a:pt x="141574" y="223031"/>
                  </a:lnTo>
                  <a:lnTo>
                    <a:pt x="150110" y="218763"/>
                  </a:lnTo>
                  <a:lnTo>
                    <a:pt x="157183" y="219373"/>
                  </a:lnTo>
                  <a:lnTo>
                    <a:pt x="169133" y="214251"/>
                  </a:lnTo>
                  <a:lnTo>
                    <a:pt x="169133" y="214251"/>
                  </a:lnTo>
                  <a:lnTo>
                    <a:pt x="179986" y="221690"/>
                  </a:lnTo>
                  <a:lnTo>
                    <a:pt x="171328" y="226446"/>
                  </a:lnTo>
                  <a:lnTo>
                    <a:pt x="168889" y="228031"/>
                  </a:lnTo>
                  <a:lnTo>
                    <a:pt x="179742" y="233518"/>
                  </a:lnTo>
                  <a:lnTo>
                    <a:pt x="157670" y="237664"/>
                  </a:lnTo>
                  <a:lnTo>
                    <a:pt x="168036" y="247663"/>
                  </a:lnTo>
                  <a:lnTo>
                    <a:pt x="133892" y="271198"/>
                  </a:lnTo>
                  <a:lnTo>
                    <a:pt x="124746" y="268515"/>
                  </a:lnTo>
                  <a:lnTo>
                    <a:pt x="95846" y="269735"/>
                  </a:lnTo>
                  <a:lnTo>
                    <a:pt x="87310" y="275222"/>
                  </a:lnTo>
                  <a:lnTo>
                    <a:pt x="80969" y="275710"/>
                  </a:lnTo>
                  <a:lnTo>
                    <a:pt x="85847" y="277905"/>
                  </a:lnTo>
                  <a:lnTo>
                    <a:pt x="75848" y="283270"/>
                  </a:lnTo>
                  <a:lnTo>
                    <a:pt x="60239" y="283270"/>
                  </a:lnTo>
                  <a:lnTo>
                    <a:pt x="40119" y="293148"/>
                  </a:lnTo>
                  <a:lnTo>
                    <a:pt x="40119" y="293148"/>
                  </a:lnTo>
                  <a:lnTo>
                    <a:pt x="31217" y="291319"/>
                  </a:lnTo>
                  <a:lnTo>
                    <a:pt x="19267" y="291806"/>
                  </a:lnTo>
                  <a:lnTo>
                    <a:pt x="12316" y="295952"/>
                  </a:lnTo>
                  <a:lnTo>
                    <a:pt x="1829" y="300586"/>
                  </a:lnTo>
                  <a:lnTo>
                    <a:pt x="1341" y="301684"/>
                  </a:lnTo>
                  <a:lnTo>
                    <a:pt x="7195" y="305098"/>
                  </a:lnTo>
                  <a:lnTo>
                    <a:pt x="366" y="309000"/>
                  </a:lnTo>
                  <a:lnTo>
                    <a:pt x="0" y="309732"/>
                  </a:lnTo>
                  <a:lnTo>
                    <a:pt x="14999" y="318390"/>
                  </a:lnTo>
                  <a:lnTo>
                    <a:pt x="30607" y="319731"/>
                  </a:lnTo>
                  <a:lnTo>
                    <a:pt x="30607" y="321438"/>
                  </a:lnTo>
                  <a:lnTo>
                    <a:pt x="46582" y="322048"/>
                  </a:lnTo>
                  <a:lnTo>
                    <a:pt x="49508" y="325950"/>
                  </a:lnTo>
                  <a:lnTo>
                    <a:pt x="57556" y="327291"/>
                  </a:lnTo>
                  <a:lnTo>
                    <a:pt x="57556" y="331681"/>
                  </a:lnTo>
                  <a:lnTo>
                    <a:pt x="76335" y="335461"/>
                  </a:lnTo>
                  <a:lnTo>
                    <a:pt x="86335" y="329242"/>
                  </a:lnTo>
                  <a:lnTo>
                    <a:pt x="95358" y="331803"/>
                  </a:lnTo>
                  <a:lnTo>
                    <a:pt x="107309" y="330706"/>
                  </a:lnTo>
                  <a:lnTo>
                    <a:pt x="116088" y="326316"/>
                  </a:lnTo>
                  <a:lnTo>
                    <a:pt x="132794" y="328267"/>
                  </a:lnTo>
                  <a:lnTo>
                    <a:pt x="143281" y="335461"/>
                  </a:lnTo>
                  <a:lnTo>
                    <a:pt x="125234" y="344851"/>
                  </a:lnTo>
                  <a:lnTo>
                    <a:pt x="114747" y="342290"/>
                  </a:lnTo>
                  <a:lnTo>
                    <a:pt x="106699" y="342290"/>
                  </a:lnTo>
                  <a:lnTo>
                    <a:pt x="101090" y="343144"/>
                  </a:lnTo>
                  <a:lnTo>
                    <a:pt x="103772" y="342900"/>
                  </a:lnTo>
                  <a:lnTo>
                    <a:pt x="129258" y="347534"/>
                  </a:lnTo>
                  <a:lnTo>
                    <a:pt x="132185" y="354728"/>
                  </a:lnTo>
                  <a:lnTo>
                    <a:pt x="120600" y="356435"/>
                  </a:lnTo>
                  <a:lnTo>
                    <a:pt x="102309" y="351558"/>
                  </a:lnTo>
                  <a:lnTo>
                    <a:pt x="98041" y="352655"/>
                  </a:lnTo>
                  <a:lnTo>
                    <a:pt x="79262" y="353265"/>
                  </a:lnTo>
                  <a:lnTo>
                    <a:pt x="66458" y="349607"/>
                  </a:lnTo>
                  <a:lnTo>
                    <a:pt x="50118" y="348997"/>
                  </a:lnTo>
                  <a:lnTo>
                    <a:pt x="34022" y="353997"/>
                  </a:lnTo>
                  <a:lnTo>
                    <a:pt x="40607" y="360094"/>
                  </a:lnTo>
                  <a:lnTo>
                    <a:pt x="51581" y="359606"/>
                  </a:lnTo>
                  <a:lnTo>
                    <a:pt x="55849" y="354606"/>
                  </a:lnTo>
                  <a:lnTo>
                    <a:pt x="68165" y="354606"/>
                  </a:lnTo>
                  <a:lnTo>
                    <a:pt x="65361" y="364484"/>
                  </a:lnTo>
                  <a:lnTo>
                    <a:pt x="98285" y="365703"/>
                  </a:lnTo>
                  <a:lnTo>
                    <a:pt x="100724" y="376190"/>
                  </a:lnTo>
                  <a:lnTo>
                    <a:pt x="84140" y="375458"/>
                  </a:lnTo>
                  <a:lnTo>
                    <a:pt x="68897" y="380580"/>
                  </a:lnTo>
                  <a:lnTo>
                    <a:pt x="80238" y="387896"/>
                  </a:lnTo>
                  <a:lnTo>
                    <a:pt x="105967" y="391067"/>
                  </a:lnTo>
                  <a:lnTo>
                    <a:pt x="112552" y="393871"/>
                  </a:lnTo>
                  <a:lnTo>
                    <a:pt x="122429" y="393506"/>
                  </a:lnTo>
                  <a:lnTo>
                    <a:pt x="113284" y="391677"/>
                  </a:lnTo>
                  <a:lnTo>
                    <a:pt x="110845" y="382287"/>
                  </a:lnTo>
                  <a:lnTo>
                    <a:pt x="124136" y="382287"/>
                  </a:lnTo>
                  <a:lnTo>
                    <a:pt x="130599" y="386677"/>
                  </a:lnTo>
                  <a:lnTo>
                    <a:pt x="135477" y="383019"/>
                  </a:lnTo>
                  <a:lnTo>
                    <a:pt x="146086" y="381433"/>
                  </a:lnTo>
                  <a:lnTo>
                    <a:pt x="149257" y="388872"/>
                  </a:lnTo>
                  <a:lnTo>
                    <a:pt x="153403" y="390213"/>
                  </a:lnTo>
                  <a:lnTo>
                    <a:pt x="164499" y="387531"/>
                  </a:lnTo>
                  <a:lnTo>
                    <a:pt x="167426" y="379970"/>
                  </a:lnTo>
                  <a:lnTo>
                    <a:pt x="178157" y="378995"/>
                  </a:lnTo>
                  <a:lnTo>
                    <a:pt x="178157" y="385336"/>
                  </a:lnTo>
                  <a:lnTo>
                    <a:pt x="186205" y="385336"/>
                  </a:lnTo>
                  <a:lnTo>
                    <a:pt x="190595" y="379117"/>
                  </a:lnTo>
                  <a:lnTo>
                    <a:pt x="199984" y="379848"/>
                  </a:lnTo>
                  <a:lnTo>
                    <a:pt x="203886" y="386189"/>
                  </a:lnTo>
                  <a:lnTo>
                    <a:pt x="214129" y="382775"/>
                  </a:lnTo>
                  <a:lnTo>
                    <a:pt x="237542" y="386433"/>
                  </a:lnTo>
                  <a:lnTo>
                    <a:pt x="235713" y="389604"/>
                  </a:lnTo>
                  <a:lnTo>
                    <a:pt x="241566" y="392652"/>
                  </a:lnTo>
                  <a:lnTo>
                    <a:pt x="253395" y="390701"/>
                  </a:lnTo>
                  <a:lnTo>
                    <a:pt x="259126" y="396920"/>
                  </a:lnTo>
                  <a:lnTo>
                    <a:pt x="268515" y="396432"/>
                  </a:lnTo>
                  <a:lnTo>
                    <a:pt x="287782" y="402651"/>
                  </a:lnTo>
                  <a:lnTo>
                    <a:pt x="284977" y="413504"/>
                  </a:lnTo>
                  <a:lnTo>
                    <a:pt x="293391" y="414967"/>
                  </a:lnTo>
                  <a:lnTo>
                    <a:pt x="317658" y="442892"/>
                  </a:lnTo>
                  <a:lnTo>
                    <a:pt x="327413" y="446184"/>
                  </a:lnTo>
                  <a:lnTo>
                    <a:pt x="338754" y="455330"/>
                  </a:lnTo>
                  <a:lnTo>
                    <a:pt x="330218" y="459476"/>
                  </a:lnTo>
                  <a:lnTo>
                    <a:pt x="333876" y="473134"/>
                  </a:lnTo>
                  <a:lnTo>
                    <a:pt x="344607" y="479596"/>
                  </a:lnTo>
                  <a:lnTo>
                    <a:pt x="340217" y="489230"/>
                  </a:lnTo>
                  <a:lnTo>
                    <a:pt x="355826" y="502765"/>
                  </a:lnTo>
                  <a:lnTo>
                    <a:pt x="350704" y="514472"/>
                  </a:lnTo>
                  <a:lnTo>
                    <a:pt x="366556" y="516789"/>
                  </a:lnTo>
                  <a:lnTo>
                    <a:pt x="369971" y="540811"/>
                  </a:lnTo>
                  <a:lnTo>
                    <a:pt x="353996" y="538006"/>
                  </a:lnTo>
                  <a:lnTo>
                    <a:pt x="353143" y="538738"/>
                  </a:lnTo>
                  <a:lnTo>
                    <a:pt x="358508" y="548493"/>
                  </a:lnTo>
                  <a:lnTo>
                    <a:pt x="354606" y="555566"/>
                  </a:lnTo>
                  <a:lnTo>
                    <a:pt x="364849" y="563736"/>
                  </a:lnTo>
                  <a:lnTo>
                    <a:pt x="348875" y="568614"/>
                  </a:lnTo>
                  <a:lnTo>
                    <a:pt x="358265" y="573613"/>
                  </a:lnTo>
                  <a:lnTo>
                    <a:pt x="372654" y="575808"/>
                  </a:lnTo>
                  <a:lnTo>
                    <a:pt x="374117" y="563614"/>
                  </a:lnTo>
                  <a:lnTo>
                    <a:pt x="380946" y="562761"/>
                  </a:lnTo>
                  <a:lnTo>
                    <a:pt x="380946" y="553005"/>
                  </a:lnTo>
                  <a:lnTo>
                    <a:pt x="380946" y="553005"/>
                  </a:lnTo>
                  <a:lnTo>
                    <a:pt x="394359" y="554103"/>
                  </a:lnTo>
                  <a:lnTo>
                    <a:pt x="397408" y="560566"/>
                  </a:lnTo>
                  <a:lnTo>
                    <a:pt x="416431" y="572028"/>
                  </a:lnTo>
                  <a:lnTo>
                    <a:pt x="409602" y="577759"/>
                  </a:lnTo>
                  <a:lnTo>
                    <a:pt x="424845" y="585564"/>
                  </a:lnTo>
                  <a:lnTo>
                    <a:pt x="440697" y="587881"/>
                  </a:lnTo>
                  <a:lnTo>
                    <a:pt x="430088" y="596295"/>
                  </a:lnTo>
                  <a:lnTo>
                    <a:pt x="436429" y="603245"/>
                  </a:lnTo>
                  <a:lnTo>
                    <a:pt x="435210" y="607757"/>
                  </a:lnTo>
                  <a:lnTo>
                    <a:pt x="451794" y="615683"/>
                  </a:lnTo>
                  <a:lnTo>
                    <a:pt x="439843" y="621415"/>
                  </a:lnTo>
                  <a:lnTo>
                    <a:pt x="415211" y="610074"/>
                  </a:lnTo>
                  <a:lnTo>
                    <a:pt x="405212" y="610074"/>
                  </a:lnTo>
                  <a:lnTo>
                    <a:pt x="389725" y="605806"/>
                  </a:lnTo>
                  <a:lnTo>
                    <a:pt x="372044" y="603367"/>
                  </a:lnTo>
                  <a:lnTo>
                    <a:pt x="369605" y="604465"/>
                  </a:lnTo>
                  <a:lnTo>
                    <a:pt x="377043" y="612879"/>
                  </a:lnTo>
                  <a:lnTo>
                    <a:pt x="393871" y="616171"/>
                  </a:lnTo>
                  <a:lnTo>
                    <a:pt x="409358" y="626414"/>
                  </a:lnTo>
                  <a:lnTo>
                    <a:pt x="434112" y="629707"/>
                  </a:lnTo>
                  <a:lnTo>
                    <a:pt x="452891" y="626902"/>
                  </a:lnTo>
                  <a:lnTo>
                    <a:pt x="454842" y="637877"/>
                  </a:lnTo>
                  <a:lnTo>
                    <a:pt x="448623" y="642389"/>
                  </a:lnTo>
                  <a:lnTo>
                    <a:pt x="456305" y="650559"/>
                  </a:lnTo>
                  <a:lnTo>
                    <a:pt x="440087" y="656412"/>
                  </a:lnTo>
                  <a:lnTo>
                    <a:pt x="436673" y="667996"/>
                  </a:lnTo>
                  <a:lnTo>
                    <a:pt x="444721" y="671167"/>
                  </a:lnTo>
                  <a:lnTo>
                    <a:pt x="444721" y="679703"/>
                  </a:lnTo>
                  <a:lnTo>
                    <a:pt x="424479" y="680678"/>
                  </a:lnTo>
                  <a:lnTo>
                    <a:pt x="408992" y="683849"/>
                  </a:lnTo>
                  <a:lnTo>
                    <a:pt x="408260" y="687141"/>
                  </a:lnTo>
                  <a:lnTo>
                    <a:pt x="415699" y="688361"/>
                  </a:lnTo>
                  <a:lnTo>
                    <a:pt x="433137" y="684824"/>
                  </a:lnTo>
                  <a:lnTo>
                    <a:pt x="433137" y="684824"/>
                  </a:lnTo>
                  <a:lnTo>
                    <a:pt x="438990" y="688482"/>
                  </a:lnTo>
                  <a:lnTo>
                    <a:pt x="451916" y="689580"/>
                  </a:lnTo>
                  <a:lnTo>
                    <a:pt x="445087" y="700433"/>
                  </a:lnTo>
                  <a:lnTo>
                    <a:pt x="423991" y="696896"/>
                  </a:lnTo>
                  <a:lnTo>
                    <a:pt x="404724" y="696896"/>
                  </a:lnTo>
                  <a:lnTo>
                    <a:pt x="386921" y="703725"/>
                  </a:lnTo>
                  <a:lnTo>
                    <a:pt x="387652" y="707383"/>
                  </a:lnTo>
                  <a:lnTo>
                    <a:pt x="391311" y="707871"/>
                  </a:lnTo>
                  <a:lnTo>
                    <a:pt x="408139" y="700311"/>
                  </a:lnTo>
                  <a:lnTo>
                    <a:pt x="418504" y="700311"/>
                  </a:lnTo>
                  <a:lnTo>
                    <a:pt x="443989" y="701164"/>
                  </a:lnTo>
                  <a:lnTo>
                    <a:pt x="449843" y="712993"/>
                  </a:lnTo>
                  <a:lnTo>
                    <a:pt x="439721" y="716651"/>
                  </a:lnTo>
                  <a:lnTo>
                    <a:pt x="424967" y="710432"/>
                  </a:lnTo>
                  <a:lnTo>
                    <a:pt x="413016" y="707993"/>
                  </a:lnTo>
                  <a:lnTo>
                    <a:pt x="388994" y="716773"/>
                  </a:lnTo>
                  <a:lnTo>
                    <a:pt x="383994" y="729455"/>
                  </a:lnTo>
                  <a:lnTo>
                    <a:pt x="385457" y="732138"/>
                  </a:lnTo>
                  <a:lnTo>
                    <a:pt x="394237" y="729211"/>
                  </a:lnTo>
                  <a:lnTo>
                    <a:pt x="410699" y="731406"/>
                  </a:lnTo>
                  <a:lnTo>
                    <a:pt x="401310" y="746527"/>
                  </a:lnTo>
                  <a:lnTo>
                    <a:pt x="393140" y="746527"/>
                  </a:lnTo>
                  <a:lnTo>
                    <a:pt x="389603" y="757014"/>
                  </a:lnTo>
                  <a:lnTo>
                    <a:pt x="397164" y="770793"/>
                  </a:lnTo>
                  <a:lnTo>
                    <a:pt x="408626" y="772256"/>
                  </a:lnTo>
                  <a:lnTo>
                    <a:pt x="414601" y="786280"/>
                  </a:lnTo>
                  <a:lnTo>
                    <a:pt x="401188" y="786280"/>
                  </a:lnTo>
                  <a:lnTo>
                    <a:pt x="400090" y="787865"/>
                  </a:lnTo>
                  <a:lnTo>
                    <a:pt x="419723" y="801766"/>
                  </a:lnTo>
                  <a:lnTo>
                    <a:pt x="416431" y="809814"/>
                  </a:lnTo>
                  <a:lnTo>
                    <a:pt x="420699" y="829447"/>
                  </a:lnTo>
                  <a:lnTo>
                    <a:pt x="418016" y="846519"/>
                  </a:lnTo>
                  <a:lnTo>
                    <a:pt x="423137" y="848226"/>
                  </a:lnTo>
                  <a:lnTo>
                    <a:pt x="432405" y="830910"/>
                  </a:lnTo>
                  <a:lnTo>
                    <a:pt x="442526" y="822618"/>
                  </a:lnTo>
                  <a:lnTo>
                    <a:pt x="462159" y="835666"/>
                  </a:lnTo>
                  <a:lnTo>
                    <a:pt x="458013" y="848226"/>
                  </a:lnTo>
                  <a:lnTo>
                    <a:pt x="450574" y="843836"/>
                  </a:lnTo>
                  <a:lnTo>
                    <a:pt x="446184" y="852616"/>
                  </a:lnTo>
                  <a:lnTo>
                    <a:pt x="446184" y="864078"/>
                  </a:lnTo>
                  <a:lnTo>
                    <a:pt x="430576" y="865420"/>
                  </a:lnTo>
                  <a:lnTo>
                    <a:pt x="430576" y="879565"/>
                  </a:lnTo>
                  <a:lnTo>
                    <a:pt x="440209" y="887857"/>
                  </a:lnTo>
                  <a:lnTo>
                    <a:pt x="441673" y="892247"/>
                  </a:lnTo>
                  <a:lnTo>
                    <a:pt x="451794" y="903831"/>
                  </a:lnTo>
                  <a:lnTo>
                    <a:pt x="451794" y="912489"/>
                  </a:lnTo>
                  <a:lnTo>
                    <a:pt x="455208" y="917489"/>
                  </a:lnTo>
                  <a:lnTo>
                    <a:pt x="449355" y="924683"/>
                  </a:lnTo>
                  <a:lnTo>
                    <a:pt x="451306" y="928586"/>
                  </a:lnTo>
                  <a:lnTo>
                    <a:pt x="467280" y="937243"/>
                  </a:lnTo>
                  <a:lnTo>
                    <a:pt x="468744" y="947974"/>
                  </a:lnTo>
                  <a:lnTo>
                    <a:pt x="474231" y="961510"/>
                  </a:lnTo>
                  <a:lnTo>
                    <a:pt x="484230" y="970168"/>
                  </a:lnTo>
                  <a:lnTo>
                    <a:pt x="485693" y="976996"/>
                  </a:lnTo>
                  <a:lnTo>
                    <a:pt x="497156" y="984191"/>
                  </a:lnTo>
                  <a:lnTo>
                    <a:pt x="498497" y="999678"/>
                  </a:lnTo>
                  <a:lnTo>
                    <a:pt x="501302" y="1001019"/>
                  </a:lnTo>
                  <a:lnTo>
                    <a:pt x="506545" y="991995"/>
                  </a:lnTo>
                  <a:lnTo>
                    <a:pt x="537519" y="988825"/>
                  </a:lnTo>
                  <a:lnTo>
                    <a:pt x="544957" y="1003702"/>
                  </a:lnTo>
                  <a:lnTo>
                    <a:pt x="565443" y="1013945"/>
                  </a:lnTo>
                  <a:lnTo>
                    <a:pt x="563980" y="1026139"/>
                  </a:lnTo>
                  <a:lnTo>
                    <a:pt x="567029" y="1032358"/>
                  </a:lnTo>
                  <a:lnTo>
                    <a:pt x="579101" y="1026870"/>
                  </a:lnTo>
                  <a:lnTo>
                    <a:pt x="586417" y="1032968"/>
                  </a:lnTo>
                  <a:lnTo>
                    <a:pt x="591905" y="1019798"/>
                  </a:lnTo>
                  <a:lnTo>
                    <a:pt x="580198" y="1006384"/>
                  </a:lnTo>
                  <a:lnTo>
                    <a:pt x="596173" y="1004799"/>
                  </a:lnTo>
                  <a:lnTo>
                    <a:pt x="594953" y="997726"/>
                  </a:lnTo>
                  <a:lnTo>
                    <a:pt x="602148" y="987727"/>
                  </a:lnTo>
                  <a:lnTo>
                    <a:pt x="600562" y="978582"/>
                  </a:lnTo>
                  <a:lnTo>
                    <a:pt x="609708" y="973948"/>
                  </a:lnTo>
                  <a:lnTo>
                    <a:pt x="614708" y="961388"/>
                  </a:lnTo>
                  <a:lnTo>
                    <a:pt x="604830" y="941633"/>
                  </a:lnTo>
                  <a:lnTo>
                    <a:pt x="610440" y="926269"/>
                  </a:lnTo>
                  <a:lnTo>
                    <a:pt x="604464" y="918830"/>
                  </a:lnTo>
                  <a:lnTo>
                    <a:pt x="613366" y="907977"/>
                  </a:lnTo>
                  <a:lnTo>
                    <a:pt x="613366" y="907977"/>
                  </a:lnTo>
                  <a:lnTo>
                    <a:pt x="621171" y="909319"/>
                  </a:lnTo>
                  <a:lnTo>
                    <a:pt x="625317" y="892857"/>
                  </a:lnTo>
                  <a:lnTo>
                    <a:pt x="632267" y="891515"/>
                  </a:lnTo>
                  <a:lnTo>
                    <a:pt x="633365" y="886516"/>
                  </a:lnTo>
                  <a:lnTo>
                    <a:pt x="624463" y="870663"/>
                  </a:lnTo>
                  <a:lnTo>
                    <a:pt x="624463" y="870663"/>
                  </a:lnTo>
                  <a:lnTo>
                    <a:pt x="643120" y="873712"/>
                  </a:lnTo>
                  <a:lnTo>
                    <a:pt x="642023" y="859689"/>
                  </a:lnTo>
                  <a:lnTo>
                    <a:pt x="626658" y="856884"/>
                  </a:lnTo>
                  <a:lnTo>
                    <a:pt x="622878" y="841519"/>
                  </a:lnTo>
                  <a:lnTo>
                    <a:pt x="639584" y="841519"/>
                  </a:lnTo>
                  <a:lnTo>
                    <a:pt x="641657" y="834203"/>
                  </a:lnTo>
                  <a:lnTo>
                    <a:pt x="634706" y="825911"/>
                  </a:lnTo>
                  <a:lnTo>
                    <a:pt x="636413" y="809083"/>
                  </a:lnTo>
                  <a:lnTo>
                    <a:pt x="654705" y="807741"/>
                  </a:lnTo>
                  <a:lnTo>
                    <a:pt x="654705" y="803230"/>
                  </a:lnTo>
                  <a:lnTo>
                    <a:pt x="648851" y="794328"/>
                  </a:lnTo>
                  <a:lnTo>
                    <a:pt x="650924" y="787987"/>
                  </a:lnTo>
                  <a:lnTo>
                    <a:pt x="688848" y="780914"/>
                  </a:lnTo>
                  <a:lnTo>
                    <a:pt x="691653" y="753599"/>
                  </a:lnTo>
                  <a:lnTo>
                    <a:pt x="695189" y="744820"/>
                  </a:lnTo>
                  <a:lnTo>
                    <a:pt x="710310" y="748478"/>
                  </a:lnTo>
                  <a:lnTo>
                    <a:pt x="707261" y="765306"/>
                  </a:lnTo>
                  <a:lnTo>
                    <a:pt x="710066" y="770061"/>
                  </a:lnTo>
                  <a:lnTo>
                    <a:pt x="720797" y="764696"/>
                  </a:lnTo>
                  <a:lnTo>
                    <a:pt x="729211" y="770305"/>
                  </a:lnTo>
                  <a:lnTo>
                    <a:pt x="742746" y="762989"/>
                  </a:lnTo>
                  <a:lnTo>
                    <a:pt x="744210" y="747868"/>
                  </a:lnTo>
                  <a:lnTo>
                    <a:pt x="762135" y="749331"/>
                  </a:lnTo>
                  <a:lnTo>
                    <a:pt x="777012" y="730187"/>
                  </a:lnTo>
                  <a:lnTo>
                    <a:pt x="785426" y="714944"/>
                  </a:lnTo>
                  <a:lnTo>
                    <a:pt x="794572" y="701286"/>
                  </a:lnTo>
                  <a:lnTo>
                    <a:pt x="813960" y="699579"/>
                  </a:lnTo>
                  <a:lnTo>
                    <a:pt x="816033" y="690068"/>
                  </a:lnTo>
                  <a:lnTo>
                    <a:pt x="805912" y="685434"/>
                  </a:lnTo>
                  <a:lnTo>
                    <a:pt x="796157" y="675191"/>
                  </a:lnTo>
                  <a:lnTo>
                    <a:pt x="813472" y="676532"/>
                  </a:lnTo>
                  <a:lnTo>
                    <a:pt x="830544" y="686775"/>
                  </a:lnTo>
                  <a:lnTo>
                    <a:pt x="837739" y="687507"/>
                  </a:lnTo>
                  <a:lnTo>
                    <a:pt x="845055" y="682263"/>
                  </a:lnTo>
                  <a:lnTo>
                    <a:pt x="853591" y="684824"/>
                  </a:lnTo>
                  <a:lnTo>
                    <a:pt x="862371" y="679581"/>
                  </a:lnTo>
                  <a:lnTo>
                    <a:pt x="862371" y="679581"/>
                  </a:lnTo>
                  <a:lnTo>
                    <a:pt x="870053" y="683239"/>
                  </a:lnTo>
                  <a:lnTo>
                    <a:pt x="877492" y="683239"/>
                  </a:lnTo>
                  <a:lnTo>
                    <a:pt x="897856" y="672874"/>
                  </a:lnTo>
                  <a:lnTo>
                    <a:pt x="906270" y="676288"/>
                  </a:lnTo>
                  <a:lnTo>
                    <a:pt x="920049" y="668850"/>
                  </a:lnTo>
                  <a:lnTo>
                    <a:pt x="936755" y="668850"/>
                  </a:lnTo>
                  <a:lnTo>
                    <a:pt x="946633" y="658607"/>
                  </a:lnTo>
                  <a:lnTo>
                    <a:pt x="953705" y="658607"/>
                  </a:lnTo>
                  <a:lnTo>
                    <a:pt x="962363" y="648120"/>
                  </a:lnTo>
                  <a:lnTo>
                    <a:pt x="969192" y="649827"/>
                  </a:lnTo>
                  <a:lnTo>
                    <a:pt x="974679" y="639950"/>
                  </a:lnTo>
                  <a:lnTo>
                    <a:pt x="983947" y="639950"/>
                  </a:lnTo>
                  <a:lnTo>
                    <a:pt x="1011384" y="625561"/>
                  </a:lnTo>
                  <a:lnTo>
                    <a:pt x="1011994" y="623610"/>
                  </a:lnTo>
                  <a:lnTo>
                    <a:pt x="1009798" y="622268"/>
                  </a:lnTo>
                  <a:lnTo>
                    <a:pt x="1001263" y="625683"/>
                  </a:lnTo>
                  <a:lnTo>
                    <a:pt x="996629" y="622878"/>
                  </a:lnTo>
                  <a:lnTo>
                    <a:pt x="960534" y="622878"/>
                  </a:lnTo>
                  <a:lnTo>
                    <a:pt x="956266" y="615317"/>
                  </a:lnTo>
                  <a:lnTo>
                    <a:pt x="945901" y="616049"/>
                  </a:lnTo>
                  <a:lnTo>
                    <a:pt x="940170" y="625439"/>
                  </a:lnTo>
                  <a:lnTo>
                    <a:pt x="929317" y="625439"/>
                  </a:lnTo>
                  <a:lnTo>
                    <a:pt x="914928" y="628853"/>
                  </a:lnTo>
                  <a:lnTo>
                    <a:pt x="895539" y="628853"/>
                  </a:lnTo>
                  <a:lnTo>
                    <a:pt x="888101" y="619951"/>
                  </a:lnTo>
                  <a:lnTo>
                    <a:pt x="907611" y="617756"/>
                  </a:lnTo>
                  <a:lnTo>
                    <a:pt x="925903" y="617025"/>
                  </a:lnTo>
                  <a:lnTo>
                    <a:pt x="926634" y="612635"/>
                  </a:lnTo>
                  <a:lnTo>
                    <a:pt x="918220" y="612635"/>
                  </a:lnTo>
                  <a:lnTo>
                    <a:pt x="911148" y="616049"/>
                  </a:lnTo>
                  <a:lnTo>
                    <a:pt x="894929" y="616903"/>
                  </a:lnTo>
                  <a:lnTo>
                    <a:pt x="894929" y="616903"/>
                  </a:lnTo>
                  <a:lnTo>
                    <a:pt x="876516" y="613244"/>
                  </a:lnTo>
                  <a:lnTo>
                    <a:pt x="873590" y="606172"/>
                  </a:lnTo>
                  <a:lnTo>
                    <a:pt x="887003" y="605074"/>
                  </a:lnTo>
                  <a:lnTo>
                    <a:pt x="893588" y="598611"/>
                  </a:lnTo>
                  <a:lnTo>
                    <a:pt x="885906" y="590563"/>
                  </a:lnTo>
                  <a:lnTo>
                    <a:pt x="920293" y="590563"/>
                  </a:lnTo>
                  <a:lnTo>
                    <a:pt x="942852" y="585076"/>
                  </a:lnTo>
                  <a:lnTo>
                    <a:pt x="943706" y="578491"/>
                  </a:lnTo>
                  <a:lnTo>
                    <a:pt x="915782" y="576052"/>
                  </a:lnTo>
                  <a:lnTo>
                    <a:pt x="897246" y="571419"/>
                  </a:lnTo>
                  <a:lnTo>
                    <a:pt x="897246" y="562639"/>
                  </a:lnTo>
                  <a:lnTo>
                    <a:pt x="878711" y="554591"/>
                  </a:lnTo>
                  <a:lnTo>
                    <a:pt x="892003" y="548006"/>
                  </a:lnTo>
                  <a:lnTo>
                    <a:pt x="908953" y="551664"/>
                  </a:lnTo>
                  <a:lnTo>
                    <a:pt x="920293" y="565078"/>
                  </a:lnTo>
                  <a:lnTo>
                    <a:pt x="942487" y="566907"/>
                  </a:lnTo>
                  <a:lnTo>
                    <a:pt x="972362" y="575808"/>
                  </a:lnTo>
                  <a:lnTo>
                    <a:pt x="972362" y="584344"/>
                  </a:lnTo>
                  <a:lnTo>
                    <a:pt x="987117" y="604465"/>
                  </a:lnTo>
                  <a:lnTo>
                    <a:pt x="1006994" y="608855"/>
                  </a:lnTo>
                  <a:lnTo>
                    <a:pt x="1008091" y="604099"/>
                  </a:lnTo>
                  <a:lnTo>
                    <a:pt x="1015774" y="599465"/>
                  </a:lnTo>
                  <a:lnTo>
                    <a:pt x="1024919" y="606782"/>
                  </a:lnTo>
                  <a:lnTo>
                    <a:pt x="1029309" y="606782"/>
                  </a:lnTo>
                  <a:lnTo>
                    <a:pt x="1031870" y="580076"/>
                  </a:lnTo>
                  <a:lnTo>
                    <a:pt x="1025529" y="575686"/>
                  </a:lnTo>
                  <a:lnTo>
                    <a:pt x="1019798" y="579711"/>
                  </a:lnTo>
                  <a:lnTo>
                    <a:pt x="1013579" y="565809"/>
                  </a:lnTo>
                  <a:lnTo>
                    <a:pt x="1003214" y="557151"/>
                  </a:lnTo>
                  <a:lnTo>
                    <a:pt x="988947" y="552761"/>
                  </a:lnTo>
                  <a:lnTo>
                    <a:pt x="974070" y="543006"/>
                  </a:lnTo>
                  <a:lnTo>
                    <a:pt x="954071" y="547274"/>
                  </a:lnTo>
                  <a:lnTo>
                    <a:pt x="939682" y="536177"/>
                  </a:lnTo>
                  <a:lnTo>
                    <a:pt x="959071" y="532641"/>
                  </a:lnTo>
                  <a:lnTo>
                    <a:pt x="953949" y="527032"/>
                  </a:lnTo>
                  <a:lnTo>
                    <a:pt x="932609" y="533007"/>
                  </a:lnTo>
                  <a:lnTo>
                    <a:pt x="932609" y="533007"/>
                  </a:lnTo>
                  <a:lnTo>
                    <a:pt x="922001" y="520325"/>
                  </a:lnTo>
                  <a:lnTo>
                    <a:pt x="949193" y="518374"/>
                  </a:lnTo>
                  <a:lnTo>
                    <a:pt x="951389" y="514716"/>
                  </a:lnTo>
                  <a:lnTo>
                    <a:pt x="942121" y="511667"/>
                  </a:lnTo>
                  <a:lnTo>
                    <a:pt x="932122" y="517642"/>
                  </a:lnTo>
                  <a:lnTo>
                    <a:pt x="926268" y="515081"/>
                  </a:lnTo>
                  <a:lnTo>
                    <a:pt x="914318" y="519471"/>
                  </a:lnTo>
                  <a:lnTo>
                    <a:pt x="903465" y="507765"/>
                  </a:lnTo>
                  <a:lnTo>
                    <a:pt x="920659" y="505448"/>
                  </a:lnTo>
                  <a:lnTo>
                    <a:pt x="914196" y="500936"/>
                  </a:lnTo>
                  <a:lnTo>
                    <a:pt x="921513" y="495083"/>
                  </a:lnTo>
                  <a:lnTo>
                    <a:pt x="943340" y="501180"/>
                  </a:lnTo>
                  <a:lnTo>
                    <a:pt x="952120" y="498985"/>
                  </a:lnTo>
                  <a:lnTo>
                    <a:pt x="961266" y="490083"/>
                  </a:lnTo>
                  <a:lnTo>
                    <a:pt x="941023" y="476060"/>
                  </a:lnTo>
                  <a:lnTo>
                    <a:pt x="953461" y="473134"/>
                  </a:lnTo>
                  <a:lnTo>
                    <a:pt x="970655" y="481669"/>
                  </a:lnTo>
                  <a:lnTo>
                    <a:pt x="986264" y="480816"/>
                  </a:lnTo>
                  <a:lnTo>
                    <a:pt x="1015896" y="493132"/>
                  </a:lnTo>
                  <a:lnTo>
                    <a:pt x="1015896" y="493132"/>
                  </a:lnTo>
                  <a:lnTo>
                    <a:pt x="993580" y="492400"/>
                  </a:lnTo>
                  <a:lnTo>
                    <a:pt x="1011628" y="501180"/>
                  </a:lnTo>
                  <a:lnTo>
                    <a:pt x="1033577" y="495449"/>
                  </a:lnTo>
                  <a:lnTo>
                    <a:pt x="1051625" y="492278"/>
                  </a:lnTo>
                  <a:lnTo>
                    <a:pt x="1050649" y="481669"/>
                  </a:lnTo>
                  <a:lnTo>
                    <a:pt x="1032967" y="480938"/>
                  </a:lnTo>
                  <a:lnTo>
                    <a:pt x="1035284" y="487279"/>
                  </a:lnTo>
                  <a:lnTo>
                    <a:pt x="1027114" y="492156"/>
                  </a:lnTo>
                  <a:lnTo>
                    <a:pt x="1027114" y="492156"/>
                  </a:lnTo>
                  <a:lnTo>
                    <a:pt x="1027114" y="492156"/>
                  </a:lnTo>
                  <a:lnTo>
                    <a:pt x="1021383" y="471914"/>
                  </a:lnTo>
                  <a:lnTo>
                    <a:pt x="1013701" y="458135"/>
                  </a:lnTo>
                  <a:lnTo>
                    <a:pt x="1020529" y="448989"/>
                  </a:lnTo>
                  <a:lnTo>
                    <a:pt x="1025163" y="446794"/>
                  </a:lnTo>
                  <a:lnTo>
                    <a:pt x="1039430" y="447892"/>
                  </a:lnTo>
                  <a:lnTo>
                    <a:pt x="1039186" y="447282"/>
                  </a:lnTo>
                  <a:lnTo>
                    <a:pt x="1033455" y="441429"/>
                  </a:lnTo>
                  <a:lnTo>
                    <a:pt x="1037723" y="442038"/>
                  </a:lnTo>
                  <a:lnTo>
                    <a:pt x="1037357" y="440697"/>
                  </a:lnTo>
                  <a:lnTo>
                    <a:pt x="1043698" y="433990"/>
                  </a:lnTo>
                  <a:lnTo>
                    <a:pt x="1040528" y="431551"/>
                  </a:lnTo>
                  <a:lnTo>
                    <a:pt x="1022480" y="433259"/>
                  </a:lnTo>
                  <a:lnTo>
                    <a:pt x="1013457" y="426430"/>
                  </a:lnTo>
                  <a:lnTo>
                    <a:pt x="1025407" y="420455"/>
                  </a:lnTo>
                  <a:lnTo>
                    <a:pt x="1043942" y="419723"/>
                  </a:lnTo>
                  <a:lnTo>
                    <a:pt x="1044064" y="419479"/>
                  </a:lnTo>
                  <a:lnTo>
                    <a:pt x="1015896" y="407041"/>
                  </a:lnTo>
                  <a:lnTo>
                    <a:pt x="1031626" y="403627"/>
                  </a:lnTo>
                  <a:lnTo>
                    <a:pt x="1031626" y="403627"/>
                  </a:lnTo>
                  <a:lnTo>
                    <a:pt x="1040528" y="408748"/>
                  </a:lnTo>
                  <a:lnTo>
                    <a:pt x="1053210" y="411309"/>
                  </a:lnTo>
                  <a:lnTo>
                    <a:pt x="1065282" y="418382"/>
                  </a:lnTo>
                  <a:lnTo>
                    <a:pt x="1076988" y="411065"/>
                  </a:lnTo>
                  <a:lnTo>
                    <a:pt x="1074915" y="404358"/>
                  </a:lnTo>
                  <a:lnTo>
                    <a:pt x="1057722" y="396920"/>
                  </a:lnTo>
                  <a:lnTo>
                    <a:pt x="1029309" y="395091"/>
                  </a:lnTo>
                  <a:lnTo>
                    <a:pt x="1002482" y="388384"/>
                  </a:lnTo>
                  <a:lnTo>
                    <a:pt x="1046869" y="388384"/>
                  </a:lnTo>
                  <a:lnTo>
                    <a:pt x="1060282" y="387409"/>
                  </a:lnTo>
                  <a:lnTo>
                    <a:pt x="1060282" y="384482"/>
                  </a:lnTo>
                  <a:lnTo>
                    <a:pt x="1045527" y="382775"/>
                  </a:lnTo>
                  <a:lnTo>
                    <a:pt x="1032601" y="385336"/>
                  </a:lnTo>
                  <a:lnTo>
                    <a:pt x="1032601" y="385336"/>
                  </a:lnTo>
                  <a:lnTo>
                    <a:pt x="1022358" y="382409"/>
                  </a:lnTo>
                  <a:lnTo>
                    <a:pt x="1020773" y="374727"/>
                  </a:lnTo>
                  <a:lnTo>
                    <a:pt x="1014798" y="366191"/>
                  </a:lnTo>
                  <a:lnTo>
                    <a:pt x="1016749" y="360094"/>
                  </a:lnTo>
                  <a:lnTo>
                    <a:pt x="1025407" y="359484"/>
                  </a:lnTo>
                  <a:lnTo>
                    <a:pt x="1036748" y="359118"/>
                  </a:lnTo>
                  <a:lnTo>
                    <a:pt x="1029797" y="353753"/>
                  </a:lnTo>
                  <a:lnTo>
                    <a:pt x="1045527" y="352777"/>
                  </a:lnTo>
                  <a:lnTo>
                    <a:pt x="1075281" y="357655"/>
                  </a:lnTo>
                  <a:lnTo>
                    <a:pt x="1090890" y="357167"/>
                  </a:lnTo>
                  <a:lnTo>
                    <a:pt x="1095645" y="348387"/>
                  </a:lnTo>
                  <a:lnTo>
                    <a:pt x="1094792" y="344485"/>
                  </a:lnTo>
                  <a:lnTo>
                    <a:pt x="1081988" y="342412"/>
                  </a:lnTo>
                  <a:lnTo>
                    <a:pt x="1078939" y="347778"/>
                  </a:lnTo>
                  <a:lnTo>
                    <a:pt x="1054185" y="337047"/>
                  </a:lnTo>
                  <a:lnTo>
                    <a:pt x="1045284" y="327901"/>
                  </a:lnTo>
                  <a:lnTo>
                    <a:pt x="1050527" y="322292"/>
                  </a:lnTo>
                  <a:lnTo>
                    <a:pt x="1060160" y="325828"/>
                  </a:lnTo>
                  <a:lnTo>
                    <a:pt x="1072476" y="328267"/>
                  </a:lnTo>
                  <a:lnTo>
                    <a:pt x="1071989" y="325706"/>
                  </a:lnTo>
                  <a:lnTo>
                    <a:pt x="1046747" y="317170"/>
                  </a:lnTo>
                  <a:lnTo>
                    <a:pt x="1039796" y="318633"/>
                  </a:lnTo>
                  <a:lnTo>
                    <a:pt x="1035406" y="327535"/>
                  </a:lnTo>
                  <a:lnTo>
                    <a:pt x="1021383" y="327535"/>
                  </a:lnTo>
                  <a:lnTo>
                    <a:pt x="1017481" y="318390"/>
                  </a:lnTo>
                  <a:lnTo>
                    <a:pt x="1034675" y="290953"/>
                  </a:lnTo>
                  <a:lnTo>
                    <a:pt x="1026383" y="290221"/>
                  </a:lnTo>
                  <a:lnTo>
                    <a:pt x="1044552" y="272905"/>
                  </a:lnTo>
                  <a:lnTo>
                    <a:pt x="1058697" y="272905"/>
                  </a:lnTo>
                  <a:lnTo>
                    <a:pt x="1070525" y="260345"/>
                  </a:lnTo>
                  <a:lnTo>
                    <a:pt x="1071013" y="258638"/>
                  </a:lnTo>
                  <a:lnTo>
                    <a:pt x="1057844" y="258638"/>
                  </a:lnTo>
                  <a:lnTo>
                    <a:pt x="1069550" y="231689"/>
                  </a:lnTo>
                  <a:lnTo>
                    <a:pt x="1096743" y="231689"/>
                  </a:lnTo>
                  <a:lnTo>
                    <a:pt x="1104791" y="219251"/>
                  </a:lnTo>
                  <a:lnTo>
                    <a:pt x="1099182" y="216446"/>
                  </a:lnTo>
                  <a:lnTo>
                    <a:pt x="1085646" y="220958"/>
                  </a:lnTo>
                  <a:lnTo>
                    <a:pt x="1082476" y="216081"/>
                  </a:lnTo>
                  <a:lnTo>
                    <a:pt x="1072842" y="214495"/>
                  </a:lnTo>
                  <a:lnTo>
                    <a:pt x="1069062" y="216812"/>
                  </a:lnTo>
                  <a:lnTo>
                    <a:pt x="1074062" y="220592"/>
                  </a:lnTo>
                  <a:lnTo>
                    <a:pt x="1069794" y="225348"/>
                  </a:lnTo>
                  <a:lnTo>
                    <a:pt x="1065038" y="232909"/>
                  </a:lnTo>
                  <a:lnTo>
                    <a:pt x="1051868" y="232177"/>
                  </a:lnTo>
                  <a:lnTo>
                    <a:pt x="1051868" y="216324"/>
                  </a:lnTo>
                  <a:lnTo>
                    <a:pt x="1063087" y="205959"/>
                  </a:lnTo>
                  <a:lnTo>
                    <a:pt x="1063087" y="205959"/>
                  </a:lnTo>
                  <a:lnTo>
                    <a:pt x="1089792" y="205959"/>
                  </a:lnTo>
                  <a:lnTo>
                    <a:pt x="1107840" y="209008"/>
                  </a:lnTo>
                  <a:lnTo>
                    <a:pt x="1118571" y="207789"/>
                  </a:lnTo>
                  <a:lnTo>
                    <a:pt x="1135032" y="198765"/>
                  </a:lnTo>
                  <a:lnTo>
                    <a:pt x="1115156" y="192546"/>
                  </a:lnTo>
                  <a:lnTo>
                    <a:pt x="1104181" y="198399"/>
                  </a:lnTo>
                  <a:lnTo>
                    <a:pt x="1091865" y="199740"/>
                  </a:lnTo>
                  <a:lnTo>
                    <a:pt x="1071989" y="191083"/>
                  </a:lnTo>
                  <a:lnTo>
                    <a:pt x="1061258" y="192180"/>
                  </a:lnTo>
                  <a:lnTo>
                    <a:pt x="1059795" y="197789"/>
                  </a:lnTo>
                  <a:lnTo>
                    <a:pt x="1039064" y="198521"/>
                  </a:lnTo>
                  <a:lnTo>
                    <a:pt x="1039064" y="187668"/>
                  </a:lnTo>
                  <a:lnTo>
                    <a:pt x="1047722" y="186937"/>
                  </a:lnTo>
                  <a:lnTo>
                    <a:pt x="1056258" y="182547"/>
                  </a:lnTo>
                  <a:lnTo>
                    <a:pt x="1082476" y="181937"/>
                  </a:lnTo>
                  <a:lnTo>
                    <a:pt x="1090036" y="183522"/>
                  </a:lnTo>
                  <a:lnTo>
                    <a:pt x="1094304" y="178644"/>
                  </a:lnTo>
                  <a:lnTo>
                    <a:pt x="1115156" y="183156"/>
                  </a:lnTo>
                  <a:lnTo>
                    <a:pt x="1130277" y="183766"/>
                  </a:lnTo>
                  <a:lnTo>
                    <a:pt x="1139179" y="181571"/>
                  </a:lnTo>
                  <a:lnTo>
                    <a:pt x="1143568" y="175230"/>
                  </a:lnTo>
                  <a:lnTo>
                    <a:pt x="1159665" y="174620"/>
                  </a:lnTo>
                  <a:lnTo>
                    <a:pt x="1162103" y="172913"/>
                  </a:lnTo>
                  <a:lnTo>
                    <a:pt x="1152470" y="166328"/>
                  </a:lnTo>
                  <a:lnTo>
                    <a:pt x="1161128" y="159744"/>
                  </a:lnTo>
                  <a:lnTo>
                    <a:pt x="1181005" y="16157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1" name="Freihandform: Form 570">
              <a:extLst>
                <a:ext uri="{FF2B5EF4-FFF2-40B4-BE49-F238E27FC236}">
                  <a16:creationId xmlns:a16="http://schemas.microsoft.com/office/drawing/2014/main" id="{AA45C34B-11B1-49EC-9D1E-90B98B4EF15E}"/>
                </a:ext>
              </a:extLst>
            </p:cNvPr>
            <p:cNvSpPr/>
            <p:nvPr/>
          </p:nvSpPr>
          <p:spPr>
            <a:xfrm>
              <a:off x="4043870" y="1283339"/>
              <a:ext cx="7560" cy="24388"/>
            </a:xfrm>
            <a:custGeom>
              <a:avLst/>
              <a:gdLst>
                <a:gd name="connsiteX0" fmla="*/ 4146 w 7560"/>
                <a:gd name="connsiteY0" fmla="*/ 8780 h 24388"/>
                <a:gd name="connsiteX1" fmla="*/ 7560 w 7560"/>
                <a:gd name="connsiteY1" fmla="*/ 1463 h 24388"/>
                <a:gd name="connsiteX2" fmla="*/ 1829 w 7560"/>
                <a:gd name="connsiteY2" fmla="*/ 0 h 24388"/>
                <a:gd name="connsiteX3" fmla="*/ 0 w 7560"/>
                <a:gd name="connsiteY3" fmla="*/ 4634 h 24388"/>
                <a:gd name="connsiteX4" fmla="*/ 1219 w 7560"/>
                <a:gd name="connsiteY4" fmla="*/ 23535 h 24388"/>
                <a:gd name="connsiteX5" fmla="*/ 4146 w 7560"/>
                <a:gd name="connsiteY5" fmla="*/ 24388 h 24388"/>
                <a:gd name="connsiteX6" fmla="*/ 4146 w 7560"/>
                <a:gd name="connsiteY6" fmla="*/ 8780 h 2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60" h="24388">
                  <a:moveTo>
                    <a:pt x="4146" y="8780"/>
                  </a:moveTo>
                  <a:lnTo>
                    <a:pt x="7560" y="1463"/>
                  </a:lnTo>
                  <a:lnTo>
                    <a:pt x="1829" y="0"/>
                  </a:lnTo>
                  <a:lnTo>
                    <a:pt x="0" y="4634"/>
                  </a:lnTo>
                  <a:lnTo>
                    <a:pt x="1219" y="23535"/>
                  </a:lnTo>
                  <a:lnTo>
                    <a:pt x="4146" y="24388"/>
                  </a:lnTo>
                  <a:lnTo>
                    <a:pt x="4146" y="878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2" name="Freihandform: Form 571">
              <a:extLst>
                <a:ext uri="{FF2B5EF4-FFF2-40B4-BE49-F238E27FC236}">
                  <a16:creationId xmlns:a16="http://schemas.microsoft.com/office/drawing/2014/main" id="{1693EC0F-F3D5-487E-814A-B2C65C578CF4}"/>
                </a:ext>
              </a:extLst>
            </p:cNvPr>
            <p:cNvSpPr/>
            <p:nvPr/>
          </p:nvSpPr>
          <p:spPr>
            <a:xfrm>
              <a:off x="3926563" y="1416012"/>
              <a:ext cx="26948" cy="9389"/>
            </a:xfrm>
            <a:custGeom>
              <a:avLst/>
              <a:gdLst>
                <a:gd name="connsiteX0" fmla="*/ 22681 w 26948"/>
                <a:gd name="connsiteY0" fmla="*/ 0 h 9389"/>
                <a:gd name="connsiteX1" fmla="*/ 7804 w 26948"/>
                <a:gd name="connsiteY1" fmla="*/ 1585 h 9389"/>
                <a:gd name="connsiteX2" fmla="*/ 0 w 26948"/>
                <a:gd name="connsiteY2" fmla="*/ 5000 h 9389"/>
                <a:gd name="connsiteX3" fmla="*/ 488 w 26948"/>
                <a:gd name="connsiteY3" fmla="*/ 6341 h 9389"/>
                <a:gd name="connsiteX4" fmla="*/ 9024 w 26948"/>
                <a:gd name="connsiteY4" fmla="*/ 9390 h 9389"/>
                <a:gd name="connsiteX5" fmla="*/ 23657 w 26948"/>
                <a:gd name="connsiteY5" fmla="*/ 9390 h 9389"/>
                <a:gd name="connsiteX6" fmla="*/ 26949 w 26948"/>
                <a:gd name="connsiteY6" fmla="*/ 6951 h 9389"/>
                <a:gd name="connsiteX7" fmla="*/ 19389 w 26948"/>
                <a:gd name="connsiteY7" fmla="*/ 4268 h 9389"/>
                <a:gd name="connsiteX8" fmla="*/ 25120 w 26948"/>
                <a:gd name="connsiteY8" fmla="*/ 854 h 9389"/>
                <a:gd name="connsiteX9" fmla="*/ 22681 w 26948"/>
                <a:gd name="connsiteY9" fmla="*/ 0 h 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948" h="9389">
                  <a:moveTo>
                    <a:pt x="22681" y="0"/>
                  </a:moveTo>
                  <a:lnTo>
                    <a:pt x="7804" y="1585"/>
                  </a:lnTo>
                  <a:lnTo>
                    <a:pt x="0" y="5000"/>
                  </a:lnTo>
                  <a:lnTo>
                    <a:pt x="488" y="6341"/>
                  </a:lnTo>
                  <a:lnTo>
                    <a:pt x="9024" y="9390"/>
                  </a:lnTo>
                  <a:lnTo>
                    <a:pt x="23657" y="9390"/>
                  </a:lnTo>
                  <a:lnTo>
                    <a:pt x="26949" y="6951"/>
                  </a:lnTo>
                  <a:lnTo>
                    <a:pt x="19389" y="4268"/>
                  </a:lnTo>
                  <a:lnTo>
                    <a:pt x="25120" y="854"/>
                  </a:lnTo>
                  <a:lnTo>
                    <a:pt x="2268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3" name="Freihandform: Form 572">
              <a:extLst>
                <a:ext uri="{FF2B5EF4-FFF2-40B4-BE49-F238E27FC236}">
                  <a16:creationId xmlns:a16="http://schemas.microsoft.com/office/drawing/2014/main" id="{AB2D664A-54CC-4DF6-ACFD-E8912D060A0F}"/>
                </a:ext>
              </a:extLst>
            </p:cNvPr>
            <p:cNvSpPr/>
            <p:nvPr/>
          </p:nvSpPr>
          <p:spPr>
            <a:xfrm>
              <a:off x="4059357" y="1196639"/>
              <a:ext cx="5121" cy="4877"/>
            </a:xfrm>
            <a:custGeom>
              <a:avLst/>
              <a:gdLst>
                <a:gd name="connsiteX0" fmla="*/ 2195 w 5121"/>
                <a:gd name="connsiteY0" fmla="*/ 244 h 4877"/>
                <a:gd name="connsiteX1" fmla="*/ 0 w 5121"/>
                <a:gd name="connsiteY1" fmla="*/ 4878 h 4877"/>
                <a:gd name="connsiteX2" fmla="*/ 4634 w 5121"/>
                <a:gd name="connsiteY2" fmla="*/ 2439 h 4877"/>
                <a:gd name="connsiteX3" fmla="*/ 5122 w 5121"/>
                <a:gd name="connsiteY3" fmla="*/ 0 h 4877"/>
                <a:gd name="connsiteX4" fmla="*/ 2195 w 5121"/>
                <a:gd name="connsiteY4" fmla="*/ 244 h 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1" h="4877">
                  <a:moveTo>
                    <a:pt x="2195" y="244"/>
                  </a:moveTo>
                  <a:lnTo>
                    <a:pt x="0" y="4878"/>
                  </a:lnTo>
                  <a:lnTo>
                    <a:pt x="4634" y="2439"/>
                  </a:lnTo>
                  <a:lnTo>
                    <a:pt x="5122" y="0"/>
                  </a:lnTo>
                  <a:lnTo>
                    <a:pt x="2195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4" name="Freihandform: Form 573">
              <a:extLst>
                <a:ext uri="{FF2B5EF4-FFF2-40B4-BE49-F238E27FC236}">
                  <a16:creationId xmlns:a16="http://schemas.microsoft.com/office/drawing/2014/main" id="{4DDCEB6A-306D-4BFD-B662-9DE89F82A98E}"/>
                </a:ext>
              </a:extLst>
            </p:cNvPr>
            <p:cNvSpPr/>
            <p:nvPr/>
          </p:nvSpPr>
          <p:spPr>
            <a:xfrm>
              <a:off x="3996923" y="1373576"/>
              <a:ext cx="18047" cy="8292"/>
            </a:xfrm>
            <a:custGeom>
              <a:avLst/>
              <a:gdLst>
                <a:gd name="connsiteX0" fmla="*/ 0 w 18047"/>
                <a:gd name="connsiteY0" fmla="*/ 2683 h 8292"/>
                <a:gd name="connsiteX1" fmla="*/ 0 w 18047"/>
                <a:gd name="connsiteY1" fmla="*/ 3292 h 8292"/>
                <a:gd name="connsiteX2" fmla="*/ 9511 w 18047"/>
                <a:gd name="connsiteY2" fmla="*/ 8292 h 8292"/>
                <a:gd name="connsiteX3" fmla="*/ 18047 w 18047"/>
                <a:gd name="connsiteY3" fmla="*/ 5975 h 8292"/>
                <a:gd name="connsiteX4" fmla="*/ 15121 w 18047"/>
                <a:gd name="connsiteY4" fmla="*/ 2927 h 8292"/>
                <a:gd name="connsiteX5" fmla="*/ 9146 w 18047"/>
                <a:gd name="connsiteY5" fmla="*/ 0 h 8292"/>
                <a:gd name="connsiteX6" fmla="*/ 0 w 18047"/>
                <a:gd name="connsiteY6" fmla="*/ 2683 h 8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47" h="8292">
                  <a:moveTo>
                    <a:pt x="0" y="2683"/>
                  </a:moveTo>
                  <a:lnTo>
                    <a:pt x="0" y="3292"/>
                  </a:lnTo>
                  <a:lnTo>
                    <a:pt x="9511" y="8292"/>
                  </a:lnTo>
                  <a:lnTo>
                    <a:pt x="18047" y="5975"/>
                  </a:lnTo>
                  <a:lnTo>
                    <a:pt x="15121" y="2927"/>
                  </a:lnTo>
                  <a:lnTo>
                    <a:pt x="9146" y="0"/>
                  </a:lnTo>
                  <a:lnTo>
                    <a:pt x="0" y="268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5" name="Freihandform: Form 574">
              <a:extLst>
                <a:ext uri="{FF2B5EF4-FFF2-40B4-BE49-F238E27FC236}">
                  <a16:creationId xmlns:a16="http://schemas.microsoft.com/office/drawing/2014/main" id="{EEE404C8-D4E1-4080-918C-8A59FCE6A19D}"/>
                </a:ext>
              </a:extLst>
            </p:cNvPr>
            <p:cNvSpPr/>
            <p:nvPr/>
          </p:nvSpPr>
          <p:spPr>
            <a:xfrm>
              <a:off x="4020214" y="1346871"/>
              <a:ext cx="9389" cy="8535"/>
            </a:xfrm>
            <a:custGeom>
              <a:avLst/>
              <a:gdLst>
                <a:gd name="connsiteX0" fmla="*/ 9390 w 9389"/>
                <a:gd name="connsiteY0" fmla="*/ 7560 h 8535"/>
                <a:gd name="connsiteX1" fmla="*/ 9390 w 9389"/>
                <a:gd name="connsiteY1" fmla="*/ 4268 h 8535"/>
                <a:gd name="connsiteX2" fmla="*/ 3292 w 9389"/>
                <a:gd name="connsiteY2" fmla="*/ 0 h 8535"/>
                <a:gd name="connsiteX3" fmla="*/ 0 w 9389"/>
                <a:gd name="connsiteY3" fmla="*/ 3536 h 8535"/>
                <a:gd name="connsiteX4" fmla="*/ 1707 w 9389"/>
                <a:gd name="connsiteY4" fmla="*/ 6585 h 8535"/>
                <a:gd name="connsiteX5" fmla="*/ 5975 w 9389"/>
                <a:gd name="connsiteY5" fmla="*/ 8536 h 8535"/>
                <a:gd name="connsiteX6" fmla="*/ 9390 w 9389"/>
                <a:gd name="connsiteY6" fmla="*/ 7560 h 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89" h="8535">
                  <a:moveTo>
                    <a:pt x="9390" y="7560"/>
                  </a:moveTo>
                  <a:lnTo>
                    <a:pt x="9390" y="4268"/>
                  </a:lnTo>
                  <a:lnTo>
                    <a:pt x="3292" y="0"/>
                  </a:lnTo>
                  <a:lnTo>
                    <a:pt x="0" y="3536"/>
                  </a:lnTo>
                  <a:lnTo>
                    <a:pt x="1707" y="6585"/>
                  </a:lnTo>
                  <a:lnTo>
                    <a:pt x="5975" y="8536"/>
                  </a:lnTo>
                  <a:lnTo>
                    <a:pt x="9390" y="756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6" name="Freihandform: Form 575">
              <a:extLst>
                <a:ext uri="{FF2B5EF4-FFF2-40B4-BE49-F238E27FC236}">
                  <a16:creationId xmlns:a16="http://schemas.microsoft.com/office/drawing/2014/main" id="{5821774B-404F-4723-90DE-1786DF9780CF}"/>
                </a:ext>
              </a:extLst>
            </p:cNvPr>
            <p:cNvSpPr/>
            <p:nvPr/>
          </p:nvSpPr>
          <p:spPr>
            <a:xfrm>
              <a:off x="4015214" y="1364309"/>
              <a:ext cx="22315" cy="12316"/>
            </a:xfrm>
            <a:custGeom>
              <a:avLst/>
              <a:gdLst>
                <a:gd name="connsiteX0" fmla="*/ 12560 w 22315"/>
                <a:gd name="connsiteY0" fmla="*/ 2317 h 12316"/>
                <a:gd name="connsiteX1" fmla="*/ 0 w 22315"/>
                <a:gd name="connsiteY1" fmla="*/ 854 h 12316"/>
                <a:gd name="connsiteX2" fmla="*/ 11584 w 22315"/>
                <a:gd name="connsiteY2" fmla="*/ 12316 h 12316"/>
                <a:gd name="connsiteX3" fmla="*/ 17925 w 22315"/>
                <a:gd name="connsiteY3" fmla="*/ 11097 h 12316"/>
                <a:gd name="connsiteX4" fmla="*/ 22315 w 22315"/>
                <a:gd name="connsiteY4" fmla="*/ 2561 h 12316"/>
                <a:gd name="connsiteX5" fmla="*/ 19023 w 22315"/>
                <a:gd name="connsiteY5" fmla="*/ 0 h 12316"/>
                <a:gd name="connsiteX6" fmla="*/ 12560 w 22315"/>
                <a:gd name="connsiteY6" fmla="*/ 2317 h 1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15" h="12316">
                  <a:moveTo>
                    <a:pt x="12560" y="2317"/>
                  </a:moveTo>
                  <a:lnTo>
                    <a:pt x="0" y="854"/>
                  </a:lnTo>
                  <a:lnTo>
                    <a:pt x="11584" y="12316"/>
                  </a:lnTo>
                  <a:lnTo>
                    <a:pt x="17925" y="11097"/>
                  </a:lnTo>
                  <a:lnTo>
                    <a:pt x="22315" y="2561"/>
                  </a:lnTo>
                  <a:lnTo>
                    <a:pt x="19023" y="0"/>
                  </a:lnTo>
                  <a:lnTo>
                    <a:pt x="12560" y="23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7" name="Freihandform: Form 576">
              <a:extLst>
                <a:ext uri="{FF2B5EF4-FFF2-40B4-BE49-F238E27FC236}">
                  <a16:creationId xmlns:a16="http://schemas.microsoft.com/office/drawing/2014/main" id="{114A2E68-3B13-4715-A7F6-0AB0F62FD295}"/>
                </a:ext>
              </a:extLst>
            </p:cNvPr>
            <p:cNvSpPr/>
            <p:nvPr/>
          </p:nvSpPr>
          <p:spPr>
            <a:xfrm>
              <a:off x="4067161" y="1182250"/>
              <a:ext cx="3658" cy="1341"/>
            </a:xfrm>
            <a:custGeom>
              <a:avLst/>
              <a:gdLst>
                <a:gd name="connsiteX0" fmla="*/ 3658 w 3658"/>
                <a:gd name="connsiteY0" fmla="*/ 0 h 1341"/>
                <a:gd name="connsiteX1" fmla="*/ 244 w 3658"/>
                <a:gd name="connsiteY1" fmla="*/ 0 h 1341"/>
                <a:gd name="connsiteX2" fmla="*/ 0 w 3658"/>
                <a:gd name="connsiteY2" fmla="*/ 1341 h 1341"/>
                <a:gd name="connsiteX3" fmla="*/ 3049 w 3658"/>
                <a:gd name="connsiteY3" fmla="*/ 1341 h 1341"/>
                <a:gd name="connsiteX4" fmla="*/ 3658 w 3658"/>
                <a:gd name="connsiteY4" fmla="*/ 0 h 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8" h="1341">
                  <a:moveTo>
                    <a:pt x="3658" y="0"/>
                  </a:moveTo>
                  <a:lnTo>
                    <a:pt x="244" y="0"/>
                  </a:lnTo>
                  <a:lnTo>
                    <a:pt x="0" y="1341"/>
                  </a:lnTo>
                  <a:lnTo>
                    <a:pt x="3049" y="1341"/>
                  </a:lnTo>
                  <a:lnTo>
                    <a:pt x="365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8" name="Freihandform: Form 577">
              <a:extLst>
                <a:ext uri="{FF2B5EF4-FFF2-40B4-BE49-F238E27FC236}">
                  <a16:creationId xmlns:a16="http://schemas.microsoft.com/office/drawing/2014/main" id="{1172B395-DA7F-4C63-80A3-CAD83D0E862D}"/>
                </a:ext>
              </a:extLst>
            </p:cNvPr>
            <p:cNvSpPr/>
            <p:nvPr/>
          </p:nvSpPr>
          <p:spPr>
            <a:xfrm>
              <a:off x="4063259" y="1238221"/>
              <a:ext cx="5487" cy="4755"/>
            </a:xfrm>
            <a:custGeom>
              <a:avLst/>
              <a:gdLst>
                <a:gd name="connsiteX0" fmla="*/ 5488 w 5487"/>
                <a:gd name="connsiteY0" fmla="*/ 122 h 4755"/>
                <a:gd name="connsiteX1" fmla="*/ 4634 w 5487"/>
                <a:gd name="connsiteY1" fmla="*/ 0 h 4755"/>
                <a:gd name="connsiteX2" fmla="*/ 0 w 5487"/>
                <a:gd name="connsiteY2" fmla="*/ 4390 h 4755"/>
                <a:gd name="connsiteX3" fmla="*/ 1707 w 5487"/>
                <a:gd name="connsiteY3" fmla="*/ 4756 h 4755"/>
                <a:gd name="connsiteX4" fmla="*/ 5488 w 5487"/>
                <a:gd name="connsiteY4" fmla="*/ 122 h 4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7" h="4755">
                  <a:moveTo>
                    <a:pt x="5488" y="122"/>
                  </a:moveTo>
                  <a:lnTo>
                    <a:pt x="4634" y="0"/>
                  </a:lnTo>
                  <a:lnTo>
                    <a:pt x="0" y="4390"/>
                  </a:lnTo>
                  <a:lnTo>
                    <a:pt x="1707" y="4756"/>
                  </a:lnTo>
                  <a:lnTo>
                    <a:pt x="5488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79" name="Freihandform: Form 578">
              <a:extLst>
                <a:ext uri="{FF2B5EF4-FFF2-40B4-BE49-F238E27FC236}">
                  <a16:creationId xmlns:a16="http://schemas.microsoft.com/office/drawing/2014/main" id="{DDB06606-71D7-488A-9E52-4C8573F0E048}"/>
                </a:ext>
              </a:extLst>
            </p:cNvPr>
            <p:cNvSpPr/>
            <p:nvPr/>
          </p:nvSpPr>
          <p:spPr>
            <a:xfrm>
              <a:off x="3136137" y="4697095"/>
              <a:ext cx="2682" cy="975"/>
            </a:xfrm>
            <a:custGeom>
              <a:avLst/>
              <a:gdLst>
                <a:gd name="connsiteX0" fmla="*/ 0 w 2682"/>
                <a:gd name="connsiteY0" fmla="*/ 976 h 975"/>
                <a:gd name="connsiteX1" fmla="*/ 2683 w 2682"/>
                <a:gd name="connsiteY1" fmla="*/ 488 h 975"/>
                <a:gd name="connsiteX2" fmla="*/ 1097 w 2682"/>
                <a:gd name="connsiteY2" fmla="*/ 0 h 975"/>
                <a:gd name="connsiteX3" fmla="*/ 0 w 2682"/>
                <a:gd name="connsiteY3" fmla="*/ 976 h 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2" h="975">
                  <a:moveTo>
                    <a:pt x="0" y="976"/>
                  </a:moveTo>
                  <a:lnTo>
                    <a:pt x="2683" y="488"/>
                  </a:lnTo>
                  <a:lnTo>
                    <a:pt x="1097" y="0"/>
                  </a:lnTo>
                  <a:lnTo>
                    <a:pt x="0" y="97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0" name="Freihandform: Form 579">
              <a:extLst>
                <a:ext uri="{FF2B5EF4-FFF2-40B4-BE49-F238E27FC236}">
                  <a16:creationId xmlns:a16="http://schemas.microsoft.com/office/drawing/2014/main" id="{49797D4B-F6F7-4A02-A469-A3D93999952B}"/>
                </a:ext>
              </a:extLst>
            </p:cNvPr>
            <p:cNvSpPr/>
            <p:nvPr/>
          </p:nvSpPr>
          <p:spPr>
            <a:xfrm>
              <a:off x="1768074" y="2097300"/>
              <a:ext cx="20852" cy="40118"/>
            </a:xfrm>
            <a:custGeom>
              <a:avLst/>
              <a:gdLst>
                <a:gd name="connsiteX0" fmla="*/ 20852 w 20852"/>
                <a:gd name="connsiteY0" fmla="*/ 39875 h 40118"/>
                <a:gd name="connsiteX1" fmla="*/ 12804 w 20852"/>
                <a:gd name="connsiteY1" fmla="*/ 15852 h 40118"/>
                <a:gd name="connsiteX2" fmla="*/ 1341 w 20852"/>
                <a:gd name="connsiteY2" fmla="*/ 0 h 40118"/>
                <a:gd name="connsiteX3" fmla="*/ 0 w 20852"/>
                <a:gd name="connsiteY3" fmla="*/ 0 h 40118"/>
                <a:gd name="connsiteX4" fmla="*/ 1585 w 20852"/>
                <a:gd name="connsiteY4" fmla="*/ 18779 h 40118"/>
                <a:gd name="connsiteX5" fmla="*/ 20486 w 20852"/>
                <a:gd name="connsiteY5" fmla="*/ 40119 h 40118"/>
                <a:gd name="connsiteX6" fmla="*/ 20852 w 20852"/>
                <a:gd name="connsiteY6" fmla="*/ 39875 h 4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852" h="40118">
                  <a:moveTo>
                    <a:pt x="20852" y="39875"/>
                  </a:moveTo>
                  <a:lnTo>
                    <a:pt x="12804" y="15852"/>
                  </a:lnTo>
                  <a:lnTo>
                    <a:pt x="1341" y="0"/>
                  </a:lnTo>
                  <a:lnTo>
                    <a:pt x="0" y="0"/>
                  </a:lnTo>
                  <a:lnTo>
                    <a:pt x="1585" y="18779"/>
                  </a:lnTo>
                  <a:lnTo>
                    <a:pt x="20486" y="40119"/>
                  </a:lnTo>
                  <a:lnTo>
                    <a:pt x="20852" y="398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1" name="Freihandform: Form 580">
              <a:extLst>
                <a:ext uri="{FF2B5EF4-FFF2-40B4-BE49-F238E27FC236}">
                  <a16:creationId xmlns:a16="http://schemas.microsoft.com/office/drawing/2014/main" id="{0DA73019-29F2-4768-B7FF-966005AE53D8}"/>
                </a:ext>
              </a:extLst>
            </p:cNvPr>
            <p:cNvSpPr/>
            <p:nvPr/>
          </p:nvSpPr>
          <p:spPr>
            <a:xfrm>
              <a:off x="1616257" y="1478812"/>
              <a:ext cx="1694622" cy="1047112"/>
            </a:xfrm>
            <a:custGeom>
              <a:avLst/>
              <a:gdLst>
                <a:gd name="connsiteX0" fmla="*/ 255955 w 1694622"/>
                <a:gd name="connsiteY0" fmla="*/ 740308 h 1047112"/>
                <a:gd name="connsiteX1" fmla="*/ 260345 w 1694622"/>
                <a:gd name="connsiteY1" fmla="*/ 749209 h 1047112"/>
                <a:gd name="connsiteX2" fmla="*/ 259004 w 1694622"/>
                <a:gd name="connsiteY2" fmla="*/ 765062 h 1047112"/>
                <a:gd name="connsiteX3" fmla="*/ 261565 w 1694622"/>
                <a:gd name="connsiteY3" fmla="*/ 779451 h 1047112"/>
                <a:gd name="connsiteX4" fmla="*/ 270345 w 1694622"/>
                <a:gd name="connsiteY4" fmla="*/ 784451 h 1047112"/>
                <a:gd name="connsiteX5" fmla="*/ 289367 w 1694622"/>
                <a:gd name="connsiteY5" fmla="*/ 788840 h 1047112"/>
                <a:gd name="connsiteX6" fmla="*/ 296318 w 1694622"/>
                <a:gd name="connsiteY6" fmla="*/ 799937 h 1047112"/>
                <a:gd name="connsiteX7" fmla="*/ 309854 w 1694622"/>
                <a:gd name="connsiteY7" fmla="*/ 799937 h 1047112"/>
                <a:gd name="connsiteX8" fmla="*/ 319365 w 1694622"/>
                <a:gd name="connsiteY8" fmla="*/ 804693 h 1047112"/>
                <a:gd name="connsiteX9" fmla="*/ 326316 w 1694622"/>
                <a:gd name="connsiteY9" fmla="*/ 816887 h 1047112"/>
                <a:gd name="connsiteX10" fmla="*/ 337900 w 1694622"/>
                <a:gd name="connsiteY10" fmla="*/ 819814 h 1047112"/>
                <a:gd name="connsiteX11" fmla="*/ 341924 w 1694622"/>
                <a:gd name="connsiteY11" fmla="*/ 830788 h 1047112"/>
                <a:gd name="connsiteX12" fmla="*/ 348631 w 1694622"/>
                <a:gd name="connsiteY12" fmla="*/ 830788 h 1047112"/>
                <a:gd name="connsiteX13" fmla="*/ 360825 w 1694622"/>
                <a:gd name="connsiteY13" fmla="*/ 846885 h 1047112"/>
                <a:gd name="connsiteX14" fmla="*/ 366678 w 1694622"/>
                <a:gd name="connsiteY14" fmla="*/ 850177 h 1047112"/>
                <a:gd name="connsiteX15" fmla="*/ 923708 w 1694622"/>
                <a:gd name="connsiteY15" fmla="*/ 850177 h 1047112"/>
                <a:gd name="connsiteX16" fmla="*/ 925171 w 1694622"/>
                <a:gd name="connsiteY16" fmla="*/ 851153 h 1047112"/>
                <a:gd name="connsiteX17" fmla="*/ 941023 w 1694622"/>
                <a:gd name="connsiteY17" fmla="*/ 861762 h 1047112"/>
                <a:gd name="connsiteX18" fmla="*/ 962729 w 1694622"/>
                <a:gd name="connsiteY18" fmla="*/ 865786 h 1047112"/>
                <a:gd name="connsiteX19" fmla="*/ 963461 w 1694622"/>
                <a:gd name="connsiteY19" fmla="*/ 865786 h 1047112"/>
                <a:gd name="connsiteX20" fmla="*/ 963461 w 1694622"/>
                <a:gd name="connsiteY20" fmla="*/ 865786 h 1047112"/>
                <a:gd name="connsiteX21" fmla="*/ 965412 w 1694622"/>
                <a:gd name="connsiteY21" fmla="*/ 866639 h 1047112"/>
                <a:gd name="connsiteX22" fmla="*/ 980776 w 1694622"/>
                <a:gd name="connsiteY22" fmla="*/ 873712 h 1047112"/>
                <a:gd name="connsiteX23" fmla="*/ 1003580 w 1694622"/>
                <a:gd name="connsiteY23" fmla="*/ 872371 h 1047112"/>
                <a:gd name="connsiteX24" fmla="*/ 1004555 w 1694622"/>
                <a:gd name="connsiteY24" fmla="*/ 872371 h 1047112"/>
                <a:gd name="connsiteX25" fmla="*/ 1005531 w 1694622"/>
                <a:gd name="connsiteY25" fmla="*/ 872371 h 1047112"/>
                <a:gd name="connsiteX26" fmla="*/ 1017725 w 1694622"/>
                <a:gd name="connsiteY26" fmla="*/ 875663 h 1047112"/>
                <a:gd name="connsiteX27" fmla="*/ 1020042 w 1694622"/>
                <a:gd name="connsiteY27" fmla="*/ 876395 h 1047112"/>
                <a:gd name="connsiteX28" fmla="*/ 1029309 w 1694622"/>
                <a:gd name="connsiteY28" fmla="*/ 875663 h 1047112"/>
                <a:gd name="connsiteX29" fmla="*/ 1056990 w 1694622"/>
                <a:gd name="connsiteY29" fmla="*/ 873590 h 1047112"/>
                <a:gd name="connsiteX30" fmla="*/ 1059551 w 1694622"/>
                <a:gd name="connsiteY30" fmla="*/ 873590 h 1047112"/>
                <a:gd name="connsiteX31" fmla="*/ 1061014 w 1694622"/>
                <a:gd name="connsiteY31" fmla="*/ 874443 h 1047112"/>
                <a:gd name="connsiteX32" fmla="*/ 1084305 w 1694622"/>
                <a:gd name="connsiteY32" fmla="*/ 886638 h 1047112"/>
                <a:gd name="connsiteX33" fmla="*/ 1122351 w 1694622"/>
                <a:gd name="connsiteY33" fmla="*/ 906514 h 1047112"/>
                <a:gd name="connsiteX34" fmla="*/ 1124058 w 1694622"/>
                <a:gd name="connsiteY34" fmla="*/ 907490 h 1047112"/>
                <a:gd name="connsiteX35" fmla="*/ 1124911 w 1694622"/>
                <a:gd name="connsiteY35" fmla="*/ 909197 h 1047112"/>
                <a:gd name="connsiteX36" fmla="*/ 1132106 w 1694622"/>
                <a:gd name="connsiteY36" fmla="*/ 923586 h 1047112"/>
                <a:gd name="connsiteX37" fmla="*/ 1138569 w 1694622"/>
                <a:gd name="connsiteY37" fmla="*/ 935780 h 1047112"/>
                <a:gd name="connsiteX38" fmla="*/ 1157592 w 1694622"/>
                <a:gd name="connsiteY38" fmla="*/ 955535 h 1047112"/>
                <a:gd name="connsiteX39" fmla="*/ 1174420 w 1694622"/>
                <a:gd name="connsiteY39" fmla="*/ 973094 h 1047112"/>
                <a:gd name="connsiteX40" fmla="*/ 1176005 w 1694622"/>
                <a:gd name="connsiteY40" fmla="*/ 974680 h 1047112"/>
                <a:gd name="connsiteX41" fmla="*/ 1176005 w 1694622"/>
                <a:gd name="connsiteY41" fmla="*/ 976996 h 1047112"/>
                <a:gd name="connsiteX42" fmla="*/ 1177346 w 1694622"/>
                <a:gd name="connsiteY42" fmla="*/ 1001385 h 1047112"/>
                <a:gd name="connsiteX43" fmla="*/ 1177346 w 1694622"/>
                <a:gd name="connsiteY43" fmla="*/ 1002604 h 1047112"/>
                <a:gd name="connsiteX44" fmla="*/ 1177346 w 1694622"/>
                <a:gd name="connsiteY44" fmla="*/ 1003702 h 1047112"/>
                <a:gd name="connsiteX45" fmla="*/ 1173078 w 1694622"/>
                <a:gd name="connsiteY45" fmla="*/ 1015896 h 1047112"/>
                <a:gd name="connsiteX46" fmla="*/ 1167103 w 1694622"/>
                <a:gd name="connsiteY46" fmla="*/ 1034065 h 1047112"/>
                <a:gd name="connsiteX47" fmla="*/ 1170396 w 1694622"/>
                <a:gd name="connsiteY47" fmla="*/ 1043455 h 1047112"/>
                <a:gd name="connsiteX48" fmla="*/ 1171737 w 1694622"/>
                <a:gd name="connsiteY48" fmla="*/ 1047113 h 1047112"/>
                <a:gd name="connsiteX49" fmla="*/ 1229415 w 1694622"/>
                <a:gd name="connsiteY49" fmla="*/ 1020530 h 1047112"/>
                <a:gd name="connsiteX50" fmla="*/ 1233683 w 1694622"/>
                <a:gd name="connsiteY50" fmla="*/ 1010164 h 1047112"/>
                <a:gd name="connsiteX51" fmla="*/ 1235512 w 1694622"/>
                <a:gd name="connsiteY51" fmla="*/ 1005896 h 1047112"/>
                <a:gd name="connsiteX52" fmla="*/ 1236976 w 1694622"/>
                <a:gd name="connsiteY52" fmla="*/ 1002360 h 1047112"/>
                <a:gd name="connsiteX53" fmla="*/ 1240634 w 1694622"/>
                <a:gd name="connsiteY53" fmla="*/ 1002360 h 1047112"/>
                <a:gd name="connsiteX54" fmla="*/ 1283557 w 1694622"/>
                <a:gd name="connsiteY54" fmla="*/ 999068 h 1047112"/>
                <a:gd name="connsiteX55" fmla="*/ 1307946 w 1694622"/>
                <a:gd name="connsiteY55" fmla="*/ 967119 h 1047112"/>
                <a:gd name="connsiteX56" fmla="*/ 1307946 w 1694622"/>
                <a:gd name="connsiteY56" fmla="*/ 967119 h 1047112"/>
                <a:gd name="connsiteX57" fmla="*/ 1307946 w 1694622"/>
                <a:gd name="connsiteY57" fmla="*/ 967119 h 1047112"/>
                <a:gd name="connsiteX58" fmla="*/ 1318798 w 1694622"/>
                <a:gd name="connsiteY58" fmla="*/ 957730 h 1047112"/>
                <a:gd name="connsiteX59" fmla="*/ 1320506 w 1694622"/>
                <a:gd name="connsiteY59" fmla="*/ 956266 h 1047112"/>
                <a:gd name="connsiteX60" fmla="*/ 1340016 w 1694622"/>
                <a:gd name="connsiteY60" fmla="*/ 956266 h 1047112"/>
                <a:gd name="connsiteX61" fmla="*/ 1346479 w 1694622"/>
                <a:gd name="connsiteY61" fmla="*/ 956266 h 1047112"/>
                <a:gd name="connsiteX62" fmla="*/ 1350747 w 1694622"/>
                <a:gd name="connsiteY62" fmla="*/ 955413 h 1047112"/>
                <a:gd name="connsiteX63" fmla="*/ 1351723 w 1694622"/>
                <a:gd name="connsiteY63" fmla="*/ 955413 h 1047112"/>
                <a:gd name="connsiteX64" fmla="*/ 1383184 w 1694622"/>
                <a:gd name="connsiteY64" fmla="*/ 954437 h 1047112"/>
                <a:gd name="connsiteX65" fmla="*/ 1392573 w 1694622"/>
                <a:gd name="connsiteY65" fmla="*/ 938097 h 1047112"/>
                <a:gd name="connsiteX66" fmla="*/ 1410377 w 1694622"/>
                <a:gd name="connsiteY66" fmla="*/ 904563 h 1047112"/>
                <a:gd name="connsiteX67" fmla="*/ 1403914 w 1694622"/>
                <a:gd name="connsiteY67" fmla="*/ 907246 h 1047112"/>
                <a:gd name="connsiteX68" fmla="*/ 1392817 w 1694622"/>
                <a:gd name="connsiteY68" fmla="*/ 920294 h 1047112"/>
                <a:gd name="connsiteX69" fmla="*/ 1385013 w 1694622"/>
                <a:gd name="connsiteY69" fmla="*/ 917123 h 1047112"/>
                <a:gd name="connsiteX70" fmla="*/ 1389281 w 1694622"/>
                <a:gd name="connsiteY70" fmla="*/ 895783 h 1047112"/>
                <a:gd name="connsiteX71" fmla="*/ 1405743 w 1694622"/>
                <a:gd name="connsiteY71" fmla="*/ 883589 h 1047112"/>
                <a:gd name="connsiteX72" fmla="*/ 1409645 w 1694622"/>
                <a:gd name="connsiteY72" fmla="*/ 876882 h 1047112"/>
                <a:gd name="connsiteX73" fmla="*/ 1422693 w 1694622"/>
                <a:gd name="connsiteY73" fmla="*/ 864688 h 1047112"/>
                <a:gd name="connsiteX74" fmla="*/ 1434887 w 1694622"/>
                <a:gd name="connsiteY74" fmla="*/ 844202 h 1047112"/>
                <a:gd name="connsiteX75" fmla="*/ 1460861 w 1694622"/>
                <a:gd name="connsiteY75" fmla="*/ 839568 h 1047112"/>
                <a:gd name="connsiteX76" fmla="*/ 1461714 w 1694622"/>
                <a:gd name="connsiteY76" fmla="*/ 830788 h 1047112"/>
                <a:gd name="connsiteX77" fmla="*/ 1470860 w 1694622"/>
                <a:gd name="connsiteY77" fmla="*/ 824691 h 1047112"/>
                <a:gd name="connsiteX78" fmla="*/ 1483664 w 1694622"/>
                <a:gd name="connsiteY78" fmla="*/ 809936 h 1047112"/>
                <a:gd name="connsiteX79" fmla="*/ 1498662 w 1694622"/>
                <a:gd name="connsiteY79" fmla="*/ 811034 h 1047112"/>
                <a:gd name="connsiteX80" fmla="*/ 1501345 w 1694622"/>
                <a:gd name="connsiteY80" fmla="*/ 813717 h 1047112"/>
                <a:gd name="connsiteX81" fmla="*/ 1530489 w 1694622"/>
                <a:gd name="connsiteY81" fmla="*/ 811034 h 1047112"/>
                <a:gd name="connsiteX82" fmla="*/ 1547195 w 1694622"/>
                <a:gd name="connsiteY82" fmla="*/ 807010 h 1047112"/>
                <a:gd name="connsiteX83" fmla="*/ 1557682 w 1694622"/>
                <a:gd name="connsiteY83" fmla="*/ 812741 h 1047112"/>
                <a:gd name="connsiteX84" fmla="*/ 1575364 w 1694622"/>
                <a:gd name="connsiteY84" fmla="*/ 809936 h 1047112"/>
                <a:gd name="connsiteX85" fmla="*/ 1587558 w 1694622"/>
                <a:gd name="connsiteY85" fmla="*/ 812863 h 1047112"/>
                <a:gd name="connsiteX86" fmla="*/ 1607556 w 1694622"/>
                <a:gd name="connsiteY86" fmla="*/ 812863 h 1047112"/>
                <a:gd name="connsiteX87" fmla="*/ 1620726 w 1694622"/>
                <a:gd name="connsiteY87" fmla="*/ 805790 h 1047112"/>
                <a:gd name="connsiteX88" fmla="*/ 1634018 w 1694622"/>
                <a:gd name="connsiteY88" fmla="*/ 781402 h 1047112"/>
                <a:gd name="connsiteX89" fmla="*/ 1649260 w 1694622"/>
                <a:gd name="connsiteY89" fmla="*/ 773354 h 1047112"/>
                <a:gd name="connsiteX90" fmla="*/ 1672429 w 1694622"/>
                <a:gd name="connsiteY90" fmla="*/ 768720 h 1047112"/>
                <a:gd name="connsiteX91" fmla="*/ 1688404 w 1694622"/>
                <a:gd name="connsiteY91" fmla="*/ 755550 h 1047112"/>
                <a:gd name="connsiteX92" fmla="*/ 1691696 w 1694622"/>
                <a:gd name="connsiteY92" fmla="*/ 754697 h 1047112"/>
                <a:gd name="connsiteX93" fmla="*/ 1694623 w 1694622"/>
                <a:gd name="connsiteY93" fmla="*/ 747990 h 1047112"/>
                <a:gd name="connsiteX94" fmla="*/ 1687062 w 1694622"/>
                <a:gd name="connsiteY94" fmla="*/ 732747 h 1047112"/>
                <a:gd name="connsiteX95" fmla="*/ 1693769 w 1694622"/>
                <a:gd name="connsiteY95" fmla="*/ 722138 h 1047112"/>
                <a:gd name="connsiteX96" fmla="*/ 1689501 w 1694622"/>
                <a:gd name="connsiteY96" fmla="*/ 705188 h 1047112"/>
                <a:gd name="connsiteX97" fmla="*/ 1674502 w 1694622"/>
                <a:gd name="connsiteY97" fmla="*/ 699335 h 1047112"/>
                <a:gd name="connsiteX98" fmla="*/ 1659503 w 1694622"/>
                <a:gd name="connsiteY98" fmla="*/ 708969 h 1047112"/>
                <a:gd name="connsiteX99" fmla="*/ 1657918 w 1694622"/>
                <a:gd name="connsiteY99" fmla="*/ 699701 h 1047112"/>
                <a:gd name="connsiteX100" fmla="*/ 1661211 w 1694622"/>
                <a:gd name="connsiteY100" fmla="*/ 687507 h 1047112"/>
                <a:gd name="connsiteX101" fmla="*/ 1653040 w 1694622"/>
                <a:gd name="connsiteY101" fmla="*/ 686775 h 1047112"/>
                <a:gd name="connsiteX102" fmla="*/ 1636335 w 1694622"/>
                <a:gd name="connsiteY102" fmla="*/ 696531 h 1047112"/>
                <a:gd name="connsiteX103" fmla="*/ 1634139 w 1694622"/>
                <a:gd name="connsiteY103" fmla="*/ 701896 h 1047112"/>
                <a:gd name="connsiteX104" fmla="*/ 1627799 w 1694622"/>
                <a:gd name="connsiteY104" fmla="*/ 701896 h 1047112"/>
                <a:gd name="connsiteX105" fmla="*/ 1611580 w 1694622"/>
                <a:gd name="connsiteY105" fmla="*/ 715188 h 1047112"/>
                <a:gd name="connsiteX106" fmla="*/ 1599386 w 1694622"/>
                <a:gd name="connsiteY106" fmla="*/ 714090 h 1047112"/>
                <a:gd name="connsiteX107" fmla="*/ 1595484 w 1694622"/>
                <a:gd name="connsiteY107" fmla="*/ 697018 h 1047112"/>
                <a:gd name="connsiteX108" fmla="*/ 1606459 w 1694622"/>
                <a:gd name="connsiteY108" fmla="*/ 699457 h 1047112"/>
                <a:gd name="connsiteX109" fmla="*/ 1618653 w 1694622"/>
                <a:gd name="connsiteY109" fmla="*/ 692263 h 1047112"/>
                <a:gd name="connsiteX110" fmla="*/ 1641700 w 1694622"/>
                <a:gd name="connsiteY110" fmla="*/ 678849 h 1047112"/>
                <a:gd name="connsiteX111" fmla="*/ 1660479 w 1694622"/>
                <a:gd name="connsiteY111" fmla="*/ 672630 h 1047112"/>
                <a:gd name="connsiteX112" fmla="*/ 1661576 w 1694622"/>
                <a:gd name="connsiteY112" fmla="*/ 668240 h 1047112"/>
                <a:gd name="connsiteX113" fmla="*/ 1647065 w 1694622"/>
                <a:gd name="connsiteY113" fmla="*/ 664826 h 1047112"/>
                <a:gd name="connsiteX114" fmla="*/ 1638529 w 1694622"/>
                <a:gd name="connsiteY114" fmla="*/ 658241 h 1047112"/>
                <a:gd name="connsiteX115" fmla="*/ 1624384 w 1694622"/>
                <a:gd name="connsiteY115" fmla="*/ 652876 h 1047112"/>
                <a:gd name="connsiteX116" fmla="*/ 1615604 w 1694622"/>
                <a:gd name="connsiteY116" fmla="*/ 655802 h 1047112"/>
                <a:gd name="connsiteX117" fmla="*/ 1602557 w 1694622"/>
                <a:gd name="connsiteY117" fmla="*/ 647144 h 1047112"/>
                <a:gd name="connsiteX118" fmla="*/ 1601581 w 1694622"/>
                <a:gd name="connsiteY118" fmla="*/ 638121 h 1047112"/>
                <a:gd name="connsiteX119" fmla="*/ 1592679 w 1694622"/>
                <a:gd name="connsiteY119" fmla="*/ 623000 h 1047112"/>
                <a:gd name="connsiteX120" fmla="*/ 1583900 w 1694622"/>
                <a:gd name="connsiteY120" fmla="*/ 619098 h 1047112"/>
                <a:gd name="connsiteX121" fmla="*/ 1582924 w 1694622"/>
                <a:gd name="connsiteY121" fmla="*/ 615318 h 1047112"/>
                <a:gd name="connsiteX122" fmla="*/ 1570730 w 1694622"/>
                <a:gd name="connsiteY122" fmla="*/ 610562 h 1047112"/>
                <a:gd name="connsiteX123" fmla="*/ 1569632 w 1694622"/>
                <a:gd name="connsiteY123" fmla="*/ 590929 h 1047112"/>
                <a:gd name="connsiteX124" fmla="*/ 1578900 w 1694622"/>
                <a:gd name="connsiteY124" fmla="*/ 585320 h 1047112"/>
                <a:gd name="connsiteX125" fmla="*/ 1577559 w 1694622"/>
                <a:gd name="connsiteY125" fmla="*/ 579467 h 1047112"/>
                <a:gd name="connsiteX126" fmla="*/ 1569023 w 1694622"/>
                <a:gd name="connsiteY126" fmla="*/ 576662 h 1047112"/>
                <a:gd name="connsiteX127" fmla="*/ 1565121 w 1694622"/>
                <a:gd name="connsiteY127" fmla="*/ 554469 h 1047112"/>
                <a:gd name="connsiteX128" fmla="*/ 1551585 w 1694622"/>
                <a:gd name="connsiteY128" fmla="*/ 542275 h 1047112"/>
                <a:gd name="connsiteX129" fmla="*/ 1553414 w 1694622"/>
                <a:gd name="connsiteY129" fmla="*/ 530080 h 1047112"/>
                <a:gd name="connsiteX130" fmla="*/ 1543171 w 1694622"/>
                <a:gd name="connsiteY130" fmla="*/ 524593 h 1047112"/>
                <a:gd name="connsiteX131" fmla="*/ 1543171 w 1694622"/>
                <a:gd name="connsiteY131" fmla="*/ 507033 h 1047112"/>
                <a:gd name="connsiteX132" fmla="*/ 1536099 w 1694622"/>
                <a:gd name="connsiteY132" fmla="*/ 507033 h 1047112"/>
                <a:gd name="connsiteX133" fmla="*/ 1531099 w 1694622"/>
                <a:gd name="connsiteY133" fmla="*/ 482645 h 1047112"/>
                <a:gd name="connsiteX134" fmla="*/ 1521709 w 1694622"/>
                <a:gd name="connsiteY134" fmla="*/ 474231 h 1047112"/>
                <a:gd name="connsiteX135" fmla="*/ 1517929 w 1694622"/>
                <a:gd name="connsiteY135" fmla="*/ 456671 h 1047112"/>
                <a:gd name="connsiteX136" fmla="*/ 1515978 w 1694622"/>
                <a:gd name="connsiteY136" fmla="*/ 455818 h 1047112"/>
                <a:gd name="connsiteX137" fmla="*/ 1514027 w 1694622"/>
                <a:gd name="connsiteY137" fmla="*/ 454964 h 1047112"/>
                <a:gd name="connsiteX138" fmla="*/ 1508662 w 1694622"/>
                <a:gd name="connsiteY138" fmla="*/ 464232 h 1047112"/>
                <a:gd name="connsiteX139" fmla="*/ 1508662 w 1694622"/>
                <a:gd name="connsiteY139" fmla="*/ 473255 h 1047112"/>
                <a:gd name="connsiteX140" fmla="*/ 1501223 w 1694622"/>
                <a:gd name="connsiteY140" fmla="*/ 478865 h 1047112"/>
                <a:gd name="connsiteX141" fmla="*/ 1503052 w 1694622"/>
                <a:gd name="connsiteY141" fmla="*/ 494351 h 1047112"/>
                <a:gd name="connsiteX142" fmla="*/ 1493175 w 1694622"/>
                <a:gd name="connsiteY142" fmla="*/ 517886 h 1047112"/>
                <a:gd name="connsiteX143" fmla="*/ 1484395 w 1694622"/>
                <a:gd name="connsiteY143" fmla="*/ 526788 h 1047112"/>
                <a:gd name="connsiteX144" fmla="*/ 1482932 w 1694622"/>
                <a:gd name="connsiteY144" fmla="*/ 518496 h 1047112"/>
                <a:gd name="connsiteX145" fmla="*/ 1479274 w 1694622"/>
                <a:gd name="connsiteY145" fmla="*/ 518496 h 1047112"/>
                <a:gd name="connsiteX146" fmla="*/ 1473664 w 1694622"/>
                <a:gd name="connsiteY146" fmla="*/ 519837 h 1047112"/>
                <a:gd name="connsiteX147" fmla="*/ 1473664 w 1694622"/>
                <a:gd name="connsiteY147" fmla="*/ 529836 h 1047112"/>
                <a:gd name="connsiteX148" fmla="*/ 1463543 w 1694622"/>
                <a:gd name="connsiteY148" fmla="*/ 535934 h 1047112"/>
                <a:gd name="connsiteX149" fmla="*/ 1455861 w 1694622"/>
                <a:gd name="connsiteY149" fmla="*/ 544713 h 1047112"/>
                <a:gd name="connsiteX150" fmla="*/ 1443667 w 1694622"/>
                <a:gd name="connsiteY150" fmla="*/ 536299 h 1047112"/>
                <a:gd name="connsiteX151" fmla="*/ 1443667 w 1694622"/>
                <a:gd name="connsiteY151" fmla="*/ 526666 h 1047112"/>
                <a:gd name="connsiteX152" fmla="*/ 1427814 w 1694622"/>
                <a:gd name="connsiteY152" fmla="*/ 510692 h 1047112"/>
                <a:gd name="connsiteX153" fmla="*/ 1418425 w 1694622"/>
                <a:gd name="connsiteY153" fmla="*/ 519227 h 1047112"/>
                <a:gd name="connsiteX154" fmla="*/ 1404523 w 1694622"/>
                <a:gd name="connsiteY154" fmla="*/ 522642 h 1047112"/>
                <a:gd name="connsiteX155" fmla="*/ 1402694 w 1694622"/>
                <a:gd name="connsiteY155" fmla="*/ 515325 h 1047112"/>
                <a:gd name="connsiteX156" fmla="*/ 1416840 w 1694622"/>
                <a:gd name="connsiteY156" fmla="*/ 506302 h 1047112"/>
                <a:gd name="connsiteX157" fmla="*/ 1419400 w 1694622"/>
                <a:gd name="connsiteY157" fmla="*/ 501912 h 1047112"/>
                <a:gd name="connsiteX158" fmla="*/ 1415864 w 1694622"/>
                <a:gd name="connsiteY158" fmla="*/ 499595 h 1047112"/>
                <a:gd name="connsiteX159" fmla="*/ 1408791 w 1694622"/>
                <a:gd name="connsiteY159" fmla="*/ 499595 h 1047112"/>
                <a:gd name="connsiteX160" fmla="*/ 1408182 w 1694622"/>
                <a:gd name="connsiteY160" fmla="*/ 498619 h 1047112"/>
                <a:gd name="connsiteX161" fmla="*/ 1405865 w 1694622"/>
                <a:gd name="connsiteY161" fmla="*/ 494961 h 1047112"/>
                <a:gd name="connsiteX162" fmla="*/ 1405865 w 1694622"/>
                <a:gd name="connsiteY162" fmla="*/ 490571 h 1047112"/>
                <a:gd name="connsiteX163" fmla="*/ 1405865 w 1694622"/>
                <a:gd name="connsiteY163" fmla="*/ 490571 h 1047112"/>
                <a:gd name="connsiteX164" fmla="*/ 1406596 w 1694622"/>
                <a:gd name="connsiteY164" fmla="*/ 490571 h 1047112"/>
                <a:gd name="connsiteX165" fmla="*/ 1406597 w 1694622"/>
                <a:gd name="connsiteY165" fmla="*/ 490571 h 1047112"/>
                <a:gd name="connsiteX166" fmla="*/ 1408548 w 1694622"/>
                <a:gd name="connsiteY166" fmla="*/ 490571 h 1047112"/>
                <a:gd name="connsiteX167" fmla="*/ 1410133 w 1694622"/>
                <a:gd name="connsiteY167" fmla="*/ 490571 h 1047112"/>
                <a:gd name="connsiteX168" fmla="*/ 1410864 w 1694622"/>
                <a:gd name="connsiteY168" fmla="*/ 490571 h 1047112"/>
                <a:gd name="connsiteX169" fmla="*/ 1414157 w 1694622"/>
                <a:gd name="connsiteY169" fmla="*/ 488010 h 1047112"/>
                <a:gd name="connsiteX170" fmla="*/ 1413425 w 1694622"/>
                <a:gd name="connsiteY170" fmla="*/ 480328 h 1047112"/>
                <a:gd name="connsiteX171" fmla="*/ 1404889 w 1694622"/>
                <a:gd name="connsiteY171" fmla="*/ 471792 h 1047112"/>
                <a:gd name="connsiteX172" fmla="*/ 1413303 w 1694622"/>
                <a:gd name="connsiteY172" fmla="*/ 463500 h 1047112"/>
                <a:gd name="connsiteX173" fmla="*/ 1413181 w 1694622"/>
                <a:gd name="connsiteY173" fmla="*/ 443502 h 1047112"/>
                <a:gd name="connsiteX174" fmla="*/ 1419888 w 1694622"/>
                <a:gd name="connsiteY174" fmla="*/ 437770 h 1047112"/>
                <a:gd name="connsiteX175" fmla="*/ 1419888 w 1694622"/>
                <a:gd name="connsiteY175" fmla="*/ 429966 h 1047112"/>
                <a:gd name="connsiteX176" fmla="*/ 1414645 w 1694622"/>
                <a:gd name="connsiteY176" fmla="*/ 428625 h 1047112"/>
                <a:gd name="connsiteX177" fmla="*/ 1408182 w 1694622"/>
                <a:gd name="connsiteY177" fmla="*/ 431917 h 1047112"/>
                <a:gd name="connsiteX178" fmla="*/ 1408182 w 1694622"/>
                <a:gd name="connsiteY178" fmla="*/ 431917 h 1047112"/>
                <a:gd name="connsiteX179" fmla="*/ 1402938 w 1694622"/>
                <a:gd name="connsiteY179" fmla="*/ 425698 h 1047112"/>
                <a:gd name="connsiteX180" fmla="*/ 1378550 w 1694622"/>
                <a:gd name="connsiteY180" fmla="*/ 424723 h 1047112"/>
                <a:gd name="connsiteX181" fmla="*/ 1371843 w 1694622"/>
                <a:gd name="connsiteY181" fmla="*/ 413626 h 1047112"/>
                <a:gd name="connsiteX182" fmla="*/ 1373550 w 1694622"/>
                <a:gd name="connsiteY182" fmla="*/ 404236 h 1047112"/>
                <a:gd name="connsiteX183" fmla="*/ 1365868 w 1694622"/>
                <a:gd name="connsiteY183" fmla="*/ 401676 h 1047112"/>
                <a:gd name="connsiteX184" fmla="*/ 1360990 w 1694622"/>
                <a:gd name="connsiteY184" fmla="*/ 387896 h 1047112"/>
                <a:gd name="connsiteX185" fmla="*/ 1350869 w 1694622"/>
                <a:gd name="connsiteY185" fmla="*/ 384238 h 1047112"/>
                <a:gd name="connsiteX186" fmla="*/ 1345992 w 1694622"/>
                <a:gd name="connsiteY186" fmla="*/ 377409 h 1047112"/>
                <a:gd name="connsiteX187" fmla="*/ 1336602 w 1694622"/>
                <a:gd name="connsiteY187" fmla="*/ 371434 h 1047112"/>
                <a:gd name="connsiteX188" fmla="*/ 1320506 w 1694622"/>
                <a:gd name="connsiteY188" fmla="*/ 373141 h 1047112"/>
                <a:gd name="connsiteX189" fmla="*/ 1315628 w 1694622"/>
                <a:gd name="connsiteY189" fmla="*/ 381921 h 1047112"/>
                <a:gd name="connsiteX190" fmla="*/ 1304775 w 1694622"/>
                <a:gd name="connsiteY190" fmla="*/ 380824 h 1047112"/>
                <a:gd name="connsiteX191" fmla="*/ 1287338 w 1694622"/>
                <a:gd name="connsiteY191" fmla="*/ 379848 h 1047112"/>
                <a:gd name="connsiteX192" fmla="*/ 1271363 w 1694622"/>
                <a:gd name="connsiteY192" fmla="*/ 369849 h 1047112"/>
                <a:gd name="connsiteX193" fmla="*/ 1267217 w 1694622"/>
                <a:gd name="connsiteY193" fmla="*/ 365703 h 1047112"/>
                <a:gd name="connsiteX194" fmla="*/ 1256486 w 1694622"/>
                <a:gd name="connsiteY194" fmla="*/ 365703 h 1047112"/>
                <a:gd name="connsiteX195" fmla="*/ 1251243 w 1694622"/>
                <a:gd name="connsiteY195" fmla="*/ 369361 h 1047112"/>
                <a:gd name="connsiteX196" fmla="*/ 1251243 w 1694622"/>
                <a:gd name="connsiteY196" fmla="*/ 392164 h 1047112"/>
                <a:gd name="connsiteX197" fmla="*/ 1262705 w 1694622"/>
                <a:gd name="connsiteY197" fmla="*/ 405456 h 1047112"/>
                <a:gd name="connsiteX198" fmla="*/ 1261608 w 1694622"/>
                <a:gd name="connsiteY198" fmla="*/ 421430 h 1047112"/>
                <a:gd name="connsiteX199" fmla="*/ 1252828 w 1694622"/>
                <a:gd name="connsiteY199" fmla="*/ 428015 h 1047112"/>
                <a:gd name="connsiteX200" fmla="*/ 1249170 w 1694622"/>
                <a:gd name="connsiteY200" fmla="*/ 428015 h 1047112"/>
                <a:gd name="connsiteX201" fmla="*/ 1250999 w 1694622"/>
                <a:gd name="connsiteY201" fmla="*/ 432771 h 1047112"/>
                <a:gd name="connsiteX202" fmla="*/ 1258681 w 1694622"/>
                <a:gd name="connsiteY202" fmla="*/ 442404 h 1047112"/>
                <a:gd name="connsiteX203" fmla="*/ 1261608 w 1694622"/>
                <a:gd name="connsiteY203" fmla="*/ 457769 h 1047112"/>
                <a:gd name="connsiteX204" fmla="*/ 1266486 w 1694622"/>
                <a:gd name="connsiteY204" fmla="*/ 467646 h 1047112"/>
                <a:gd name="connsiteX205" fmla="*/ 1262462 w 1694622"/>
                <a:gd name="connsiteY205" fmla="*/ 483011 h 1047112"/>
                <a:gd name="connsiteX206" fmla="*/ 1252096 w 1694622"/>
                <a:gd name="connsiteY206" fmla="*/ 495205 h 1047112"/>
                <a:gd name="connsiteX207" fmla="*/ 1251243 w 1694622"/>
                <a:gd name="connsiteY207" fmla="*/ 502765 h 1047112"/>
                <a:gd name="connsiteX208" fmla="*/ 1243804 w 1694622"/>
                <a:gd name="connsiteY208" fmla="*/ 512887 h 1047112"/>
                <a:gd name="connsiteX209" fmla="*/ 1244536 w 1694622"/>
                <a:gd name="connsiteY209" fmla="*/ 522642 h 1047112"/>
                <a:gd name="connsiteX210" fmla="*/ 1275631 w 1694622"/>
                <a:gd name="connsiteY210" fmla="*/ 551786 h 1047112"/>
                <a:gd name="connsiteX211" fmla="*/ 1284411 w 1694622"/>
                <a:gd name="connsiteY211" fmla="*/ 588368 h 1047112"/>
                <a:gd name="connsiteX212" fmla="*/ 1279046 w 1694622"/>
                <a:gd name="connsiteY212" fmla="*/ 623122 h 1047112"/>
                <a:gd name="connsiteX213" fmla="*/ 1266851 w 1694622"/>
                <a:gd name="connsiteY213" fmla="*/ 633853 h 1047112"/>
                <a:gd name="connsiteX214" fmla="*/ 1262827 w 1694622"/>
                <a:gd name="connsiteY214" fmla="*/ 640559 h 1047112"/>
                <a:gd name="connsiteX215" fmla="*/ 1252218 w 1694622"/>
                <a:gd name="connsiteY215" fmla="*/ 651168 h 1047112"/>
                <a:gd name="connsiteX216" fmla="*/ 1242341 w 1694622"/>
                <a:gd name="connsiteY216" fmla="*/ 655680 h 1047112"/>
                <a:gd name="connsiteX217" fmla="*/ 1240390 w 1694622"/>
                <a:gd name="connsiteY217" fmla="*/ 663728 h 1047112"/>
                <a:gd name="connsiteX218" fmla="*/ 1228196 w 1694622"/>
                <a:gd name="connsiteY218" fmla="*/ 664704 h 1047112"/>
                <a:gd name="connsiteX219" fmla="*/ 1225635 w 1694622"/>
                <a:gd name="connsiteY219" fmla="*/ 669947 h 1047112"/>
                <a:gd name="connsiteX220" fmla="*/ 1234537 w 1694622"/>
                <a:gd name="connsiteY220" fmla="*/ 680678 h 1047112"/>
                <a:gd name="connsiteX221" fmla="*/ 1237463 w 1694622"/>
                <a:gd name="connsiteY221" fmla="*/ 699579 h 1047112"/>
                <a:gd name="connsiteX222" fmla="*/ 1237463 w 1694622"/>
                <a:gd name="connsiteY222" fmla="*/ 721773 h 1047112"/>
                <a:gd name="connsiteX223" fmla="*/ 1241975 w 1694622"/>
                <a:gd name="connsiteY223" fmla="*/ 732503 h 1047112"/>
                <a:gd name="connsiteX224" fmla="*/ 1247950 w 1694622"/>
                <a:gd name="connsiteY224" fmla="*/ 741527 h 1047112"/>
                <a:gd name="connsiteX225" fmla="*/ 1247341 w 1694622"/>
                <a:gd name="connsiteY225" fmla="*/ 751770 h 1047112"/>
                <a:gd name="connsiteX226" fmla="*/ 1238805 w 1694622"/>
                <a:gd name="connsiteY226" fmla="*/ 764696 h 1047112"/>
                <a:gd name="connsiteX227" fmla="*/ 1235147 w 1694622"/>
                <a:gd name="connsiteY227" fmla="*/ 779329 h 1047112"/>
                <a:gd name="connsiteX228" fmla="*/ 1226123 w 1694622"/>
                <a:gd name="connsiteY228" fmla="*/ 770305 h 1047112"/>
                <a:gd name="connsiteX229" fmla="*/ 1220758 w 1694622"/>
                <a:gd name="connsiteY229" fmla="*/ 782499 h 1047112"/>
                <a:gd name="connsiteX230" fmla="*/ 1220758 w 1694622"/>
                <a:gd name="connsiteY230" fmla="*/ 782499 h 1047112"/>
                <a:gd name="connsiteX231" fmla="*/ 1213685 w 1694622"/>
                <a:gd name="connsiteY231" fmla="*/ 778963 h 1047112"/>
                <a:gd name="connsiteX232" fmla="*/ 1201491 w 1694622"/>
                <a:gd name="connsiteY232" fmla="*/ 780670 h 1047112"/>
                <a:gd name="connsiteX233" fmla="*/ 1203198 w 1694622"/>
                <a:gd name="connsiteY233" fmla="*/ 770183 h 1047112"/>
                <a:gd name="connsiteX234" fmla="*/ 1192833 w 1694622"/>
                <a:gd name="connsiteY234" fmla="*/ 754575 h 1047112"/>
                <a:gd name="connsiteX235" fmla="*/ 1182102 w 1694622"/>
                <a:gd name="connsiteY235" fmla="*/ 751404 h 1047112"/>
                <a:gd name="connsiteX236" fmla="*/ 1182102 w 1694622"/>
                <a:gd name="connsiteY236" fmla="*/ 743722 h 1047112"/>
                <a:gd name="connsiteX237" fmla="*/ 1169908 w 1694622"/>
                <a:gd name="connsiteY237" fmla="*/ 732381 h 1047112"/>
                <a:gd name="connsiteX238" fmla="*/ 1169908 w 1694622"/>
                <a:gd name="connsiteY238" fmla="*/ 723602 h 1047112"/>
                <a:gd name="connsiteX239" fmla="*/ 1174176 w 1694622"/>
                <a:gd name="connsiteY239" fmla="*/ 717870 h 1047112"/>
                <a:gd name="connsiteX240" fmla="*/ 1175517 w 1694622"/>
                <a:gd name="connsiteY240" fmla="*/ 692019 h 1047112"/>
                <a:gd name="connsiteX241" fmla="*/ 1171371 w 1694622"/>
                <a:gd name="connsiteY241" fmla="*/ 679825 h 1047112"/>
                <a:gd name="connsiteX242" fmla="*/ 1172712 w 1694622"/>
                <a:gd name="connsiteY242" fmla="*/ 652144 h 1047112"/>
                <a:gd name="connsiteX243" fmla="*/ 1164421 w 1694622"/>
                <a:gd name="connsiteY243" fmla="*/ 646291 h 1047112"/>
                <a:gd name="connsiteX244" fmla="*/ 1147958 w 1694622"/>
                <a:gd name="connsiteY244" fmla="*/ 648973 h 1047112"/>
                <a:gd name="connsiteX245" fmla="*/ 1147958 w 1694622"/>
                <a:gd name="connsiteY245" fmla="*/ 648973 h 1047112"/>
                <a:gd name="connsiteX246" fmla="*/ 1139057 w 1694622"/>
                <a:gd name="connsiteY246" fmla="*/ 648242 h 1047112"/>
                <a:gd name="connsiteX247" fmla="*/ 1130155 w 1694622"/>
                <a:gd name="connsiteY247" fmla="*/ 647510 h 1047112"/>
                <a:gd name="connsiteX248" fmla="*/ 1121741 w 1694622"/>
                <a:gd name="connsiteY248" fmla="*/ 641901 h 1047112"/>
                <a:gd name="connsiteX249" fmla="*/ 1105766 w 1694622"/>
                <a:gd name="connsiteY249" fmla="*/ 640437 h 1047112"/>
                <a:gd name="connsiteX250" fmla="*/ 1094426 w 1694622"/>
                <a:gd name="connsiteY250" fmla="*/ 627634 h 1047112"/>
                <a:gd name="connsiteX251" fmla="*/ 1074915 w 1694622"/>
                <a:gd name="connsiteY251" fmla="*/ 624829 h 1047112"/>
                <a:gd name="connsiteX252" fmla="*/ 1062721 w 1694622"/>
                <a:gd name="connsiteY252" fmla="*/ 617025 h 1047112"/>
                <a:gd name="connsiteX253" fmla="*/ 1059916 w 1694622"/>
                <a:gd name="connsiteY253" fmla="*/ 603123 h 1047112"/>
                <a:gd name="connsiteX254" fmla="*/ 1057234 w 1694622"/>
                <a:gd name="connsiteY254" fmla="*/ 602148 h 1047112"/>
                <a:gd name="connsiteX255" fmla="*/ 1051137 w 1694622"/>
                <a:gd name="connsiteY255" fmla="*/ 602148 h 1047112"/>
                <a:gd name="connsiteX256" fmla="*/ 1038942 w 1694622"/>
                <a:gd name="connsiteY256" fmla="*/ 593246 h 1047112"/>
                <a:gd name="connsiteX257" fmla="*/ 1016993 w 1694622"/>
                <a:gd name="connsiteY257" fmla="*/ 579589 h 1047112"/>
                <a:gd name="connsiteX258" fmla="*/ 1008579 w 1694622"/>
                <a:gd name="connsiteY258" fmla="*/ 579589 h 1047112"/>
                <a:gd name="connsiteX259" fmla="*/ 1002848 w 1694622"/>
                <a:gd name="connsiteY259" fmla="*/ 576662 h 1047112"/>
                <a:gd name="connsiteX260" fmla="*/ 986386 w 1694622"/>
                <a:gd name="connsiteY260" fmla="*/ 576662 h 1047112"/>
                <a:gd name="connsiteX261" fmla="*/ 966265 w 1694622"/>
                <a:gd name="connsiteY261" fmla="*/ 584466 h 1047112"/>
                <a:gd name="connsiteX262" fmla="*/ 963948 w 1694622"/>
                <a:gd name="connsiteY262" fmla="*/ 577516 h 1047112"/>
                <a:gd name="connsiteX263" fmla="*/ 968094 w 1694622"/>
                <a:gd name="connsiteY263" fmla="*/ 562151 h 1047112"/>
                <a:gd name="connsiteX264" fmla="*/ 959803 w 1694622"/>
                <a:gd name="connsiteY264" fmla="*/ 548372 h 1047112"/>
                <a:gd name="connsiteX265" fmla="*/ 954315 w 1694622"/>
                <a:gd name="connsiteY265" fmla="*/ 520935 h 1047112"/>
                <a:gd name="connsiteX266" fmla="*/ 945779 w 1694622"/>
                <a:gd name="connsiteY266" fmla="*/ 518496 h 1047112"/>
                <a:gd name="connsiteX267" fmla="*/ 932488 w 1694622"/>
                <a:gd name="connsiteY267" fmla="*/ 517032 h 1047112"/>
                <a:gd name="connsiteX268" fmla="*/ 918586 w 1694622"/>
                <a:gd name="connsiteY268" fmla="*/ 501668 h 1047112"/>
                <a:gd name="connsiteX269" fmla="*/ 918586 w 1694622"/>
                <a:gd name="connsiteY269" fmla="*/ 478499 h 1047112"/>
                <a:gd name="connsiteX270" fmla="*/ 920049 w 1694622"/>
                <a:gd name="connsiteY270" fmla="*/ 474231 h 1047112"/>
                <a:gd name="connsiteX271" fmla="*/ 921513 w 1694622"/>
                <a:gd name="connsiteY271" fmla="*/ 441307 h 1047112"/>
                <a:gd name="connsiteX272" fmla="*/ 931512 w 1694622"/>
                <a:gd name="connsiteY272" fmla="*/ 425576 h 1047112"/>
                <a:gd name="connsiteX273" fmla="*/ 937243 w 1694622"/>
                <a:gd name="connsiteY273" fmla="*/ 402651 h 1047112"/>
                <a:gd name="connsiteX274" fmla="*/ 945657 w 1694622"/>
                <a:gd name="connsiteY274" fmla="*/ 394237 h 1047112"/>
                <a:gd name="connsiteX275" fmla="*/ 947120 w 1694622"/>
                <a:gd name="connsiteY275" fmla="*/ 382043 h 1047112"/>
                <a:gd name="connsiteX276" fmla="*/ 956144 w 1694622"/>
                <a:gd name="connsiteY276" fmla="*/ 380580 h 1047112"/>
                <a:gd name="connsiteX277" fmla="*/ 961632 w 1694622"/>
                <a:gd name="connsiteY277" fmla="*/ 368386 h 1047112"/>
                <a:gd name="connsiteX278" fmla="*/ 972119 w 1694622"/>
                <a:gd name="connsiteY278" fmla="*/ 363142 h 1047112"/>
                <a:gd name="connsiteX279" fmla="*/ 967973 w 1694622"/>
                <a:gd name="connsiteY279" fmla="*/ 348021 h 1047112"/>
                <a:gd name="connsiteX280" fmla="*/ 976021 w 1694622"/>
                <a:gd name="connsiteY280" fmla="*/ 340095 h 1047112"/>
                <a:gd name="connsiteX281" fmla="*/ 981142 w 1694622"/>
                <a:gd name="connsiteY281" fmla="*/ 345217 h 1047112"/>
                <a:gd name="connsiteX282" fmla="*/ 986386 w 1694622"/>
                <a:gd name="connsiteY282" fmla="*/ 345217 h 1047112"/>
                <a:gd name="connsiteX283" fmla="*/ 1001628 w 1694622"/>
                <a:gd name="connsiteY283" fmla="*/ 340095 h 1047112"/>
                <a:gd name="connsiteX284" fmla="*/ 1001628 w 1694622"/>
                <a:gd name="connsiteY284" fmla="*/ 333754 h 1047112"/>
                <a:gd name="connsiteX285" fmla="*/ 995166 w 1694622"/>
                <a:gd name="connsiteY285" fmla="*/ 324731 h 1047112"/>
                <a:gd name="connsiteX286" fmla="*/ 980898 w 1694622"/>
                <a:gd name="connsiteY286" fmla="*/ 314000 h 1047112"/>
                <a:gd name="connsiteX287" fmla="*/ 993946 w 1694622"/>
                <a:gd name="connsiteY287" fmla="*/ 309610 h 1047112"/>
                <a:gd name="connsiteX288" fmla="*/ 1001263 w 1694622"/>
                <a:gd name="connsiteY288" fmla="*/ 312536 h 1047112"/>
                <a:gd name="connsiteX289" fmla="*/ 1012481 w 1694622"/>
                <a:gd name="connsiteY289" fmla="*/ 311317 h 1047112"/>
                <a:gd name="connsiteX290" fmla="*/ 1023334 w 1694622"/>
                <a:gd name="connsiteY290" fmla="*/ 295830 h 1047112"/>
                <a:gd name="connsiteX291" fmla="*/ 1031504 w 1694622"/>
                <a:gd name="connsiteY291" fmla="*/ 304001 h 1047112"/>
                <a:gd name="connsiteX292" fmla="*/ 1043698 w 1694622"/>
                <a:gd name="connsiteY292" fmla="*/ 302781 h 1047112"/>
                <a:gd name="connsiteX293" fmla="*/ 1053332 w 1694622"/>
                <a:gd name="connsiteY293" fmla="*/ 289124 h 1047112"/>
                <a:gd name="connsiteX294" fmla="*/ 1064185 w 1694622"/>
                <a:gd name="connsiteY294" fmla="*/ 278271 h 1047112"/>
                <a:gd name="connsiteX295" fmla="*/ 1065526 w 1694622"/>
                <a:gd name="connsiteY295" fmla="*/ 270223 h 1047112"/>
                <a:gd name="connsiteX296" fmla="*/ 1069672 w 1694622"/>
                <a:gd name="connsiteY296" fmla="*/ 255346 h 1047112"/>
                <a:gd name="connsiteX297" fmla="*/ 1065892 w 1694622"/>
                <a:gd name="connsiteY297" fmla="*/ 248029 h 1047112"/>
                <a:gd name="connsiteX298" fmla="*/ 1061136 w 1694622"/>
                <a:gd name="connsiteY298" fmla="*/ 244493 h 1047112"/>
                <a:gd name="connsiteX299" fmla="*/ 1041138 w 1694622"/>
                <a:gd name="connsiteY299" fmla="*/ 243030 h 1047112"/>
                <a:gd name="connsiteX300" fmla="*/ 1020895 w 1694622"/>
                <a:gd name="connsiteY300" fmla="*/ 224251 h 1047112"/>
                <a:gd name="connsiteX301" fmla="*/ 1010774 w 1694622"/>
                <a:gd name="connsiteY301" fmla="*/ 217178 h 1047112"/>
                <a:gd name="connsiteX302" fmla="*/ 1019676 w 1694622"/>
                <a:gd name="connsiteY302" fmla="*/ 210471 h 1047112"/>
                <a:gd name="connsiteX303" fmla="*/ 1038211 w 1694622"/>
                <a:gd name="connsiteY303" fmla="*/ 216690 h 1047112"/>
                <a:gd name="connsiteX304" fmla="*/ 1053698 w 1694622"/>
                <a:gd name="connsiteY304" fmla="*/ 230714 h 1047112"/>
                <a:gd name="connsiteX305" fmla="*/ 1070403 w 1694622"/>
                <a:gd name="connsiteY305" fmla="*/ 233274 h 1047112"/>
                <a:gd name="connsiteX306" fmla="*/ 1081256 w 1694622"/>
                <a:gd name="connsiteY306" fmla="*/ 221080 h 1047112"/>
                <a:gd name="connsiteX307" fmla="*/ 1097596 w 1694622"/>
                <a:gd name="connsiteY307" fmla="*/ 208886 h 1047112"/>
                <a:gd name="connsiteX308" fmla="*/ 1098694 w 1694622"/>
                <a:gd name="connsiteY308" fmla="*/ 197667 h 1047112"/>
                <a:gd name="connsiteX309" fmla="*/ 1090036 w 1694622"/>
                <a:gd name="connsiteY309" fmla="*/ 196448 h 1047112"/>
                <a:gd name="connsiteX310" fmla="*/ 1083085 w 1694622"/>
                <a:gd name="connsiteY310" fmla="*/ 189497 h 1047112"/>
                <a:gd name="connsiteX311" fmla="*/ 1085036 w 1694622"/>
                <a:gd name="connsiteY311" fmla="*/ 179742 h 1047112"/>
                <a:gd name="connsiteX312" fmla="*/ 1103572 w 1694622"/>
                <a:gd name="connsiteY312" fmla="*/ 178035 h 1047112"/>
                <a:gd name="connsiteX313" fmla="*/ 1103572 w 1694622"/>
                <a:gd name="connsiteY313" fmla="*/ 178035 h 1047112"/>
                <a:gd name="connsiteX314" fmla="*/ 1109547 w 1694622"/>
                <a:gd name="connsiteY314" fmla="*/ 188522 h 1047112"/>
                <a:gd name="connsiteX315" fmla="*/ 1117229 w 1694622"/>
                <a:gd name="connsiteY315" fmla="*/ 192424 h 1047112"/>
                <a:gd name="connsiteX316" fmla="*/ 1124790 w 1694622"/>
                <a:gd name="connsiteY316" fmla="*/ 193643 h 1047112"/>
                <a:gd name="connsiteX317" fmla="*/ 1135398 w 1694622"/>
                <a:gd name="connsiteY317" fmla="*/ 188888 h 1047112"/>
                <a:gd name="connsiteX318" fmla="*/ 1134545 w 1694622"/>
                <a:gd name="connsiteY318" fmla="*/ 184254 h 1047112"/>
                <a:gd name="connsiteX319" fmla="*/ 1122351 w 1694622"/>
                <a:gd name="connsiteY319" fmla="*/ 175352 h 1047112"/>
                <a:gd name="connsiteX320" fmla="*/ 1115644 w 1694622"/>
                <a:gd name="connsiteY320" fmla="*/ 169987 h 1047112"/>
                <a:gd name="connsiteX321" fmla="*/ 1124667 w 1694622"/>
                <a:gd name="connsiteY321" fmla="*/ 164621 h 1047112"/>
                <a:gd name="connsiteX322" fmla="*/ 1134423 w 1694622"/>
                <a:gd name="connsiteY322" fmla="*/ 166572 h 1047112"/>
                <a:gd name="connsiteX323" fmla="*/ 1140886 w 1694622"/>
                <a:gd name="connsiteY323" fmla="*/ 171450 h 1047112"/>
                <a:gd name="connsiteX324" fmla="*/ 1147471 w 1694622"/>
                <a:gd name="connsiteY324" fmla="*/ 179742 h 1047112"/>
                <a:gd name="connsiteX325" fmla="*/ 1157226 w 1694622"/>
                <a:gd name="connsiteY325" fmla="*/ 180961 h 1047112"/>
                <a:gd name="connsiteX326" fmla="*/ 1165396 w 1694622"/>
                <a:gd name="connsiteY326" fmla="*/ 175474 h 1047112"/>
                <a:gd name="connsiteX327" fmla="*/ 1179907 w 1694622"/>
                <a:gd name="connsiteY327" fmla="*/ 169621 h 1047112"/>
                <a:gd name="connsiteX328" fmla="*/ 1181248 w 1694622"/>
                <a:gd name="connsiteY328" fmla="*/ 163402 h 1047112"/>
                <a:gd name="connsiteX329" fmla="*/ 1191857 w 1694622"/>
                <a:gd name="connsiteY329" fmla="*/ 149988 h 1047112"/>
                <a:gd name="connsiteX330" fmla="*/ 1181980 w 1694622"/>
                <a:gd name="connsiteY330" fmla="*/ 138892 h 1047112"/>
                <a:gd name="connsiteX331" fmla="*/ 1173200 w 1694622"/>
                <a:gd name="connsiteY331" fmla="*/ 135355 h 1047112"/>
                <a:gd name="connsiteX332" fmla="*/ 1165884 w 1694622"/>
                <a:gd name="connsiteY332" fmla="*/ 122186 h 1047112"/>
                <a:gd name="connsiteX333" fmla="*/ 1174542 w 1694622"/>
                <a:gd name="connsiteY333" fmla="*/ 119625 h 1047112"/>
                <a:gd name="connsiteX334" fmla="*/ 1184541 w 1694622"/>
                <a:gd name="connsiteY334" fmla="*/ 118893 h 1047112"/>
                <a:gd name="connsiteX335" fmla="*/ 1186370 w 1694622"/>
                <a:gd name="connsiteY335" fmla="*/ 113284 h 1047112"/>
                <a:gd name="connsiteX336" fmla="*/ 1177224 w 1694622"/>
                <a:gd name="connsiteY336" fmla="*/ 106821 h 1047112"/>
                <a:gd name="connsiteX337" fmla="*/ 1185151 w 1694622"/>
                <a:gd name="connsiteY337" fmla="*/ 98163 h 1047112"/>
                <a:gd name="connsiteX338" fmla="*/ 1184297 w 1694622"/>
                <a:gd name="connsiteY338" fmla="*/ 94139 h 1047112"/>
                <a:gd name="connsiteX339" fmla="*/ 1175639 w 1694622"/>
                <a:gd name="connsiteY339" fmla="*/ 94139 h 1047112"/>
                <a:gd name="connsiteX340" fmla="*/ 1167469 w 1694622"/>
                <a:gd name="connsiteY340" fmla="*/ 90237 h 1047112"/>
                <a:gd name="connsiteX341" fmla="*/ 1163201 w 1694622"/>
                <a:gd name="connsiteY341" fmla="*/ 82554 h 1047112"/>
                <a:gd name="connsiteX342" fmla="*/ 1167347 w 1694622"/>
                <a:gd name="connsiteY342" fmla="*/ 80725 h 1047112"/>
                <a:gd name="connsiteX343" fmla="*/ 1165640 w 1694622"/>
                <a:gd name="connsiteY343" fmla="*/ 79628 h 1047112"/>
                <a:gd name="connsiteX344" fmla="*/ 1147349 w 1694622"/>
                <a:gd name="connsiteY344" fmla="*/ 79628 h 1047112"/>
                <a:gd name="connsiteX345" fmla="*/ 1136862 w 1694622"/>
                <a:gd name="connsiteY345" fmla="*/ 77677 h 1047112"/>
                <a:gd name="connsiteX346" fmla="*/ 1128935 w 1694622"/>
                <a:gd name="connsiteY346" fmla="*/ 73775 h 1047112"/>
                <a:gd name="connsiteX347" fmla="*/ 1116010 w 1694622"/>
                <a:gd name="connsiteY347" fmla="*/ 75360 h 1047112"/>
                <a:gd name="connsiteX348" fmla="*/ 1114303 w 1694622"/>
                <a:gd name="connsiteY348" fmla="*/ 76823 h 1047112"/>
                <a:gd name="connsiteX349" fmla="*/ 1113083 w 1694622"/>
                <a:gd name="connsiteY349" fmla="*/ 94993 h 1047112"/>
                <a:gd name="connsiteX350" fmla="*/ 1119058 w 1694622"/>
                <a:gd name="connsiteY350" fmla="*/ 97675 h 1047112"/>
                <a:gd name="connsiteX351" fmla="*/ 1116985 w 1694622"/>
                <a:gd name="connsiteY351" fmla="*/ 105358 h 1047112"/>
                <a:gd name="connsiteX352" fmla="*/ 1107108 w 1694622"/>
                <a:gd name="connsiteY352" fmla="*/ 111211 h 1047112"/>
                <a:gd name="connsiteX353" fmla="*/ 1105766 w 1694622"/>
                <a:gd name="connsiteY353" fmla="*/ 120113 h 1047112"/>
                <a:gd name="connsiteX354" fmla="*/ 1099791 w 1694622"/>
                <a:gd name="connsiteY354" fmla="*/ 133282 h 1047112"/>
                <a:gd name="connsiteX355" fmla="*/ 1091256 w 1694622"/>
                <a:gd name="connsiteY355" fmla="*/ 144379 h 1047112"/>
                <a:gd name="connsiteX356" fmla="*/ 1086744 w 1694622"/>
                <a:gd name="connsiteY356" fmla="*/ 151695 h 1047112"/>
                <a:gd name="connsiteX357" fmla="*/ 1077232 w 1694622"/>
                <a:gd name="connsiteY357" fmla="*/ 154134 h 1047112"/>
                <a:gd name="connsiteX358" fmla="*/ 1075769 w 1694622"/>
                <a:gd name="connsiteY358" fmla="*/ 162182 h 1047112"/>
                <a:gd name="connsiteX359" fmla="*/ 1068940 w 1694622"/>
                <a:gd name="connsiteY359" fmla="*/ 162182 h 1047112"/>
                <a:gd name="connsiteX360" fmla="*/ 1048942 w 1694622"/>
                <a:gd name="connsiteY360" fmla="*/ 144013 h 1047112"/>
                <a:gd name="connsiteX361" fmla="*/ 1050527 w 1694622"/>
                <a:gd name="connsiteY361" fmla="*/ 122429 h 1047112"/>
                <a:gd name="connsiteX362" fmla="*/ 1061258 w 1694622"/>
                <a:gd name="connsiteY362" fmla="*/ 121698 h 1047112"/>
                <a:gd name="connsiteX363" fmla="*/ 1060404 w 1694622"/>
                <a:gd name="connsiteY363" fmla="*/ 117674 h 1047112"/>
                <a:gd name="connsiteX364" fmla="*/ 1055283 w 1694622"/>
                <a:gd name="connsiteY364" fmla="*/ 110723 h 1047112"/>
                <a:gd name="connsiteX365" fmla="*/ 1036870 w 1694622"/>
                <a:gd name="connsiteY365" fmla="*/ 100480 h 1047112"/>
                <a:gd name="connsiteX366" fmla="*/ 1033699 w 1694622"/>
                <a:gd name="connsiteY366" fmla="*/ 97309 h 1047112"/>
                <a:gd name="connsiteX367" fmla="*/ 1024797 w 1694622"/>
                <a:gd name="connsiteY367" fmla="*/ 101943 h 1047112"/>
                <a:gd name="connsiteX368" fmla="*/ 1024797 w 1694622"/>
                <a:gd name="connsiteY368" fmla="*/ 109626 h 1047112"/>
                <a:gd name="connsiteX369" fmla="*/ 1021627 w 1694622"/>
                <a:gd name="connsiteY369" fmla="*/ 121820 h 1047112"/>
                <a:gd name="connsiteX370" fmla="*/ 1012603 w 1694622"/>
                <a:gd name="connsiteY370" fmla="*/ 125112 h 1047112"/>
                <a:gd name="connsiteX371" fmla="*/ 1005043 w 1694622"/>
                <a:gd name="connsiteY371" fmla="*/ 120600 h 1047112"/>
                <a:gd name="connsiteX372" fmla="*/ 1005043 w 1694622"/>
                <a:gd name="connsiteY372" fmla="*/ 103772 h 1047112"/>
                <a:gd name="connsiteX373" fmla="*/ 989800 w 1694622"/>
                <a:gd name="connsiteY373" fmla="*/ 93651 h 1047112"/>
                <a:gd name="connsiteX374" fmla="*/ 994800 w 1694622"/>
                <a:gd name="connsiteY374" fmla="*/ 87676 h 1047112"/>
                <a:gd name="connsiteX375" fmla="*/ 1003823 w 1694622"/>
                <a:gd name="connsiteY375" fmla="*/ 87676 h 1047112"/>
                <a:gd name="connsiteX376" fmla="*/ 993946 w 1694622"/>
                <a:gd name="connsiteY376" fmla="*/ 81091 h 1047112"/>
                <a:gd name="connsiteX377" fmla="*/ 979923 w 1694622"/>
                <a:gd name="connsiteY377" fmla="*/ 84384 h 1047112"/>
                <a:gd name="connsiteX378" fmla="*/ 961997 w 1694622"/>
                <a:gd name="connsiteY378" fmla="*/ 75238 h 1047112"/>
                <a:gd name="connsiteX379" fmla="*/ 968460 w 1694622"/>
                <a:gd name="connsiteY379" fmla="*/ 66458 h 1047112"/>
                <a:gd name="connsiteX380" fmla="*/ 966631 w 1694622"/>
                <a:gd name="connsiteY380" fmla="*/ 60971 h 1047112"/>
                <a:gd name="connsiteX381" fmla="*/ 973582 w 1694622"/>
                <a:gd name="connsiteY381" fmla="*/ 59629 h 1047112"/>
                <a:gd name="connsiteX382" fmla="*/ 982971 w 1694622"/>
                <a:gd name="connsiteY382" fmla="*/ 60361 h 1047112"/>
                <a:gd name="connsiteX383" fmla="*/ 982971 w 1694622"/>
                <a:gd name="connsiteY383" fmla="*/ 55971 h 1047112"/>
                <a:gd name="connsiteX384" fmla="*/ 958583 w 1694622"/>
                <a:gd name="connsiteY384" fmla="*/ 38168 h 1047112"/>
                <a:gd name="connsiteX385" fmla="*/ 957120 w 1694622"/>
                <a:gd name="connsiteY385" fmla="*/ 20364 h 1047112"/>
                <a:gd name="connsiteX386" fmla="*/ 953096 w 1694622"/>
                <a:gd name="connsiteY386" fmla="*/ 17072 h 1047112"/>
                <a:gd name="connsiteX387" fmla="*/ 950413 w 1694622"/>
                <a:gd name="connsiteY387" fmla="*/ 8170 h 1047112"/>
                <a:gd name="connsiteX388" fmla="*/ 943096 w 1694622"/>
                <a:gd name="connsiteY388" fmla="*/ 5975 h 1047112"/>
                <a:gd name="connsiteX389" fmla="*/ 932731 w 1694622"/>
                <a:gd name="connsiteY389" fmla="*/ 5122 h 1047112"/>
                <a:gd name="connsiteX390" fmla="*/ 927000 w 1694622"/>
                <a:gd name="connsiteY390" fmla="*/ 0 h 1047112"/>
                <a:gd name="connsiteX391" fmla="*/ 920415 w 1694622"/>
                <a:gd name="connsiteY391" fmla="*/ 0 h 1047112"/>
                <a:gd name="connsiteX392" fmla="*/ 916269 w 1694622"/>
                <a:gd name="connsiteY392" fmla="*/ 5853 h 1047112"/>
                <a:gd name="connsiteX393" fmla="*/ 908953 w 1694622"/>
                <a:gd name="connsiteY393" fmla="*/ 5853 h 1047112"/>
                <a:gd name="connsiteX394" fmla="*/ 905782 w 1694622"/>
                <a:gd name="connsiteY394" fmla="*/ 9146 h 1047112"/>
                <a:gd name="connsiteX395" fmla="*/ 913587 w 1694622"/>
                <a:gd name="connsiteY395" fmla="*/ 13901 h 1047112"/>
                <a:gd name="connsiteX396" fmla="*/ 902856 w 1694622"/>
                <a:gd name="connsiteY396" fmla="*/ 20364 h 1047112"/>
                <a:gd name="connsiteX397" fmla="*/ 897002 w 1694622"/>
                <a:gd name="connsiteY397" fmla="*/ 19511 h 1047112"/>
                <a:gd name="connsiteX398" fmla="*/ 894198 w 1694622"/>
                <a:gd name="connsiteY398" fmla="*/ 20608 h 1047112"/>
                <a:gd name="connsiteX399" fmla="*/ 887857 w 1694622"/>
                <a:gd name="connsiteY399" fmla="*/ 38656 h 1047112"/>
                <a:gd name="connsiteX400" fmla="*/ 893100 w 1694622"/>
                <a:gd name="connsiteY400" fmla="*/ 42436 h 1047112"/>
                <a:gd name="connsiteX401" fmla="*/ 900295 w 1694622"/>
                <a:gd name="connsiteY401" fmla="*/ 42436 h 1047112"/>
                <a:gd name="connsiteX402" fmla="*/ 900295 w 1694622"/>
                <a:gd name="connsiteY402" fmla="*/ 51094 h 1047112"/>
                <a:gd name="connsiteX403" fmla="*/ 891149 w 1694622"/>
                <a:gd name="connsiteY403" fmla="*/ 50118 h 1047112"/>
                <a:gd name="connsiteX404" fmla="*/ 887857 w 1694622"/>
                <a:gd name="connsiteY404" fmla="*/ 61581 h 1047112"/>
                <a:gd name="connsiteX405" fmla="*/ 895051 w 1694622"/>
                <a:gd name="connsiteY405" fmla="*/ 67434 h 1047112"/>
                <a:gd name="connsiteX406" fmla="*/ 905904 w 1694622"/>
                <a:gd name="connsiteY406" fmla="*/ 73043 h 1047112"/>
                <a:gd name="connsiteX407" fmla="*/ 915416 w 1694622"/>
                <a:gd name="connsiteY407" fmla="*/ 73897 h 1047112"/>
                <a:gd name="connsiteX408" fmla="*/ 923952 w 1694622"/>
                <a:gd name="connsiteY408" fmla="*/ 74872 h 1047112"/>
                <a:gd name="connsiteX409" fmla="*/ 925415 w 1694622"/>
                <a:gd name="connsiteY409" fmla="*/ 80969 h 1047112"/>
                <a:gd name="connsiteX410" fmla="*/ 934926 w 1694622"/>
                <a:gd name="connsiteY410" fmla="*/ 82311 h 1047112"/>
                <a:gd name="connsiteX411" fmla="*/ 945047 w 1694622"/>
                <a:gd name="connsiteY411" fmla="*/ 79262 h 1047112"/>
                <a:gd name="connsiteX412" fmla="*/ 945047 w 1694622"/>
                <a:gd name="connsiteY412" fmla="*/ 79262 h 1047112"/>
                <a:gd name="connsiteX413" fmla="*/ 947486 w 1694622"/>
                <a:gd name="connsiteY413" fmla="*/ 88408 h 1047112"/>
                <a:gd name="connsiteX414" fmla="*/ 932244 w 1694622"/>
                <a:gd name="connsiteY414" fmla="*/ 93895 h 1047112"/>
                <a:gd name="connsiteX415" fmla="*/ 926512 w 1694622"/>
                <a:gd name="connsiteY415" fmla="*/ 106089 h 1047112"/>
                <a:gd name="connsiteX416" fmla="*/ 930780 w 1694622"/>
                <a:gd name="connsiteY416" fmla="*/ 108162 h 1047112"/>
                <a:gd name="connsiteX417" fmla="*/ 936755 w 1694622"/>
                <a:gd name="connsiteY417" fmla="*/ 105236 h 1047112"/>
                <a:gd name="connsiteX418" fmla="*/ 942609 w 1694622"/>
                <a:gd name="connsiteY418" fmla="*/ 100602 h 1047112"/>
                <a:gd name="connsiteX419" fmla="*/ 948706 w 1694622"/>
                <a:gd name="connsiteY419" fmla="*/ 109260 h 1047112"/>
                <a:gd name="connsiteX420" fmla="*/ 945291 w 1694622"/>
                <a:gd name="connsiteY420" fmla="*/ 119503 h 1047112"/>
                <a:gd name="connsiteX421" fmla="*/ 927122 w 1694622"/>
                <a:gd name="connsiteY421" fmla="*/ 131697 h 1047112"/>
                <a:gd name="connsiteX422" fmla="*/ 917001 w 1694622"/>
                <a:gd name="connsiteY422" fmla="*/ 131697 h 1047112"/>
                <a:gd name="connsiteX423" fmla="*/ 907002 w 1694622"/>
                <a:gd name="connsiteY423" fmla="*/ 136209 h 1047112"/>
                <a:gd name="connsiteX424" fmla="*/ 906148 w 1694622"/>
                <a:gd name="connsiteY424" fmla="*/ 139013 h 1047112"/>
                <a:gd name="connsiteX425" fmla="*/ 918342 w 1694622"/>
                <a:gd name="connsiteY425" fmla="*/ 149622 h 1047112"/>
                <a:gd name="connsiteX426" fmla="*/ 912245 w 1694622"/>
                <a:gd name="connsiteY426" fmla="*/ 158280 h 1047112"/>
                <a:gd name="connsiteX427" fmla="*/ 892491 w 1694622"/>
                <a:gd name="connsiteY427" fmla="*/ 154378 h 1047112"/>
                <a:gd name="connsiteX428" fmla="*/ 888832 w 1694622"/>
                <a:gd name="connsiteY428" fmla="*/ 139989 h 1047112"/>
                <a:gd name="connsiteX429" fmla="*/ 894686 w 1694622"/>
                <a:gd name="connsiteY429" fmla="*/ 135599 h 1047112"/>
                <a:gd name="connsiteX430" fmla="*/ 894686 w 1694622"/>
                <a:gd name="connsiteY430" fmla="*/ 130721 h 1047112"/>
                <a:gd name="connsiteX431" fmla="*/ 887491 w 1694622"/>
                <a:gd name="connsiteY431" fmla="*/ 129136 h 1047112"/>
                <a:gd name="connsiteX432" fmla="*/ 873346 w 1694622"/>
                <a:gd name="connsiteY432" fmla="*/ 123283 h 1047112"/>
                <a:gd name="connsiteX433" fmla="*/ 864444 w 1694622"/>
                <a:gd name="connsiteY433" fmla="*/ 119625 h 1047112"/>
                <a:gd name="connsiteX434" fmla="*/ 859201 w 1694622"/>
                <a:gd name="connsiteY434" fmla="*/ 122064 h 1047112"/>
                <a:gd name="connsiteX435" fmla="*/ 847006 w 1694622"/>
                <a:gd name="connsiteY435" fmla="*/ 122795 h 1047112"/>
                <a:gd name="connsiteX436" fmla="*/ 841275 w 1694622"/>
                <a:gd name="connsiteY436" fmla="*/ 144013 h 1047112"/>
                <a:gd name="connsiteX437" fmla="*/ 829081 w 1694622"/>
                <a:gd name="connsiteY437" fmla="*/ 142916 h 1047112"/>
                <a:gd name="connsiteX438" fmla="*/ 818228 w 1694622"/>
                <a:gd name="connsiteY438" fmla="*/ 139623 h 1047112"/>
                <a:gd name="connsiteX439" fmla="*/ 795547 w 1694622"/>
                <a:gd name="connsiteY439" fmla="*/ 143891 h 1047112"/>
                <a:gd name="connsiteX440" fmla="*/ 785914 w 1694622"/>
                <a:gd name="connsiteY440" fmla="*/ 141330 h 1047112"/>
                <a:gd name="connsiteX441" fmla="*/ 777988 w 1694622"/>
                <a:gd name="connsiteY441" fmla="*/ 144745 h 1047112"/>
                <a:gd name="connsiteX442" fmla="*/ 757745 w 1694622"/>
                <a:gd name="connsiteY442" fmla="*/ 141086 h 1047112"/>
                <a:gd name="connsiteX443" fmla="*/ 750795 w 1694622"/>
                <a:gd name="connsiteY443" fmla="*/ 133648 h 1047112"/>
                <a:gd name="connsiteX444" fmla="*/ 733235 w 1694622"/>
                <a:gd name="connsiteY444" fmla="*/ 133648 h 1047112"/>
                <a:gd name="connsiteX445" fmla="*/ 723967 w 1694622"/>
                <a:gd name="connsiteY445" fmla="*/ 132673 h 1047112"/>
                <a:gd name="connsiteX446" fmla="*/ 707505 w 1694622"/>
                <a:gd name="connsiteY446" fmla="*/ 121820 h 1047112"/>
                <a:gd name="connsiteX447" fmla="*/ 706164 w 1694622"/>
                <a:gd name="connsiteY447" fmla="*/ 118893 h 1047112"/>
                <a:gd name="connsiteX448" fmla="*/ 703481 w 1694622"/>
                <a:gd name="connsiteY448" fmla="*/ 118893 h 1047112"/>
                <a:gd name="connsiteX449" fmla="*/ 697994 w 1694622"/>
                <a:gd name="connsiteY449" fmla="*/ 120113 h 1047112"/>
                <a:gd name="connsiteX450" fmla="*/ 696774 w 1694622"/>
                <a:gd name="connsiteY450" fmla="*/ 124015 h 1047112"/>
                <a:gd name="connsiteX451" fmla="*/ 680068 w 1694622"/>
                <a:gd name="connsiteY451" fmla="*/ 134867 h 1047112"/>
                <a:gd name="connsiteX452" fmla="*/ 662509 w 1694622"/>
                <a:gd name="connsiteY452" fmla="*/ 135721 h 1047112"/>
                <a:gd name="connsiteX453" fmla="*/ 660314 w 1694622"/>
                <a:gd name="connsiteY453" fmla="*/ 143647 h 1047112"/>
                <a:gd name="connsiteX454" fmla="*/ 666777 w 1694622"/>
                <a:gd name="connsiteY454" fmla="*/ 155841 h 1047112"/>
                <a:gd name="connsiteX455" fmla="*/ 677386 w 1694622"/>
                <a:gd name="connsiteY455" fmla="*/ 163158 h 1047112"/>
                <a:gd name="connsiteX456" fmla="*/ 669338 w 1694622"/>
                <a:gd name="connsiteY456" fmla="*/ 168401 h 1047112"/>
                <a:gd name="connsiteX457" fmla="*/ 669338 w 1694622"/>
                <a:gd name="connsiteY457" fmla="*/ 180596 h 1047112"/>
                <a:gd name="connsiteX458" fmla="*/ 653119 w 1694622"/>
                <a:gd name="connsiteY458" fmla="*/ 172547 h 1047112"/>
                <a:gd name="connsiteX459" fmla="*/ 645803 w 1694622"/>
                <a:gd name="connsiteY459" fmla="*/ 164865 h 1047112"/>
                <a:gd name="connsiteX460" fmla="*/ 652631 w 1694622"/>
                <a:gd name="connsiteY460" fmla="*/ 158280 h 1047112"/>
                <a:gd name="connsiteX461" fmla="*/ 643608 w 1694622"/>
                <a:gd name="connsiteY461" fmla="*/ 151573 h 1047112"/>
                <a:gd name="connsiteX462" fmla="*/ 639340 w 1694622"/>
                <a:gd name="connsiteY462" fmla="*/ 150720 h 1047112"/>
                <a:gd name="connsiteX463" fmla="*/ 630682 w 1694622"/>
                <a:gd name="connsiteY463" fmla="*/ 143891 h 1047112"/>
                <a:gd name="connsiteX464" fmla="*/ 614708 w 1694622"/>
                <a:gd name="connsiteY464" fmla="*/ 138160 h 1047112"/>
                <a:gd name="connsiteX465" fmla="*/ 587881 w 1694622"/>
                <a:gd name="connsiteY465" fmla="*/ 145720 h 1047112"/>
                <a:gd name="connsiteX466" fmla="*/ 572272 w 1694622"/>
                <a:gd name="connsiteY466" fmla="*/ 146574 h 1047112"/>
                <a:gd name="connsiteX467" fmla="*/ 538982 w 1694622"/>
                <a:gd name="connsiteY467" fmla="*/ 145720 h 1047112"/>
                <a:gd name="connsiteX468" fmla="*/ 529349 w 1694622"/>
                <a:gd name="connsiteY468" fmla="*/ 143160 h 1047112"/>
                <a:gd name="connsiteX469" fmla="*/ 518862 w 1694622"/>
                <a:gd name="connsiteY469" fmla="*/ 143160 h 1047112"/>
                <a:gd name="connsiteX470" fmla="*/ 508496 w 1694622"/>
                <a:gd name="connsiteY470" fmla="*/ 143160 h 1047112"/>
                <a:gd name="connsiteX471" fmla="*/ 504351 w 1694622"/>
                <a:gd name="connsiteY471" fmla="*/ 135599 h 1047112"/>
                <a:gd name="connsiteX472" fmla="*/ 510082 w 1694622"/>
                <a:gd name="connsiteY472" fmla="*/ 129868 h 1047112"/>
                <a:gd name="connsiteX473" fmla="*/ 518496 w 1694622"/>
                <a:gd name="connsiteY473" fmla="*/ 127307 h 1047112"/>
                <a:gd name="connsiteX474" fmla="*/ 521422 w 1694622"/>
                <a:gd name="connsiteY474" fmla="*/ 123893 h 1047112"/>
                <a:gd name="connsiteX475" fmla="*/ 532885 w 1694622"/>
                <a:gd name="connsiteY475" fmla="*/ 121332 h 1047112"/>
                <a:gd name="connsiteX476" fmla="*/ 507765 w 1694622"/>
                <a:gd name="connsiteY476" fmla="*/ 104138 h 1047112"/>
                <a:gd name="connsiteX477" fmla="*/ 496424 w 1694622"/>
                <a:gd name="connsiteY477" fmla="*/ 104870 h 1047112"/>
                <a:gd name="connsiteX478" fmla="*/ 493620 w 1694622"/>
                <a:gd name="connsiteY478" fmla="*/ 107553 h 1047112"/>
                <a:gd name="connsiteX479" fmla="*/ 481425 w 1694622"/>
                <a:gd name="connsiteY479" fmla="*/ 107553 h 1047112"/>
                <a:gd name="connsiteX480" fmla="*/ 469231 w 1694622"/>
                <a:gd name="connsiteY480" fmla="*/ 105114 h 1047112"/>
                <a:gd name="connsiteX481" fmla="*/ 458988 w 1694622"/>
                <a:gd name="connsiteY481" fmla="*/ 105114 h 1047112"/>
                <a:gd name="connsiteX482" fmla="*/ 439112 w 1694622"/>
                <a:gd name="connsiteY482" fmla="*/ 95236 h 1047112"/>
                <a:gd name="connsiteX483" fmla="*/ 419723 w 1694622"/>
                <a:gd name="connsiteY483" fmla="*/ 91090 h 1047112"/>
                <a:gd name="connsiteX484" fmla="*/ 410943 w 1694622"/>
                <a:gd name="connsiteY484" fmla="*/ 91090 h 1047112"/>
                <a:gd name="connsiteX485" fmla="*/ 378385 w 1694622"/>
                <a:gd name="connsiteY485" fmla="*/ 74141 h 1047112"/>
                <a:gd name="connsiteX486" fmla="*/ 359606 w 1694622"/>
                <a:gd name="connsiteY486" fmla="*/ 75604 h 1047112"/>
                <a:gd name="connsiteX487" fmla="*/ 359606 w 1694622"/>
                <a:gd name="connsiteY487" fmla="*/ 83042 h 1047112"/>
                <a:gd name="connsiteX488" fmla="*/ 345339 w 1694622"/>
                <a:gd name="connsiteY488" fmla="*/ 92554 h 1047112"/>
                <a:gd name="connsiteX489" fmla="*/ 327901 w 1694622"/>
                <a:gd name="connsiteY489" fmla="*/ 91822 h 1047112"/>
                <a:gd name="connsiteX490" fmla="*/ 325096 w 1694622"/>
                <a:gd name="connsiteY490" fmla="*/ 86822 h 1047112"/>
                <a:gd name="connsiteX491" fmla="*/ 330950 w 1694622"/>
                <a:gd name="connsiteY491" fmla="*/ 81213 h 1047112"/>
                <a:gd name="connsiteX492" fmla="*/ 320219 w 1694622"/>
                <a:gd name="connsiteY492" fmla="*/ 77189 h 1047112"/>
                <a:gd name="connsiteX493" fmla="*/ 324974 w 1694622"/>
                <a:gd name="connsiteY493" fmla="*/ 70238 h 1047112"/>
                <a:gd name="connsiteX494" fmla="*/ 327901 w 1694622"/>
                <a:gd name="connsiteY494" fmla="*/ 69019 h 1047112"/>
                <a:gd name="connsiteX495" fmla="*/ 326438 w 1694622"/>
                <a:gd name="connsiteY495" fmla="*/ 65117 h 1047112"/>
                <a:gd name="connsiteX496" fmla="*/ 314243 w 1694622"/>
                <a:gd name="connsiteY496" fmla="*/ 68409 h 1047112"/>
                <a:gd name="connsiteX497" fmla="*/ 315707 w 1694622"/>
                <a:gd name="connsiteY497" fmla="*/ 83042 h 1047112"/>
                <a:gd name="connsiteX498" fmla="*/ 310951 w 1694622"/>
                <a:gd name="connsiteY498" fmla="*/ 83042 h 1047112"/>
                <a:gd name="connsiteX499" fmla="*/ 309488 w 1694622"/>
                <a:gd name="connsiteY499" fmla="*/ 93651 h 1047112"/>
                <a:gd name="connsiteX500" fmla="*/ 294001 w 1694622"/>
                <a:gd name="connsiteY500" fmla="*/ 90603 h 1047112"/>
                <a:gd name="connsiteX501" fmla="*/ 277173 w 1694622"/>
                <a:gd name="connsiteY501" fmla="*/ 77677 h 1047112"/>
                <a:gd name="connsiteX502" fmla="*/ 277173 w 1694622"/>
                <a:gd name="connsiteY502" fmla="*/ 65483 h 1047112"/>
                <a:gd name="connsiteX503" fmla="*/ 255833 w 1694622"/>
                <a:gd name="connsiteY503" fmla="*/ 51215 h 1047112"/>
                <a:gd name="connsiteX504" fmla="*/ 255833 w 1694622"/>
                <a:gd name="connsiteY504" fmla="*/ 53045 h 1047112"/>
                <a:gd name="connsiteX505" fmla="*/ 262174 w 1694622"/>
                <a:gd name="connsiteY505" fmla="*/ 57800 h 1047112"/>
                <a:gd name="connsiteX506" fmla="*/ 259248 w 1694622"/>
                <a:gd name="connsiteY506" fmla="*/ 63044 h 1047112"/>
                <a:gd name="connsiteX507" fmla="*/ 253029 w 1694622"/>
                <a:gd name="connsiteY507" fmla="*/ 63044 h 1047112"/>
                <a:gd name="connsiteX508" fmla="*/ 253029 w 1694622"/>
                <a:gd name="connsiteY508" fmla="*/ 69873 h 1047112"/>
                <a:gd name="connsiteX509" fmla="*/ 233396 w 1694622"/>
                <a:gd name="connsiteY509" fmla="*/ 79262 h 1047112"/>
                <a:gd name="connsiteX510" fmla="*/ 235103 w 1694622"/>
                <a:gd name="connsiteY510" fmla="*/ 73165 h 1047112"/>
                <a:gd name="connsiteX511" fmla="*/ 228762 w 1694622"/>
                <a:gd name="connsiteY511" fmla="*/ 74872 h 1047112"/>
                <a:gd name="connsiteX512" fmla="*/ 209374 w 1694622"/>
                <a:gd name="connsiteY512" fmla="*/ 80725 h 1047112"/>
                <a:gd name="connsiteX513" fmla="*/ 195960 w 1694622"/>
                <a:gd name="connsiteY513" fmla="*/ 91334 h 1047112"/>
                <a:gd name="connsiteX514" fmla="*/ 191448 w 1694622"/>
                <a:gd name="connsiteY514" fmla="*/ 89627 h 1047112"/>
                <a:gd name="connsiteX515" fmla="*/ 170109 w 1694622"/>
                <a:gd name="connsiteY515" fmla="*/ 100846 h 1047112"/>
                <a:gd name="connsiteX516" fmla="*/ 164133 w 1694622"/>
                <a:gd name="connsiteY516" fmla="*/ 108772 h 1047112"/>
                <a:gd name="connsiteX517" fmla="*/ 148525 w 1694622"/>
                <a:gd name="connsiteY517" fmla="*/ 111821 h 1047112"/>
                <a:gd name="connsiteX518" fmla="*/ 146452 w 1694622"/>
                <a:gd name="connsiteY518" fmla="*/ 101334 h 1047112"/>
                <a:gd name="connsiteX519" fmla="*/ 152915 w 1694622"/>
                <a:gd name="connsiteY519" fmla="*/ 98285 h 1047112"/>
                <a:gd name="connsiteX520" fmla="*/ 151573 w 1694622"/>
                <a:gd name="connsiteY520" fmla="*/ 95236 h 1047112"/>
                <a:gd name="connsiteX521" fmla="*/ 165719 w 1694622"/>
                <a:gd name="connsiteY521" fmla="*/ 91456 h 1047112"/>
                <a:gd name="connsiteX522" fmla="*/ 167060 w 1694622"/>
                <a:gd name="connsiteY522" fmla="*/ 85725 h 1047112"/>
                <a:gd name="connsiteX523" fmla="*/ 185473 w 1694622"/>
                <a:gd name="connsiteY523" fmla="*/ 78287 h 1047112"/>
                <a:gd name="connsiteX524" fmla="*/ 195350 w 1694622"/>
                <a:gd name="connsiteY524" fmla="*/ 78287 h 1047112"/>
                <a:gd name="connsiteX525" fmla="*/ 220714 w 1694622"/>
                <a:gd name="connsiteY525" fmla="*/ 67190 h 1047112"/>
                <a:gd name="connsiteX526" fmla="*/ 220714 w 1694622"/>
                <a:gd name="connsiteY526" fmla="*/ 65970 h 1047112"/>
                <a:gd name="connsiteX527" fmla="*/ 212666 w 1694622"/>
                <a:gd name="connsiteY527" fmla="*/ 67312 h 1047112"/>
                <a:gd name="connsiteX528" fmla="*/ 208764 w 1694622"/>
                <a:gd name="connsiteY528" fmla="*/ 65849 h 1047112"/>
                <a:gd name="connsiteX529" fmla="*/ 197911 w 1694622"/>
                <a:gd name="connsiteY529" fmla="*/ 72311 h 1047112"/>
                <a:gd name="connsiteX530" fmla="*/ 190717 w 1694622"/>
                <a:gd name="connsiteY530" fmla="*/ 72311 h 1047112"/>
                <a:gd name="connsiteX531" fmla="*/ 179376 w 1694622"/>
                <a:gd name="connsiteY531" fmla="*/ 79140 h 1047112"/>
                <a:gd name="connsiteX532" fmla="*/ 169377 w 1694622"/>
                <a:gd name="connsiteY532" fmla="*/ 79140 h 1047112"/>
                <a:gd name="connsiteX533" fmla="*/ 154988 w 1694622"/>
                <a:gd name="connsiteY533" fmla="*/ 85481 h 1047112"/>
                <a:gd name="connsiteX534" fmla="*/ 153403 w 1694622"/>
                <a:gd name="connsiteY534" fmla="*/ 90237 h 1047112"/>
                <a:gd name="connsiteX535" fmla="*/ 133770 w 1694622"/>
                <a:gd name="connsiteY535" fmla="*/ 90237 h 1047112"/>
                <a:gd name="connsiteX536" fmla="*/ 136940 w 1694622"/>
                <a:gd name="connsiteY536" fmla="*/ 85359 h 1047112"/>
                <a:gd name="connsiteX537" fmla="*/ 126941 w 1694622"/>
                <a:gd name="connsiteY537" fmla="*/ 83042 h 1047112"/>
                <a:gd name="connsiteX538" fmla="*/ 115845 w 1694622"/>
                <a:gd name="connsiteY538" fmla="*/ 93163 h 1047112"/>
                <a:gd name="connsiteX539" fmla="*/ 108406 w 1694622"/>
                <a:gd name="connsiteY539" fmla="*/ 93163 h 1047112"/>
                <a:gd name="connsiteX540" fmla="*/ 100602 w 1694622"/>
                <a:gd name="connsiteY540" fmla="*/ 97797 h 1047112"/>
                <a:gd name="connsiteX541" fmla="*/ 102187 w 1694622"/>
                <a:gd name="connsiteY541" fmla="*/ 101212 h 1047112"/>
                <a:gd name="connsiteX542" fmla="*/ 116942 w 1694622"/>
                <a:gd name="connsiteY542" fmla="*/ 105601 h 1047112"/>
                <a:gd name="connsiteX543" fmla="*/ 116942 w 1694622"/>
                <a:gd name="connsiteY543" fmla="*/ 113284 h 1047112"/>
                <a:gd name="connsiteX544" fmla="*/ 109260 w 1694622"/>
                <a:gd name="connsiteY544" fmla="*/ 114381 h 1047112"/>
                <a:gd name="connsiteX545" fmla="*/ 109260 w 1694622"/>
                <a:gd name="connsiteY545" fmla="*/ 114381 h 1047112"/>
                <a:gd name="connsiteX546" fmla="*/ 89871 w 1694622"/>
                <a:gd name="connsiteY546" fmla="*/ 111699 h 1047112"/>
                <a:gd name="connsiteX547" fmla="*/ 77677 w 1694622"/>
                <a:gd name="connsiteY547" fmla="*/ 105845 h 1047112"/>
                <a:gd name="connsiteX548" fmla="*/ 61824 w 1694622"/>
                <a:gd name="connsiteY548" fmla="*/ 104016 h 1047112"/>
                <a:gd name="connsiteX549" fmla="*/ 44509 w 1694622"/>
                <a:gd name="connsiteY549" fmla="*/ 96212 h 1047112"/>
                <a:gd name="connsiteX550" fmla="*/ 29388 w 1694622"/>
                <a:gd name="connsiteY550" fmla="*/ 86335 h 1047112"/>
                <a:gd name="connsiteX551" fmla="*/ 6585 w 1694622"/>
                <a:gd name="connsiteY551" fmla="*/ 86335 h 1047112"/>
                <a:gd name="connsiteX552" fmla="*/ 1219 w 1694622"/>
                <a:gd name="connsiteY552" fmla="*/ 84749 h 1047112"/>
                <a:gd name="connsiteX553" fmla="*/ 0 w 1694622"/>
                <a:gd name="connsiteY553" fmla="*/ 84749 h 1047112"/>
                <a:gd name="connsiteX554" fmla="*/ 0 w 1694622"/>
                <a:gd name="connsiteY554" fmla="*/ 451672 h 1047112"/>
                <a:gd name="connsiteX555" fmla="*/ 7560 w 1694622"/>
                <a:gd name="connsiteY555" fmla="*/ 456915 h 1047112"/>
                <a:gd name="connsiteX556" fmla="*/ 15730 w 1694622"/>
                <a:gd name="connsiteY556" fmla="*/ 462525 h 1047112"/>
                <a:gd name="connsiteX557" fmla="*/ 17803 w 1694622"/>
                <a:gd name="connsiteY557" fmla="*/ 455330 h 1047112"/>
                <a:gd name="connsiteX558" fmla="*/ 17803 w 1694622"/>
                <a:gd name="connsiteY558" fmla="*/ 453379 h 1047112"/>
                <a:gd name="connsiteX559" fmla="*/ 19389 w 1694622"/>
                <a:gd name="connsiteY559" fmla="*/ 452038 h 1047112"/>
                <a:gd name="connsiteX560" fmla="*/ 24876 w 1694622"/>
                <a:gd name="connsiteY560" fmla="*/ 448014 h 1047112"/>
                <a:gd name="connsiteX561" fmla="*/ 29510 w 1694622"/>
                <a:gd name="connsiteY561" fmla="*/ 444599 h 1047112"/>
                <a:gd name="connsiteX562" fmla="*/ 33168 w 1694622"/>
                <a:gd name="connsiteY562" fmla="*/ 448989 h 1047112"/>
                <a:gd name="connsiteX563" fmla="*/ 39509 w 1694622"/>
                <a:gd name="connsiteY563" fmla="*/ 456671 h 1047112"/>
                <a:gd name="connsiteX564" fmla="*/ 41216 w 1694622"/>
                <a:gd name="connsiteY564" fmla="*/ 458744 h 1047112"/>
                <a:gd name="connsiteX565" fmla="*/ 41216 w 1694622"/>
                <a:gd name="connsiteY565" fmla="*/ 458744 h 1047112"/>
                <a:gd name="connsiteX566" fmla="*/ 41216 w 1694622"/>
                <a:gd name="connsiteY566" fmla="*/ 458744 h 1047112"/>
                <a:gd name="connsiteX567" fmla="*/ 54508 w 1694622"/>
                <a:gd name="connsiteY567" fmla="*/ 478865 h 1047112"/>
                <a:gd name="connsiteX568" fmla="*/ 71824 w 1694622"/>
                <a:gd name="connsiteY568" fmla="*/ 502765 h 1047112"/>
                <a:gd name="connsiteX569" fmla="*/ 77311 w 1694622"/>
                <a:gd name="connsiteY569" fmla="*/ 502765 h 1047112"/>
                <a:gd name="connsiteX570" fmla="*/ 90847 w 1694622"/>
                <a:gd name="connsiteY570" fmla="*/ 487523 h 1047112"/>
                <a:gd name="connsiteX571" fmla="*/ 92066 w 1694622"/>
                <a:gd name="connsiteY571" fmla="*/ 486181 h 1047112"/>
                <a:gd name="connsiteX572" fmla="*/ 93895 w 1694622"/>
                <a:gd name="connsiteY572" fmla="*/ 486181 h 1047112"/>
                <a:gd name="connsiteX573" fmla="*/ 107431 w 1694622"/>
                <a:gd name="connsiteY573" fmla="*/ 482767 h 1047112"/>
                <a:gd name="connsiteX574" fmla="*/ 110235 w 1694622"/>
                <a:gd name="connsiteY574" fmla="*/ 482767 h 1047112"/>
                <a:gd name="connsiteX575" fmla="*/ 112552 w 1694622"/>
                <a:gd name="connsiteY575" fmla="*/ 484474 h 1047112"/>
                <a:gd name="connsiteX576" fmla="*/ 121820 w 1694622"/>
                <a:gd name="connsiteY576" fmla="*/ 491425 h 1047112"/>
                <a:gd name="connsiteX577" fmla="*/ 126575 w 1694622"/>
                <a:gd name="connsiteY577" fmla="*/ 494961 h 1047112"/>
                <a:gd name="connsiteX578" fmla="*/ 127551 w 1694622"/>
                <a:gd name="connsiteY578" fmla="*/ 495693 h 1047112"/>
                <a:gd name="connsiteX579" fmla="*/ 127551 w 1694622"/>
                <a:gd name="connsiteY579" fmla="*/ 496790 h 1047112"/>
                <a:gd name="connsiteX580" fmla="*/ 135843 w 1694622"/>
                <a:gd name="connsiteY580" fmla="*/ 511423 h 1047112"/>
                <a:gd name="connsiteX581" fmla="*/ 142062 w 1694622"/>
                <a:gd name="connsiteY581" fmla="*/ 522154 h 1047112"/>
                <a:gd name="connsiteX582" fmla="*/ 154256 w 1694622"/>
                <a:gd name="connsiteY582" fmla="*/ 530690 h 1047112"/>
                <a:gd name="connsiteX583" fmla="*/ 155719 w 1694622"/>
                <a:gd name="connsiteY583" fmla="*/ 531666 h 1047112"/>
                <a:gd name="connsiteX584" fmla="*/ 155719 w 1694622"/>
                <a:gd name="connsiteY584" fmla="*/ 533251 h 1047112"/>
                <a:gd name="connsiteX585" fmla="*/ 180108 w 1694622"/>
                <a:gd name="connsiteY585" fmla="*/ 588734 h 1047112"/>
                <a:gd name="connsiteX586" fmla="*/ 194253 w 1694622"/>
                <a:gd name="connsiteY586" fmla="*/ 602879 h 1047112"/>
                <a:gd name="connsiteX587" fmla="*/ 219373 w 1694622"/>
                <a:gd name="connsiteY587" fmla="*/ 618976 h 1047112"/>
                <a:gd name="connsiteX588" fmla="*/ 222787 w 1694622"/>
                <a:gd name="connsiteY588" fmla="*/ 621293 h 1047112"/>
                <a:gd name="connsiteX589" fmla="*/ 222056 w 1694622"/>
                <a:gd name="connsiteY589" fmla="*/ 625317 h 1047112"/>
                <a:gd name="connsiteX590" fmla="*/ 218641 w 1694622"/>
                <a:gd name="connsiteY590" fmla="*/ 642145 h 1047112"/>
                <a:gd name="connsiteX591" fmla="*/ 220348 w 1694622"/>
                <a:gd name="connsiteY591" fmla="*/ 655802 h 1047112"/>
                <a:gd name="connsiteX592" fmla="*/ 220348 w 1694622"/>
                <a:gd name="connsiteY592" fmla="*/ 658241 h 1047112"/>
                <a:gd name="connsiteX593" fmla="*/ 218885 w 1694622"/>
                <a:gd name="connsiteY593" fmla="*/ 660192 h 1047112"/>
                <a:gd name="connsiteX594" fmla="*/ 216202 w 1694622"/>
                <a:gd name="connsiteY594" fmla="*/ 663850 h 1047112"/>
                <a:gd name="connsiteX595" fmla="*/ 214983 w 1694622"/>
                <a:gd name="connsiteY595" fmla="*/ 665557 h 1047112"/>
                <a:gd name="connsiteX596" fmla="*/ 212666 w 1694622"/>
                <a:gd name="connsiteY596" fmla="*/ 668606 h 1047112"/>
                <a:gd name="connsiteX597" fmla="*/ 212666 w 1694622"/>
                <a:gd name="connsiteY597" fmla="*/ 668606 h 1047112"/>
                <a:gd name="connsiteX598" fmla="*/ 211813 w 1694622"/>
                <a:gd name="connsiteY598" fmla="*/ 676898 h 1047112"/>
                <a:gd name="connsiteX599" fmla="*/ 214495 w 1694622"/>
                <a:gd name="connsiteY599" fmla="*/ 693482 h 1047112"/>
                <a:gd name="connsiteX600" fmla="*/ 218519 w 1694622"/>
                <a:gd name="connsiteY600" fmla="*/ 703969 h 1047112"/>
                <a:gd name="connsiteX601" fmla="*/ 224738 w 1694622"/>
                <a:gd name="connsiteY601" fmla="*/ 708115 h 1047112"/>
                <a:gd name="connsiteX602" fmla="*/ 228275 w 1694622"/>
                <a:gd name="connsiteY602" fmla="*/ 703481 h 1047112"/>
                <a:gd name="connsiteX603" fmla="*/ 237055 w 1694622"/>
                <a:gd name="connsiteY603" fmla="*/ 701286 h 1047112"/>
                <a:gd name="connsiteX604" fmla="*/ 238884 w 1694622"/>
                <a:gd name="connsiteY604" fmla="*/ 719090 h 1047112"/>
                <a:gd name="connsiteX605" fmla="*/ 233030 w 1694622"/>
                <a:gd name="connsiteY605" fmla="*/ 723480 h 1047112"/>
                <a:gd name="connsiteX606" fmla="*/ 233030 w 1694622"/>
                <a:gd name="connsiteY606" fmla="*/ 729333 h 1047112"/>
                <a:gd name="connsiteX607" fmla="*/ 240835 w 1694622"/>
                <a:gd name="connsiteY607" fmla="*/ 731528 h 1047112"/>
                <a:gd name="connsiteX608" fmla="*/ 252175 w 1694622"/>
                <a:gd name="connsiteY608" fmla="*/ 728357 h 104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</a:cxnLst>
              <a:rect l="l" t="t" r="r" b="b"/>
              <a:pathLst>
                <a:path w="1694622" h="1047112">
                  <a:moveTo>
                    <a:pt x="255955" y="740308"/>
                  </a:moveTo>
                  <a:lnTo>
                    <a:pt x="260345" y="749209"/>
                  </a:lnTo>
                  <a:lnTo>
                    <a:pt x="259004" y="765062"/>
                  </a:lnTo>
                  <a:lnTo>
                    <a:pt x="261565" y="779451"/>
                  </a:lnTo>
                  <a:lnTo>
                    <a:pt x="270345" y="784451"/>
                  </a:lnTo>
                  <a:lnTo>
                    <a:pt x="289367" y="788840"/>
                  </a:lnTo>
                  <a:lnTo>
                    <a:pt x="296318" y="799937"/>
                  </a:lnTo>
                  <a:lnTo>
                    <a:pt x="309854" y="799937"/>
                  </a:lnTo>
                  <a:lnTo>
                    <a:pt x="319365" y="804693"/>
                  </a:lnTo>
                  <a:lnTo>
                    <a:pt x="326316" y="816887"/>
                  </a:lnTo>
                  <a:lnTo>
                    <a:pt x="337900" y="819814"/>
                  </a:lnTo>
                  <a:lnTo>
                    <a:pt x="341924" y="830788"/>
                  </a:lnTo>
                  <a:lnTo>
                    <a:pt x="348631" y="830788"/>
                  </a:lnTo>
                  <a:lnTo>
                    <a:pt x="360825" y="846885"/>
                  </a:lnTo>
                  <a:lnTo>
                    <a:pt x="366678" y="850177"/>
                  </a:lnTo>
                  <a:lnTo>
                    <a:pt x="923708" y="850177"/>
                  </a:lnTo>
                  <a:lnTo>
                    <a:pt x="925171" y="851153"/>
                  </a:lnTo>
                  <a:lnTo>
                    <a:pt x="941023" y="861762"/>
                  </a:lnTo>
                  <a:lnTo>
                    <a:pt x="962729" y="865786"/>
                  </a:lnTo>
                  <a:lnTo>
                    <a:pt x="963461" y="865786"/>
                  </a:lnTo>
                  <a:lnTo>
                    <a:pt x="963461" y="865786"/>
                  </a:lnTo>
                  <a:lnTo>
                    <a:pt x="965412" y="866639"/>
                  </a:lnTo>
                  <a:lnTo>
                    <a:pt x="980776" y="873712"/>
                  </a:lnTo>
                  <a:lnTo>
                    <a:pt x="1003580" y="872371"/>
                  </a:lnTo>
                  <a:lnTo>
                    <a:pt x="1004555" y="872371"/>
                  </a:lnTo>
                  <a:lnTo>
                    <a:pt x="1005531" y="872371"/>
                  </a:lnTo>
                  <a:lnTo>
                    <a:pt x="1017725" y="875663"/>
                  </a:lnTo>
                  <a:lnTo>
                    <a:pt x="1020042" y="876395"/>
                  </a:lnTo>
                  <a:lnTo>
                    <a:pt x="1029309" y="875663"/>
                  </a:lnTo>
                  <a:lnTo>
                    <a:pt x="1056990" y="873590"/>
                  </a:lnTo>
                  <a:lnTo>
                    <a:pt x="1059551" y="873590"/>
                  </a:lnTo>
                  <a:lnTo>
                    <a:pt x="1061014" y="874443"/>
                  </a:lnTo>
                  <a:lnTo>
                    <a:pt x="1084305" y="886638"/>
                  </a:lnTo>
                  <a:lnTo>
                    <a:pt x="1122351" y="906514"/>
                  </a:lnTo>
                  <a:lnTo>
                    <a:pt x="1124058" y="907490"/>
                  </a:lnTo>
                  <a:lnTo>
                    <a:pt x="1124911" y="909197"/>
                  </a:lnTo>
                  <a:lnTo>
                    <a:pt x="1132106" y="923586"/>
                  </a:lnTo>
                  <a:lnTo>
                    <a:pt x="1138569" y="935780"/>
                  </a:lnTo>
                  <a:lnTo>
                    <a:pt x="1157592" y="955535"/>
                  </a:lnTo>
                  <a:lnTo>
                    <a:pt x="1174420" y="973094"/>
                  </a:lnTo>
                  <a:lnTo>
                    <a:pt x="1176005" y="974680"/>
                  </a:lnTo>
                  <a:lnTo>
                    <a:pt x="1176005" y="976996"/>
                  </a:lnTo>
                  <a:lnTo>
                    <a:pt x="1177346" y="1001385"/>
                  </a:lnTo>
                  <a:lnTo>
                    <a:pt x="1177346" y="1002604"/>
                  </a:lnTo>
                  <a:lnTo>
                    <a:pt x="1177346" y="1003702"/>
                  </a:lnTo>
                  <a:lnTo>
                    <a:pt x="1173078" y="1015896"/>
                  </a:lnTo>
                  <a:lnTo>
                    <a:pt x="1167103" y="1034065"/>
                  </a:lnTo>
                  <a:lnTo>
                    <a:pt x="1170396" y="1043455"/>
                  </a:lnTo>
                  <a:lnTo>
                    <a:pt x="1171737" y="1047113"/>
                  </a:lnTo>
                  <a:lnTo>
                    <a:pt x="1229415" y="1020530"/>
                  </a:lnTo>
                  <a:lnTo>
                    <a:pt x="1233683" y="1010164"/>
                  </a:lnTo>
                  <a:lnTo>
                    <a:pt x="1235512" y="1005896"/>
                  </a:lnTo>
                  <a:lnTo>
                    <a:pt x="1236976" y="1002360"/>
                  </a:lnTo>
                  <a:lnTo>
                    <a:pt x="1240634" y="1002360"/>
                  </a:lnTo>
                  <a:lnTo>
                    <a:pt x="1283557" y="999068"/>
                  </a:lnTo>
                  <a:lnTo>
                    <a:pt x="1307946" y="967119"/>
                  </a:lnTo>
                  <a:lnTo>
                    <a:pt x="1307946" y="967119"/>
                  </a:lnTo>
                  <a:lnTo>
                    <a:pt x="1307946" y="967119"/>
                  </a:lnTo>
                  <a:lnTo>
                    <a:pt x="1318798" y="957730"/>
                  </a:lnTo>
                  <a:lnTo>
                    <a:pt x="1320506" y="956266"/>
                  </a:lnTo>
                  <a:lnTo>
                    <a:pt x="1340016" y="956266"/>
                  </a:lnTo>
                  <a:lnTo>
                    <a:pt x="1346479" y="956266"/>
                  </a:lnTo>
                  <a:lnTo>
                    <a:pt x="1350747" y="955413"/>
                  </a:lnTo>
                  <a:lnTo>
                    <a:pt x="1351723" y="955413"/>
                  </a:lnTo>
                  <a:lnTo>
                    <a:pt x="1383184" y="954437"/>
                  </a:lnTo>
                  <a:lnTo>
                    <a:pt x="1392573" y="938097"/>
                  </a:lnTo>
                  <a:lnTo>
                    <a:pt x="1410377" y="904563"/>
                  </a:lnTo>
                  <a:lnTo>
                    <a:pt x="1403914" y="907246"/>
                  </a:lnTo>
                  <a:lnTo>
                    <a:pt x="1392817" y="920294"/>
                  </a:lnTo>
                  <a:lnTo>
                    <a:pt x="1385013" y="917123"/>
                  </a:lnTo>
                  <a:lnTo>
                    <a:pt x="1389281" y="895783"/>
                  </a:lnTo>
                  <a:lnTo>
                    <a:pt x="1405743" y="883589"/>
                  </a:lnTo>
                  <a:lnTo>
                    <a:pt x="1409645" y="876882"/>
                  </a:lnTo>
                  <a:lnTo>
                    <a:pt x="1422693" y="864688"/>
                  </a:lnTo>
                  <a:lnTo>
                    <a:pt x="1434887" y="844202"/>
                  </a:lnTo>
                  <a:lnTo>
                    <a:pt x="1460861" y="839568"/>
                  </a:lnTo>
                  <a:lnTo>
                    <a:pt x="1461714" y="830788"/>
                  </a:lnTo>
                  <a:lnTo>
                    <a:pt x="1470860" y="824691"/>
                  </a:lnTo>
                  <a:lnTo>
                    <a:pt x="1483664" y="809936"/>
                  </a:lnTo>
                  <a:lnTo>
                    <a:pt x="1498662" y="811034"/>
                  </a:lnTo>
                  <a:lnTo>
                    <a:pt x="1501345" y="813717"/>
                  </a:lnTo>
                  <a:lnTo>
                    <a:pt x="1530489" y="811034"/>
                  </a:lnTo>
                  <a:lnTo>
                    <a:pt x="1547195" y="807010"/>
                  </a:lnTo>
                  <a:lnTo>
                    <a:pt x="1557682" y="812741"/>
                  </a:lnTo>
                  <a:lnTo>
                    <a:pt x="1575364" y="809936"/>
                  </a:lnTo>
                  <a:lnTo>
                    <a:pt x="1587558" y="812863"/>
                  </a:lnTo>
                  <a:lnTo>
                    <a:pt x="1607556" y="812863"/>
                  </a:lnTo>
                  <a:lnTo>
                    <a:pt x="1620726" y="805790"/>
                  </a:lnTo>
                  <a:lnTo>
                    <a:pt x="1634018" y="781402"/>
                  </a:lnTo>
                  <a:lnTo>
                    <a:pt x="1649260" y="773354"/>
                  </a:lnTo>
                  <a:lnTo>
                    <a:pt x="1672429" y="768720"/>
                  </a:lnTo>
                  <a:lnTo>
                    <a:pt x="1688404" y="755550"/>
                  </a:lnTo>
                  <a:lnTo>
                    <a:pt x="1691696" y="754697"/>
                  </a:lnTo>
                  <a:lnTo>
                    <a:pt x="1694623" y="747990"/>
                  </a:lnTo>
                  <a:lnTo>
                    <a:pt x="1687062" y="732747"/>
                  </a:lnTo>
                  <a:lnTo>
                    <a:pt x="1693769" y="722138"/>
                  </a:lnTo>
                  <a:lnTo>
                    <a:pt x="1689501" y="705188"/>
                  </a:lnTo>
                  <a:lnTo>
                    <a:pt x="1674502" y="699335"/>
                  </a:lnTo>
                  <a:lnTo>
                    <a:pt x="1659503" y="708969"/>
                  </a:lnTo>
                  <a:lnTo>
                    <a:pt x="1657918" y="699701"/>
                  </a:lnTo>
                  <a:lnTo>
                    <a:pt x="1661211" y="687507"/>
                  </a:lnTo>
                  <a:lnTo>
                    <a:pt x="1653040" y="686775"/>
                  </a:lnTo>
                  <a:lnTo>
                    <a:pt x="1636335" y="696531"/>
                  </a:lnTo>
                  <a:lnTo>
                    <a:pt x="1634139" y="701896"/>
                  </a:lnTo>
                  <a:lnTo>
                    <a:pt x="1627799" y="701896"/>
                  </a:lnTo>
                  <a:lnTo>
                    <a:pt x="1611580" y="715188"/>
                  </a:lnTo>
                  <a:lnTo>
                    <a:pt x="1599386" y="714090"/>
                  </a:lnTo>
                  <a:lnTo>
                    <a:pt x="1595484" y="697018"/>
                  </a:lnTo>
                  <a:lnTo>
                    <a:pt x="1606459" y="699457"/>
                  </a:lnTo>
                  <a:lnTo>
                    <a:pt x="1618653" y="692263"/>
                  </a:lnTo>
                  <a:lnTo>
                    <a:pt x="1641700" y="678849"/>
                  </a:lnTo>
                  <a:lnTo>
                    <a:pt x="1660479" y="672630"/>
                  </a:lnTo>
                  <a:lnTo>
                    <a:pt x="1661576" y="668240"/>
                  </a:lnTo>
                  <a:lnTo>
                    <a:pt x="1647065" y="664826"/>
                  </a:lnTo>
                  <a:lnTo>
                    <a:pt x="1638529" y="658241"/>
                  </a:lnTo>
                  <a:lnTo>
                    <a:pt x="1624384" y="652876"/>
                  </a:lnTo>
                  <a:lnTo>
                    <a:pt x="1615604" y="655802"/>
                  </a:lnTo>
                  <a:lnTo>
                    <a:pt x="1602557" y="647144"/>
                  </a:lnTo>
                  <a:lnTo>
                    <a:pt x="1601581" y="638121"/>
                  </a:lnTo>
                  <a:lnTo>
                    <a:pt x="1592679" y="623000"/>
                  </a:lnTo>
                  <a:lnTo>
                    <a:pt x="1583900" y="619098"/>
                  </a:lnTo>
                  <a:lnTo>
                    <a:pt x="1582924" y="615318"/>
                  </a:lnTo>
                  <a:lnTo>
                    <a:pt x="1570730" y="610562"/>
                  </a:lnTo>
                  <a:lnTo>
                    <a:pt x="1569632" y="590929"/>
                  </a:lnTo>
                  <a:lnTo>
                    <a:pt x="1578900" y="585320"/>
                  </a:lnTo>
                  <a:lnTo>
                    <a:pt x="1577559" y="579467"/>
                  </a:lnTo>
                  <a:lnTo>
                    <a:pt x="1569023" y="576662"/>
                  </a:lnTo>
                  <a:lnTo>
                    <a:pt x="1565121" y="554469"/>
                  </a:lnTo>
                  <a:lnTo>
                    <a:pt x="1551585" y="542275"/>
                  </a:lnTo>
                  <a:lnTo>
                    <a:pt x="1553414" y="530080"/>
                  </a:lnTo>
                  <a:lnTo>
                    <a:pt x="1543171" y="524593"/>
                  </a:lnTo>
                  <a:lnTo>
                    <a:pt x="1543171" y="507033"/>
                  </a:lnTo>
                  <a:lnTo>
                    <a:pt x="1536099" y="507033"/>
                  </a:lnTo>
                  <a:lnTo>
                    <a:pt x="1531099" y="482645"/>
                  </a:lnTo>
                  <a:lnTo>
                    <a:pt x="1521709" y="474231"/>
                  </a:lnTo>
                  <a:lnTo>
                    <a:pt x="1517929" y="456671"/>
                  </a:lnTo>
                  <a:lnTo>
                    <a:pt x="1515978" y="455818"/>
                  </a:lnTo>
                  <a:lnTo>
                    <a:pt x="1514027" y="454964"/>
                  </a:lnTo>
                  <a:lnTo>
                    <a:pt x="1508662" y="464232"/>
                  </a:lnTo>
                  <a:lnTo>
                    <a:pt x="1508662" y="473255"/>
                  </a:lnTo>
                  <a:lnTo>
                    <a:pt x="1501223" y="478865"/>
                  </a:lnTo>
                  <a:lnTo>
                    <a:pt x="1503052" y="494351"/>
                  </a:lnTo>
                  <a:lnTo>
                    <a:pt x="1493175" y="517886"/>
                  </a:lnTo>
                  <a:lnTo>
                    <a:pt x="1484395" y="526788"/>
                  </a:lnTo>
                  <a:lnTo>
                    <a:pt x="1482932" y="518496"/>
                  </a:lnTo>
                  <a:lnTo>
                    <a:pt x="1479274" y="518496"/>
                  </a:lnTo>
                  <a:lnTo>
                    <a:pt x="1473664" y="519837"/>
                  </a:lnTo>
                  <a:lnTo>
                    <a:pt x="1473664" y="529836"/>
                  </a:lnTo>
                  <a:lnTo>
                    <a:pt x="1463543" y="535934"/>
                  </a:lnTo>
                  <a:lnTo>
                    <a:pt x="1455861" y="544713"/>
                  </a:lnTo>
                  <a:lnTo>
                    <a:pt x="1443667" y="536299"/>
                  </a:lnTo>
                  <a:lnTo>
                    <a:pt x="1443667" y="526666"/>
                  </a:lnTo>
                  <a:lnTo>
                    <a:pt x="1427814" y="510692"/>
                  </a:lnTo>
                  <a:lnTo>
                    <a:pt x="1418425" y="519227"/>
                  </a:lnTo>
                  <a:lnTo>
                    <a:pt x="1404523" y="522642"/>
                  </a:lnTo>
                  <a:lnTo>
                    <a:pt x="1402694" y="515325"/>
                  </a:lnTo>
                  <a:lnTo>
                    <a:pt x="1416840" y="506302"/>
                  </a:lnTo>
                  <a:lnTo>
                    <a:pt x="1419400" y="501912"/>
                  </a:lnTo>
                  <a:lnTo>
                    <a:pt x="1415864" y="499595"/>
                  </a:lnTo>
                  <a:lnTo>
                    <a:pt x="1408791" y="499595"/>
                  </a:lnTo>
                  <a:lnTo>
                    <a:pt x="1408182" y="498619"/>
                  </a:lnTo>
                  <a:cubicBezTo>
                    <a:pt x="1407303" y="497471"/>
                    <a:pt x="1406527" y="496247"/>
                    <a:pt x="1405865" y="494961"/>
                  </a:cubicBezTo>
                  <a:cubicBezTo>
                    <a:pt x="1404402" y="492035"/>
                    <a:pt x="1405011" y="491181"/>
                    <a:pt x="1405865" y="490571"/>
                  </a:cubicBezTo>
                  <a:lnTo>
                    <a:pt x="1405865" y="490571"/>
                  </a:lnTo>
                  <a:cubicBezTo>
                    <a:pt x="1406106" y="490525"/>
                    <a:pt x="1406355" y="490525"/>
                    <a:pt x="1406596" y="490571"/>
                  </a:cubicBezTo>
                  <a:lnTo>
                    <a:pt x="1406597" y="490571"/>
                  </a:lnTo>
                  <a:lnTo>
                    <a:pt x="1408548" y="490571"/>
                  </a:lnTo>
                  <a:cubicBezTo>
                    <a:pt x="1408548" y="490571"/>
                    <a:pt x="1409523" y="490571"/>
                    <a:pt x="1410133" y="490571"/>
                  </a:cubicBezTo>
                  <a:lnTo>
                    <a:pt x="1410864" y="490571"/>
                  </a:lnTo>
                  <a:cubicBezTo>
                    <a:pt x="1412048" y="489834"/>
                    <a:pt x="1413151" y="488976"/>
                    <a:pt x="1414157" y="488010"/>
                  </a:cubicBezTo>
                  <a:lnTo>
                    <a:pt x="1413425" y="480328"/>
                  </a:lnTo>
                  <a:lnTo>
                    <a:pt x="1404889" y="471792"/>
                  </a:lnTo>
                  <a:lnTo>
                    <a:pt x="1413303" y="463500"/>
                  </a:lnTo>
                  <a:lnTo>
                    <a:pt x="1413181" y="443502"/>
                  </a:lnTo>
                  <a:lnTo>
                    <a:pt x="1419888" y="437770"/>
                  </a:lnTo>
                  <a:lnTo>
                    <a:pt x="1419888" y="429966"/>
                  </a:lnTo>
                  <a:lnTo>
                    <a:pt x="1414645" y="428625"/>
                  </a:lnTo>
                  <a:lnTo>
                    <a:pt x="1408182" y="431917"/>
                  </a:lnTo>
                  <a:lnTo>
                    <a:pt x="1408182" y="431917"/>
                  </a:lnTo>
                  <a:lnTo>
                    <a:pt x="1402938" y="425698"/>
                  </a:lnTo>
                  <a:lnTo>
                    <a:pt x="1378550" y="424723"/>
                  </a:lnTo>
                  <a:lnTo>
                    <a:pt x="1371843" y="413626"/>
                  </a:lnTo>
                  <a:lnTo>
                    <a:pt x="1373550" y="404236"/>
                  </a:lnTo>
                  <a:lnTo>
                    <a:pt x="1365868" y="401676"/>
                  </a:lnTo>
                  <a:lnTo>
                    <a:pt x="1360990" y="387896"/>
                  </a:lnTo>
                  <a:lnTo>
                    <a:pt x="1350869" y="384238"/>
                  </a:lnTo>
                  <a:lnTo>
                    <a:pt x="1345992" y="377409"/>
                  </a:lnTo>
                  <a:lnTo>
                    <a:pt x="1336602" y="371434"/>
                  </a:lnTo>
                  <a:lnTo>
                    <a:pt x="1320506" y="373141"/>
                  </a:lnTo>
                  <a:lnTo>
                    <a:pt x="1315628" y="381921"/>
                  </a:lnTo>
                  <a:lnTo>
                    <a:pt x="1304775" y="380824"/>
                  </a:lnTo>
                  <a:lnTo>
                    <a:pt x="1287338" y="379848"/>
                  </a:lnTo>
                  <a:lnTo>
                    <a:pt x="1271363" y="369849"/>
                  </a:lnTo>
                  <a:lnTo>
                    <a:pt x="1267217" y="365703"/>
                  </a:lnTo>
                  <a:lnTo>
                    <a:pt x="1256486" y="365703"/>
                  </a:lnTo>
                  <a:lnTo>
                    <a:pt x="1251243" y="369361"/>
                  </a:lnTo>
                  <a:lnTo>
                    <a:pt x="1251243" y="392164"/>
                  </a:lnTo>
                  <a:lnTo>
                    <a:pt x="1262705" y="405456"/>
                  </a:lnTo>
                  <a:lnTo>
                    <a:pt x="1261608" y="421430"/>
                  </a:lnTo>
                  <a:lnTo>
                    <a:pt x="1252828" y="428015"/>
                  </a:lnTo>
                  <a:lnTo>
                    <a:pt x="1249170" y="428015"/>
                  </a:lnTo>
                  <a:lnTo>
                    <a:pt x="1250999" y="432771"/>
                  </a:lnTo>
                  <a:lnTo>
                    <a:pt x="1258681" y="442404"/>
                  </a:lnTo>
                  <a:lnTo>
                    <a:pt x="1261608" y="457769"/>
                  </a:lnTo>
                  <a:lnTo>
                    <a:pt x="1266486" y="467646"/>
                  </a:lnTo>
                  <a:lnTo>
                    <a:pt x="1262462" y="483011"/>
                  </a:lnTo>
                  <a:lnTo>
                    <a:pt x="1252096" y="495205"/>
                  </a:lnTo>
                  <a:lnTo>
                    <a:pt x="1251243" y="502765"/>
                  </a:lnTo>
                  <a:lnTo>
                    <a:pt x="1243804" y="512887"/>
                  </a:lnTo>
                  <a:lnTo>
                    <a:pt x="1244536" y="522642"/>
                  </a:lnTo>
                  <a:lnTo>
                    <a:pt x="1275631" y="551786"/>
                  </a:lnTo>
                  <a:lnTo>
                    <a:pt x="1284411" y="588368"/>
                  </a:lnTo>
                  <a:lnTo>
                    <a:pt x="1279046" y="623122"/>
                  </a:lnTo>
                  <a:lnTo>
                    <a:pt x="1266851" y="633853"/>
                  </a:lnTo>
                  <a:lnTo>
                    <a:pt x="1262827" y="640559"/>
                  </a:lnTo>
                  <a:lnTo>
                    <a:pt x="1252218" y="651168"/>
                  </a:lnTo>
                  <a:lnTo>
                    <a:pt x="1242341" y="655680"/>
                  </a:lnTo>
                  <a:lnTo>
                    <a:pt x="1240390" y="663728"/>
                  </a:lnTo>
                  <a:lnTo>
                    <a:pt x="1228196" y="664704"/>
                  </a:lnTo>
                  <a:lnTo>
                    <a:pt x="1225635" y="669947"/>
                  </a:lnTo>
                  <a:lnTo>
                    <a:pt x="1234537" y="680678"/>
                  </a:lnTo>
                  <a:lnTo>
                    <a:pt x="1237463" y="699579"/>
                  </a:lnTo>
                  <a:lnTo>
                    <a:pt x="1237463" y="721773"/>
                  </a:lnTo>
                  <a:lnTo>
                    <a:pt x="1241975" y="732503"/>
                  </a:lnTo>
                  <a:lnTo>
                    <a:pt x="1247950" y="741527"/>
                  </a:lnTo>
                  <a:lnTo>
                    <a:pt x="1247341" y="751770"/>
                  </a:lnTo>
                  <a:lnTo>
                    <a:pt x="1238805" y="764696"/>
                  </a:lnTo>
                  <a:lnTo>
                    <a:pt x="1235147" y="779329"/>
                  </a:lnTo>
                  <a:lnTo>
                    <a:pt x="1226123" y="770305"/>
                  </a:lnTo>
                  <a:lnTo>
                    <a:pt x="1220758" y="782499"/>
                  </a:lnTo>
                  <a:lnTo>
                    <a:pt x="1220758" y="782499"/>
                  </a:lnTo>
                  <a:lnTo>
                    <a:pt x="1213685" y="778963"/>
                  </a:lnTo>
                  <a:lnTo>
                    <a:pt x="1201491" y="780670"/>
                  </a:lnTo>
                  <a:lnTo>
                    <a:pt x="1203198" y="770183"/>
                  </a:lnTo>
                  <a:lnTo>
                    <a:pt x="1192833" y="754575"/>
                  </a:lnTo>
                  <a:lnTo>
                    <a:pt x="1182102" y="751404"/>
                  </a:lnTo>
                  <a:lnTo>
                    <a:pt x="1182102" y="743722"/>
                  </a:lnTo>
                  <a:lnTo>
                    <a:pt x="1169908" y="732381"/>
                  </a:lnTo>
                  <a:lnTo>
                    <a:pt x="1169908" y="723602"/>
                  </a:lnTo>
                  <a:lnTo>
                    <a:pt x="1174176" y="717870"/>
                  </a:lnTo>
                  <a:lnTo>
                    <a:pt x="1175517" y="692019"/>
                  </a:lnTo>
                  <a:lnTo>
                    <a:pt x="1171371" y="679825"/>
                  </a:lnTo>
                  <a:lnTo>
                    <a:pt x="1172712" y="652144"/>
                  </a:lnTo>
                  <a:lnTo>
                    <a:pt x="1164421" y="646291"/>
                  </a:lnTo>
                  <a:lnTo>
                    <a:pt x="1147958" y="648973"/>
                  </a:lnTo>
                  <a:lnTo>
                    <a:pt x="1147958" y="648973"/>
                  </a:lnTo>
                  <a:lnTo>
                    <a:pt x="1139057" y="648242"/>
                  </a:lnTo>
                  <a:lnTo>
                    <a:pt x="1130155" y="647510"/>
                  </a:lnTo>
                  <a:lnTo>
                    <a:pt x="1121741" y="641901"/>
                  </a:lnTo>
                  <a:lnTo>
                    <a:pt x="1105766" y="640437"/>
                  </a:lnTo>
                  <a:lnTo>
                    <a:pt x="1094426" y="627634"/>
                  </a:lnTo>
                  <a:lnTo>
                    <a:pt x="1074915" y="624829"/>
                  </a:lnTo>
                  <a:lnTo>
                    <a:pt x="1062721" y="617025"/>
                  </a:lnTo>
                  <a:lnTo>
                    <a:pt x="1059916" y="603123"/>
                  </a:lnTo>
                  <a:lnTo>
                    <a:pt x="1057234" y="602148"/>
                  </a:lnTo>
                  <a:lnTo>
                    <a:pt x="1051137" y="602148"/>
                  </a:lnTo>
                  <a:lnTo>
                    <a:pt x="1038942" y="593246"/>
                  </a:lnTo>
                  <a:lnTo>
                    <a:pt x="1016993" y="579589"/>
                  </a:lnTo>
                  <a:lnTo>
                    <a:pt x="1008579" y="579589"/>
                  </a:lnTo>
                  <a:lnTo>
                    <a:pt x="1002848" y="576662"/>
                  </a:lnTo>
                  <a:lnTo>
                    <a:pt x="986386" y="576662"/>
                  </a:lnTo>
                  <a:lnTo>
                    <a:pt x="966265" y="584466"/>
                  </a:lnTo>
                  <a:lnTo>
                    <a:pt x="963948" y="577516"/>
                  </a:lnTo>
                  <a:lnTo>
                    <a:pt x="968094" y="562151"/>
                  </a:lnTo>
                  <a:lnTo>
                    <a:pt x="959803" y="548372"/>
                  </a:lnTo>
                  <a:lnTo>
                    <a:pt x="954315" y="520935"/>
                  </a:lnTo>
                  <a:lnTo>
                    <a:pt x="945779" y="518496"/>
                  </a:lnTo>
                  <a:lnTo>
                    <a:pt x="932488" y="517032"/>
                  </a:lnTo>
                  <a:lnTo>
                    <a:pt x="918586" y="501668"/>
                  </a:lnTo>
                  <a:lnTo>
                    <a:pt x="918586" y="478499"/>
                  </a:lnTo>
                  <a:lnTo>
                    <a:pt x="920049" y="474231"/>
                  </a:lnTo>
                  <a:lnTo>
                    <a:pt x="921513" y="441307"/>
                  </a:lnTo>
                  <a:lnTo>
                    <a:pt x="931512" y="425576"/>
                  </a:lnTo>
                  <a:lnTo>
                    <a:pt x="937243" y="402651"/>
                  </a:lnTo>
                  <a:lnTo>
                    <a:pt x="945657" y="394237"/>
                  </a:lnTo>
                  <a:lnTo>
                    <a:pt x="947120" y="382043"/>
                  </a:lnTo>
                  <a:lnTo>
                    <a:pt x="956144" y="380580"/>
                  </a:lnTo>
                  <a:lnTo>
                    <a:pt x="961632" y="368386"/>
                  </a:lnTo>
                  <a:lnTo>
                    <a:pt x="972119" y="363142"/>
                  </a:lnTo>
                  <a:lnTo>
                    <a:pt x="967973" y="348021"/>
                  </a:lnTo>
                  <a:lnTo>
                    <a:pt x="976021" y="340095"/>
                  </a:lnTo>
                  <a:lnTo>
                    <a:pt x="981142" y="345217"/>
                  </a:lnTo>
                  <a:lnTo>
                    <a:pt x="986386" y="345217"/>
                  </a:lnTo>
                  <a:lnTo>
                    <a:pt x="1001628" y="340095"/>
                  </a:lnTo>
                  <a:lnTo>
                    <a:pt x="1001628" y="333754"/>
                  </a:lnTo>
                  <a:lnTo>
                    <a:pt x="995166" y="324731"/>
                  </a:lnTo>
                  <a:lnTo>
                    <a:pt x="980898" y="314000"/>
                  </a:lnTo>
                  <a:lnTo>
                    <a:pt x="993946" y="309610"/>
                  </a:lnTo>
                  <a:lnTo>
                    <a:pt x="1001263" y="312536"/>
                  </a:lnTo>
                  <a:lnTo>
                    <a:pt x="1012481" y="311317"/>
                  </a:lnTo>
                  <a:lnTo>
                    <a:pt x="1023334" y="295830"/>
                  </a:lnTo>
                  <a:lnTo>
                    <a:pt x="1031504" y="304001"/>
                  </a:lnTo>
                  <a:lnTo>
                    <a:pt x="1043698" y="302781"/>
                  </a:lnTo>
                  <a:lnTo>
                    <a:pt x="1053332" y="289124"/>
                  </a:lnTo>
                  <a:lnTo>
                    <a:pt x="1064185" y="278271"/>
                  </a:lnTo>
                  <a:lnTo>
                    <a:pt x="1065526" y="270223"/>
                  </a:lnTo>
                  <a:lnTo>
                    <a:pt x="1069672" y="255346"/>
                  </a:lnTo>
                  <a:lnTo>
                    <a:pt x="1065892" y="248029"/>
                  </a:lnTo>
                  <a:lnTo>
                    <a:pt x="1061136" y="244493"/>
                  </a:lnTo>
                  <a:lnTo>
                    <a:pt x="1041138" y="243030"/>
                  </a:lnTo>
                  <a:lnTo>
                    <a:pt x="1020895" y="224251"/>
                  </a:lnTo>
                  <a:lnTo>
                    <a:pt x="1010774" y="217178"/>
                  </a:lnTo>
                  <a:lnTo>
                    <a:pt x="1019676" y="210471"/>
                  </a:lnTo>
                  <a:lnTo>
                    <a:pt x="1038211" y="216690"/>
                  </a:lnTo>
                  <a:lnTo>
                    <a:pt x="1053698" y="230714"/>
                  </a:lnTo>
                  <a:lnTo>
                    <a:pt x="1070403" y="233274"/>
                  </a:lnTo>
                  <a:lnTo>
                    <a:pt x="1081256" y="221080"/>
                  </a:lnTo>
                  <a:lnTo>
                    <a:pt x="1097596" y="208886"/>
                  </a:lnTo>
                  <a:lnTo>
                    <a:pt x="1098694" y="197667"/>
                  </a:lnTo>
                  <a:lnTo>
                    <a:pt x="1090036" y="196448"/>
                  </a:lnTo>
                  <a:lnTo>
                    <a:pt x="1083085" y="189497"/>
                  </a:lnTo>
                  <a:lnTo>
                    <a:pt x="1085036" y="179742"/>
                  </a:lnTo>
                  <a:lnTo>
                    <a:pt x="1103572" y="178035"/>
                  </a:lnTo>
                  <a:lnTo>
                    <a:pt x="1103572" y="178035"/>
                  </a:lnTo>
                  <a:lnTo>
                    <a:pt x="1109547" y="188522"/>
                  </a:lnTo>
                  <a:lnTo>
                    <a:pt x="1117229" y="192424"/>
                  </a:lnTo>
                  <a:lnTo>
                    <a:pt x="1124790" y="193643"/>
                  </a:lnTo>
                  <a:lnTo>
                    <a:pt x="1135398" y="188888"/>
                  </a:lnTo>
                  <a:lnTo>
                    <a:pt x="1134545" y="184254"/>
                  </a:lnTo>
                  <a:lnTo>
                    <a:pt x="1122351" y="175352"/>
                  </a:lnTo>
                  <a:lnTo>
                    <a:pt x="1115644" y="169987"/>
                  </a:lnTo>
                  <a:lnTo>
                    <a:pt x="1124667" y="164621"/>
                  </a:lnTo>
                  <a:lnTo>
                    <a:pt x="1134423" y="166572"/>
                  </a:lnTo>
                  <a:lnTo>
                    <a:pt x="1140886" y="171450"/>
                  </a:lnTo>
                  <a:lnTo>
                    <a:pt x="1147471" y="179742"/>
                  </a:lnTo>
                  <a:lnTo>
                    <a:pt x="1157226" y="180961"/>
                  </a:lnTo>
                  <a:lnTo>
                    <a:pt x="1165396" y="175474"/>
                  </a:lnTo>
                  <a:lnTo>
                    <a:pt x="1179907" y="169621"/>
                  </a:lnTo>
                  <a:lnTo>
                    <a:pt x="1181248" y="163402"/>
                  </a:lnTo>
                  <a:lnTo>
                    <a:pt x="1191857" y="149988"/>
                  </a:lnTo>
                  <a:lnTo>
                    <a:pt x="1181980" y="138892"/>
                  </a:lnTo>
                  <a:lnTo>
                    <a:pt x="1173200" y="135355"/>
                  </a:lnTo>
                  <a:lnTo>
                    <a:pt x="1165884" y="122186"/>
                  </a:lnTo>
                  <a:lnTo>
                    <a:pt x="1174542" y="119625"/>
                  </a:lnTo>
                  <a:lnTo>
                    <a:pt x="1184541" y="118893"/>
                  </a:lnTo>
                  <a:lnTo>
                    <a:pt x="1186370" y="113284"/>
                  </a:lnTo>
                  <a:lnTo>
                    <a:pt x="1177224" y="106821"/>
                  </a:lnTo>
                  <a:lnTo>
                    <a:pt x="1185151" y="98163"/>
                  </a:lnTo>
                  <a:lnTo>
                    <a:pt x="1184297" y="94139"/>
                  </a:lnTo>
                  <a:lnTo>
                    <a:pt x="1175639" y="94139"/>
                  </a:lnTo>
                  <a:lnTo>
                    <a:pt x="1167469" y="90237"/>
                  </a:lnTo>
                  <a:lnTo>
                    <a:pt x="1163201" y="82554"/>
                  </a:lnTo>
                  <a:lnTo>
                    <a:pt x="1167347" y="80725"/>
                  </a:lnTo>
                  <a:lnTo>
                    <a:pt x="1165640" y="79628"/>
                  </a:lnTo>
                  <a:lnTo>
                    <a:pt x="1147349" y="79628"/>
                  </a:lnTo>
                  <a:lnTo>
                    <a:pt x="1136862" y="77677"/>
                  </a:lnTo>
                  <a:lnTo>
                    <a:pt x="1128935" y="73775"/>
                  </a:lnTo>
                  <a:lnTo>
                    <a:pt x="1116010" y="75360"/>
                  </a:lnTo>
                  <a:lnTo>
                    <a:pt x="1114303" y="76823"/>
                  </a:lnTo>
                  <a:lnTo>
                    <a:pt x="1113083" y="94993"/>
                  </a:lnTo>
                  <a:lnTo>
                    <a:pt x="1119058" y="97675"/>
                  </a:lnTo>
                  <a:lnTo>
                    <a:pt x="1116985" y="105358"/>
                  </a:lnTo>
                  <a:lnTo>
                    <a:pt x="1107108" y="111211"/>
                  </a:lnTo>
                  <a:lnTo>
                    <a:pt x="1105766" y="120113"/>
                  </a:lnTo>
                  <a:lnTo>
                    <a:pt x="1099791" y="133282"/>
                  </a:lnTo>
                  <a:lnTo>
                    <a:pt x="1091256" y="144379"/>
                  </a:lnTo>
                  <a:lnTo>
                    <a:pt x="1086744" y="151695"/>
                  </a:lnTo>
                  <a:lnTo>
                    <a:pt x="1077232" y="154134"/>
                  </a:lnTo>
                  <a:lnTo>
                    <a:pt x="1075769" y="162182"/>
                  </a:lnTo>
                  <a:lnTo>
                    <a:pt x="1068940" y="162182"/>
                  </a:lnTo>
                  <a:lnTo>
                    <a:pt x="1048942" y="144013"/>
                  </a:lnTo>
                  <a:lnTo>
                    <a:pt x="1050527" y="122429"/>
                  </a:lnTo>
                  <a:lnTo>
                    <a:pt x="1061258" y="121698"/>
                  </a:lnTo>
                  <a:lnTo>
                    <a:pt x="1060404" y="117674"/>
                  </a:lnTo>
                  <a:lnTo>
                    <a:pt x="1055283" y="110723"/>
                  </a:lnTo>
                  <a:lnTo>
                    <a:pt x="1036870" y="100480"/>
                  </a:lnTo>
                  <a:lnTo>
                    <a:pt x="1033699" y="97309"/>
                  </a:lnTo>
                  <a:lnTo>
                    <a:pt x="1024797" y="101943"/>
                  </a:lnTo>
                  <a:lnTo>
                    <a:pt x="1024797" y="109626"/>
                  </a:lnTo>
                  <a:lnTo>
                    <a:pt x="1021627" y="121820"/>
                  </a:lnTo>
                  <a:lnTo>
                    <a:pt x="1012603" y="125112"/>
                  </a:lnTo>
                  <a:lnTo>
                    <a:pt x="1005043" y="120600"/>
                  </a:lnTo>
                  <a:lnTo>
                    <a:pt x="1005043" y="103772"/>
                  </a:lnTo>
                  <a:lnTo>
                    <a:pt x="989800" y="93651"/>
                  </a:lnTo>
                  <a:lnTo>
                    <a:pt x="994800" y="87676"/>
                  </a:lnTo>
                  <a:lnTo>
                    <a:pt x="1003823" y="87676"/>
                  </a:lnTo>
                  <a:lnTo>
                    <a:pt x="993946" y="81091"/>
                  </a:lnTo>
                  <a:lnTo>
                    <a:pt x="979923" y="84384"/>
                  </a:lnTo>
                  <a:lnTo>
                    <a:pt x="961997" y="75238"/>
                  </a:lnTo>
                  <a:lnTo>
                    <a:pt x="968460" y="66458"/>
                  </a:lnTo>
                  <a:lnTo>
                    <a:pt x="966631" y="60971"/>
                  </a:lnTo>
                  <a:lnTo>
                    <a:pt x="973582" y="59629"/>
                  </a:lnTo>
                  <a:lnTo>
                    <a:pt x="982971" y="60361"/>
                  </a:lnTo>
                  <a:lnTo>
                    <a:pt x="982971" y="55971"/>
                  </a:lnTo>
                  <a:lnTo>
                    <a:pt x="958583" y="38168"/>
                  </a:lnTo>
                  <a:lnTo>
                    <a:pt x="957120" y="20364"/>
                  </a:lnTo>
                  <a:lnTo>
                    <a:pt x="953096" y="17072"/>
                  </a:lnTo>
                  <a:lnTo>
                    <a:pt x="950413" y="8170"/>
                  </a:lnTo>
                  <a:lnTo>
                    <a:pt x="943096" y="5975"/>
                  </a:lnTo>
                  <a:lnTo>
                    <a:pt x="932731" y="5122"/>
                  </a:lnTo>
                  <a:lnTo>
                    <a:pt x="927000" y="0"/>
                  </a:lnTo>
                  <a:lnTo>
                    <a:pt x="920415" y="0"/>
                  </a:lnTo>
                  <a:lnTo>
                    <a:pt x="916269" y="5853"/>
                  </a:lnTo>
                  <a:lnTo>
                    <a:pt x="908953" y="5853"/>
                  </a:lnTo>
                  <a:lnTo>
                    <a:pt x="905782" y="9146"/>
                  </a:lnTo>
                  <a:lnTo>
                    <a:pt x="913587" y="13901"/>
                  </a:lnTo>
                  <a:lnTo>
                    <a:pt x="902856" y="20364"/>
                  </a:lnTo>
                  <a:lnTo>
                    <a:pt x="897002" y="19511"/>
                  </a:lnTo>
                  <a:lnTo>
                    <a:pt x="894198" y="20608"/>
                  </a:lnTo>
                  <a:lnTo>
                    <a:pt x="887857" y="38656"/>
                  </a:lnTo>
                  <a:lnTo>
                    <a:pt x="893100" y="42436"/>
                  </a:lnTo>
                  <a:lnTo>
                    <a:pt x="900295" y="42436"/>
                  </a:lnTo>
                  <a:lnTo>
                    <a:pt x="900295" y="51094"/>
                  </a:lnTo>
                  <a:lnTo>
                    <a:pt x="891149" y="50118"/>
                  </a:lnTo>
                  <a:lnTo>
                    <a:pt x="887857" y="61581"/>
                  </a:lnTo>
                  <a:lnTo>
                    <a:pt x="895051" y="67434"/>
                  </a:lnTo>
                  <a:lnTo>
                    <a:pt x="905904" y="73043"/>
                  </a:lnTo>
                  <a:lnTo>
                    <a:pt x="915416" y="73897"/>
                  </a:lnTo>
                  <a:lnTo>
                    <a:pt x="923952" y="74872"/>
                  </a:lnTo>
                  <a:lnTo>
                    <a:pt x="925415" y="80969"/>
                  </a:lnTo>
                  <a:lnTo>
                    <a:pt x="934926" y="82311"/>
                  </a:lnTo>
                  <a:lnTo>
                    <a:pt x="945047" y="79262"/>
                  </a:lnTo>
                  <a:lnTo>
                    <a:pt x="945047" y="79262"/>
                  </a:lnTo>
                  <a:lnTo>
                    <a:pt x="947486" y="88408"/>
                  </a:lnTo>
                  <a:lnTo>
                    <a:pt x="932244" y="93895"/>
                  </a:lnTo>
                  <a:lnTo>
                    <a:pt x="926512" y="106089"/>
                  </a:lnTo>
                  <a:lnTo>
                    <a:pt x="930780" y="108162"/>
                  </a:lnTo>
                  <a:lnTo>
                    <a:pt x="936755" y="105236"/>
                  </a:lnTo>
                  <a:lnTo>
                    <a:pt x="942609" y="100602"/>
                  </a:lnTo>
                  <a:lnTo>
                    <a:pt x="948706" y="109260"/>
                  </a:lnTo>
                  <a:lnTo>
                    <a:pt x="945291" y="119503"/>
                  </a:lnTo>
                  <a:lnTo>
                    <a:pt x="927122" y="131697"/>
                  </a:lnTo>
                  <a:lnTo>
                    <a:pt x="917001" y="131697"/>
                  </a:lnTo>
                  <a:lnTo>
                    <a:pt x="907002" y="136209"/>
                  </a:lnTo>
                  <a:lnTo>
                    <a:pt x="906148" y="139013"/>
                  </a:lnTo>
                  <a:lnTo>
                    <a:pt x="918342" y="149622"/>
                  </a:lnTo>
                  <a:lnTo>
                    <a:pt x="912245" y="158280"/>
                  </a:lnTo>
                  <a:lnTo>
                    <a:pt x="892491" y="154378"/>
                  </a:lnTo>
                  <a:lnTo>
                    <a:pt x="888832" y="139989"/>
                  </a:lnTo>
                  <a:lnTo>
                    <a:pt x="894686" y="135599"/>
                  </a:lnTo>
                  <a:lnTo>
                    <a:pt x="894686" y="130721"/>
                  </a:lnTo>
                  <a:lnTo>
                    <a:pt x="887491" y="129136"/>
                  </a:lnTo>
                  <a:lnTo>
                    <a:pt x="873346" y="123283"/>
                  </a:lnTo>
                  <a:lnTo>
                    <a:pt x="864444" y="119625"/>
                  </a:lnTo>
                  <a:lnTo>
                    <a:pt x="859201" y="122064"/>
                  </a:lnTo>
                  <a:lnTo>
                    <a:pt x="847006" y="122795"/>
                  </a:lnTo>
                  <a:lnTo>
                    <a:pt x="841275" y="144013"/>
                  </a:lnTo>
                  <a:lnTo>
                    <a:pt x="829081" y="142916"/>
                  </a:lnTo>
                  <a:lnTo>
                    <a:pt x="818228" y="139623"/>
                  </a:lnTo>
                  <a:lnTo>
                    <a:pt x="795547" y="143891"/>
                  </a:lnTo>
                  <a:lnTo>
                    <a:pt x="785914" y="141330"/>
                  </a:lnTo>
                  <a:lnTo>
                    <a:pt x="777988" y="144745"/>
                  </a:lnTo>
                  <a:lnTo>
                    <a:pt x="757745" y="141086"/>
                  </a:lnTo>
                  <a:lnTo>
                    <a:pt x="750795" y="133648"/>
                  </a:lnTo>
                  <a:lnTo>
                    <a:pt x="733235" y="133648"/>
                  </a:lnTo>
                  <a:lnTo>
                    <a:pt x="723967" y="132673"/>
                  </a:lnTo>
                  <a:lnTo>
                    <a:pt x="707505" y="121820"/>
                  </a:lnTo>
                  <a:lnTo>
                    <a:pt x="706164" y="118893"/>
                  </a:lnTo>
                  <a:lnTo>
                    <a:pt x="703481" y="118893"/>
                  </a:lnTo>
                  <a:lnTo>
                    <a:pt x="697994" y="120113"/>
                  </a:lnTo>
                  <a:lnTo>
                    <a:pt x="696774" y="124015"/>
                  </a:lnTo>
                  <a:lnTo>
                    <a:pt x="680068" y="134867"/>
                  </a:lnTo>
                  <a:lnTo>
                    <a:pt x="662509" y="135721"/>
                  </a:lnTo>
                  <a:lnTo>
                    <a:pt x="660314" y="143647"/>
                  </a:lnTo>
                  <a:lnTo>
                    <a:pt x="666777" y="155841"/>
                  </a:lnTo>
                  <a:lnTo>
                    <a:pt x="677386" y="163158"/>
                  </a:lnTo>
                  <a:lnTo>
                    <a:pt x="669338" y="168401"/>
                  </a:lnTo>
                  <a:lnTo>
                    <a:pt x="669338" y="180596"/>
                  </a:lnTo>
                  <a:lnTo>
                    <a:pt x="653119" y="172547"/>
                  </a:lnTo>
                  <a:lnTo>
                    <a:pt x="645803" y="164865"/>
                  </a:lnTo>
                  <a:lnTo>
                    <a:pt x="652631" y="158280"/>
                  </a:lnTo>
                  <a:lnTo>
                    <a:pt x="643608" y="151573"/>
                  </a:lnTo>
                  <a:lnTo>
                    <a:pt x="639340" y="150720"/>
                  </a:lnTo>
                  <a:lnTo>
                    <a:pt x="630682" y="143891"/>
                  </a:lnTo>
                  <a:lnTo>
                    <a:pt x="614708" y="138160"/>
                  </a:lnTo>
                  <a:lnTo>
                    <a:pt x="587881" y="145720"/>
                  </a:lnTo>
                  <a:lnTo>
                    <a:pt x="572272" y="146574"/>
                  </a:lnTo>
                  <a:lnTo>
                    <a:pt x="538982" y="145720"/>
                  </a:lnTo>
                  <a:lnTo>
                    <a:pt x="529349" y="143160"/>
                  </a:lnTo>
                  <a:lnTo>
                    <a:pt x="518862" y="143160"/>
                  </a:lnTo>
                  <a:lnTo>
                    <a:pt x="508496" y="143160"/>
                  </a:lnTo>
                  <a:lnTo>
                    <a:pt x="504351" y="135599"/>
                  </a:lnTo>
                  <a:lnTo>
                    <a:pt x="510082" y="129868"/>
                  </a:lnTo>
                  <a:lnTo>
                    <a:pt x="518496" y="127307"/>
                  </a:lnTo>
                  <a:lnTo>
                    <a:pt x="521422" y="123893"/>
                  </a:lnTo>
                  <a:lnTo>
                    <a:pt x="532885" y="121332"/>
                  </a:lnTo>
                  <a:lnTo>
                    <a:pt x="507765" y="104138"/>
                  </a:lnTo>
                  <a:lnTo>
                    <a:pt x="496424" y="104870"/>
                  </a:lnTo>
                  <a:lnTo>
                    <a:pt x="493620" y="107553"/>
                  </a:lnTo>
                  <a:lnTo>
                    <a:pt x="481425" y="107553"/>
                  </a:lnTo>
                  <a:lnTo>
                    <a:pt x="469231" y="105114"/>
                  </a:lnTo>
                  <a:lnTo>
                    <a:pt x="458988" y="105114"/>
                  </a:lnTo>
                  <a:lnTo>
                    <a:pt x="439112" y="95236"/>
                  </a:lnTo>
                  <a:lnTo>
                    <a:pt x="419723" y="91090"/>
                  </a:lnTo>
                  <a:lnTo>
                    <a:pt x="410943" y="91090"/>
                  </a:lnTo>
                  <a:lnTo>
                    <a:pt x="378385" y="74141"/>
                  </a:lnTo>
                  <a:lnTo>
                    <a:pt x="359606" y="75604"/>
                  </a:lnTo>
                  <a:lnTo>
                    <a:pt x="359606" y="83042"/>
                  </a:lnTo>
                  <a:lnTo>
                    <a:pt x="345339" y="92554"/>
                  </a:lnTo>
                  <a:lnTo>
                    <a:pt x="327901" y="91822"/>
                  </a:lnTo>
                  <a:lnTo>
                    <a:pt x="325096" y="86822"/>
                  </a:lnTo>
                  <a:lnTo>
                    <a:pt x="330950" y="81213"/>
                  </a:lnTo>
                  <a:lnTo>
                    <a:pt x="320219" y="77189"/>
                  </a:lnTo>
                  <a:lnTo>
                    <a:pt x="324974" y="70238"/>
                  </a:lnTo>
                  <a:lnTo>
                    <a:pt x="327901" y="69019"/>
                  </a:lnTo>
                  <a:lnTo>
                    <a:pt x="326438" y="65117"/>
                  </a:lnTo>
                  <a:lnTo>
                    <a:pt x="314243" y="68409"/>
                  </a:lnTo>
                  <a:lnTo>
                    <a:pt x="315707" y="83042"/>
                  </a:lnTo>
                  <a:lnTo>
                    <a:pt x="310951" y="83042"/>
                  </a:lnTo>
                  <a:lnTo>
                    <a:pt x="309488" y="93651"/>
                  </a:lnTo>
                  <a:lnTo>
                    <a:pt x="294001" y="90603"/>
                  </a:lnTo>
                  <a:lnTo>
                    <a:pt x="277173" y="77677"/>
                  </a:lnTo>
                  <a:lnTo>
                    <a:pt x="277173" y="65483"/>
                  </a:lnTo>
                  <a:lnTo>
                    <a:pt x="255833" y="51215"/>
                  </a:lnTo>
                  <a:lnTo>
                    <a:pt x="255833" y="53045"/>
                  </a:lnTo>
                  <a:lnTo>
                    <a:pt x="262174" y="57800"/>
                  </a:lnTo>
                  <a:lnTo>
                    <a:pt x="259248" y="63044"/>
                  </a:lnTo>
                  <a:lnTo>
                    <a:pt x="253029" y="63044"/>
                  </a:lnTo>
                  <a:lnTo>
                    <a:pt x="253029" y="69873"/>
                  </a:lnTo>
                  <a:lnTo>
                    <a:pt x="233396" y="79262"/>
                  </a:lnTo>
                  <a:lnTo>
                    <a:pt x="235103" y="73165"/>
                  </a:lnTo>
                  <a:lnTo>
                    <a:pt x="228762" y="74872"/>
                  </a:lnTo>
                  <a:lnTo>
                    <a:pt x="209374" y="80725"/>
                  </a:lnTo>
                  <a:lnTo>
                    <a:pt x="195960" y="91334"/>
                  </a:lnTo>
                  <a:lnTo>
                    <a:pt x="191448" y="89627"/>
                  </a:lnTo>
                  <a:lnTo>
                    <a:pt x="170109" y="100846"/>
                  </a:lnTo>
                  <a:lnTo>
                    <a:pt x="164133" y="108772"/>
                  </a:lnTo>
                  <a:lnTo>
                    <a:pt x="148525" y="111821"/>
                  </a:lnTo>
                  <a:lnTo>
                    <a:pt x="146452" y="101334"/>
                  </a:lnTo>
                  <a:lnTo>
                    <a:pt x="152915" y="98285"/>
                  </a:lnTo>
                  <a:lnTo>
                    <a:pt x="151573" y="95236"/>
                  </a:lnTo>
                  <a:lnTo>
                    <a:pt x="165719" y="91456"/>
                  </a:lnTo>
                  <a:lnTo>
                    <a:pt x="167060" y="85725"/>
                  </a:lnTo>
                  <a:lnTo>
                    <a:pt x="185473" y="78287"/>
                  </a:lnTo>
                  <a:lnTo>
                    <a:pt x="195350" y="78287"/>
                  </a:lnTo>
                  <a:lnTo>
                    <a:pt x="220714" y="67190"/>
                  </a:lnTo>
                  <a:lnTo>
                    <a:pt x="220714" y="65970"/>
                  </a:lnTo>
                  <a:lnTo>
                    <a:pt x="212666" y="67312"/>
                  </a:lnTo>
                  <a:lnTo>
                    <a:pt x="208764" y="65849"/>
                  </a:lnTo>
                  <a:lnTo>
                    <a:pt x="197911" y="72311"/>
                  </a:lnTo>
                  <a:lnTo>
                    <a:pt x="190717" y="72311"/>
                  </a:lnTo>
                  <a:lnTo>
                    <a:pt x="179376" y="79140"/>
                  </a:lnTo>
                  <a:lnTo>
                    <a:pt x="169377" y="79140"/>
                  </a:lnTo>
                  <a:lnTo>
                    <a:pt x="154988" y="85481"/>
                  </a:lnTo>
                  <a:lnTo>
                    <a:pt x="153403" y="90237"/>
                  </a:lnTo>
                  <a:lnTo>
                    <a:pt x="133770" y="90237"/>
                  </a:lnTo>
                  <a:lnTo>
                    <a:pt x="136940" y="85359"/>
                  </a:lnTo>
                  <a:lnTo>
                    <a:pt x="126941" y="83042"/>
                  </a:lnTo>
                  <a:lnTo>
                    <a:pt x="115845" y="93163"/>
                  </a:lnTo>
                  <a:lnTo>
                    <a:pt x="108406" y="93163"/>
                  </a:lnTo>
                  <a:lnTo>
                    <a:pt x="100602" y="97797"/>
                  </a:lnTo>
                  <a:lnTo>
                    <a:pt x="102187" y="101212"/>
                  </a:lnTo>
                  <a:lnTo>
                    <a:pt x="116942" y="105601"/>
                  </a:lnTo>
                  <a:lnTo>
                    <a:pt x="116942" y="113284"/>
                  </a:lnTo>
                  <a:lnTo>
                    <a:pt x="109260" y="114381"/>
                  </a:lnTo>
                  <a:lnTo>
                    <a:pt x="109260" y="114381"/>
                  </a:lnTo>
                  <a:lnTo>
                    <a:pt x="89871" y="111699"/>
                  </a:lnTo>
                  <a:lnTo>
                    <a:pt x="77677" y="105845"/>
                  </a:lnTo>
                  <a:lnTo>
                    <a:pt x="61824" y="104016"/>
                  </a:lnTo>
                  <a:lnTo>
                    <a:pt x="44509" y="96212"/>
                  </a:lnTo>
                  <a:lnTo>
                    <a:pt x="29388" y="86335"/>
                  </a:lnTo>
                  <a:lnTo>
                    <a:pt x="6585" y="86335"/>
                  </a:lnTo>
                  <a:lnTo>
                    <a:pt x="1219" y="84749"/>
                  </a:lnTo>
                  <a:lnTo>
                    <a:pt x="0" y="84749"/>
                  </a:lnTo>
                  <a:lnTo>
                    <a:pt x="0" y="451672"/>
                  </a:lnTo>
                  <a:lnTo>
                    <a:pt x="7560" y="456915"/>
                  </a:lnTo>
                  <a:lnTo>
                    <a:pt x="15730" y="462525"/>
                  </a:lnTo>
                  <a:lnTo>
                    <a:pt x="17803" y="455330"/>
                  </a:lnTo>
                  <a:lnTo>
                    <a:pt x="17803" y="453379"/>
                  </a:lnTo>
                  <a:lnTo>
                    <a:pt x="19389" y="452038"/>
                  </a:lnTo>
                  <a:lnTo>
                    <a:pt x="24876" y="448014"/>
                  </a:lnTo>
                  <a:lnTo>
                    <a:pt x="29510" y="444599"/>
                  </a:lnTo>
                  <a:lnTo>
                    <a:pt x="33168" y="448989"/>
                  </a:lnTo>
                  <a:lnTo>
                    <a:pt x="39509" y="456671"/>
                  </a:lnTo>
                  <a:lnTo>
                    <a:pt x="41216" y="458744"/>
                  </a:lnTo>
                  <a:lnTo>
                    <a:pt x="41216" y="458744"/>
                  </a:lnTo>
                  <a:lnTo>
                    <a:pt x="41216" y="458744"/>
                  </a:lnTo>
                  <a:lnTo>
                    <a:pt x="54508" y="478865"/>
                  </a:lnTo>
                  <a:lnTo>
                    <a:pt x="71824" y="502765"/>
                  </a:lnTo>
                  <a:lnTo>
                    <a:pt x="77311" y="502765"/>
                  </a:lnTo>
                  <a:lnTo>
                    <a:pt x="90847" y="487523"/>
                  </a:lnTo>
                  <a:lnTo>
                    <a:pt x="92066" y="486181"/>
                  </a:lnTo>
                  <a:lnTo>
                    <a:pt x="93895" y="486181"/>
                  </a:lnTo>
                  <a:lnTo>
                    <a:pt x="107431" y="482767"/>
                  </a:lnTo>
                  <a:lnTo>
                    <a:pt x="110235" y="482767"/>
                  </a:lnTo>
                  <a:lnTo>
                    <a:pt x="112552" y="484474"/>
                  </a:lnTo>
                  <a:lnTo>
                    <a:pt x="121820" y="491425"/>
                  </a:lnTo>
                  <a:lnTo>
                    <a:pt x="126575" y="494961"/>
                  </a:lnTo>
                  <a:lnTo>
                    <a:pt x="127551" y="495693"/>
                  </a:lnTo>
                  <a:lnTo>
                    <a:pt x="127551" y="496790"/>
                  </a:lnTo>
                  <a:lnTo>
                    <a:pt x="135843" y="511423"/>
                  </a:lnTo>
                  <a:lnTo>
                    <a:pt x="142062" y="522154"/>
                  </a:lnTo>
                  <a:lnTo>
                    <a:pt x="154256" y="530690"/>
                  </a:lnTo>
                  <a:lnTo>
                    <a:pt x="155719" y="531666"/>
                  </a:lnTo>
                  <a:lnTo>
                    <a:pt x="155719" y="533251"/>
                  </a:lnTo>
                  <a:lnTo>
                    <a:pt x="180108" y="588734"/>
                  </a:lnTo>
                  <a:lnTo>
                    <a:pt x="194253" y="602879"/>
                  </a:lnTo>
                  <a:lnTo>
                    <a:pt x="219373" y="618976"/>
                  </a:lnTo>
                  <a:lnTo>
                    <a:pt x="222787" y="621293"/>
                  </a:lnTo>
                  <a:lnTo>
                    <a:pt x="222056" y="625317"/>
                  </a:lnTo>
                  <a:lnTo>
                    <a:pt x="218641" y="642145"/>
                  </a:lnTo>
                  <a:lnTo>
                    <a:pt x="220348" y="655802"/>
                  </a:lnTo>
                  <a:lnTo>
                    <a:pt x="220348" y="658241"/>
                  </a:lnTo>
                  <a:lnTo>
                    <a:pt x="218885" y="660192"/>
                  </a:lnTo>
                  <a:lnTo>
                    <a:pt x="216202" y="663850"/>
                  </a:lnTo>
                  <a:lnTo>
                    <a:pt x="214983" y="665557"/>
                  </a:lnTo>
                  <a:lnTo>
                    <a:pt x="212666" y="668606"/>
                  </a:lnTo>
                  <a:lnTo>
                    <a:pt x="212666" y="668606"/>
                  </a:lnTo>
                  <a:lnTo>
                    <a:pt x="211813" y="676898"/>
                  </a:lnTo>
                  <a:lnTo>
                    <a:pt x="214495" y="693482"/>
                  </a:lnTo>
                  <a:lnTo>
                    <a:pt x="218519" y="703969"/>
                  </a:lnTo>
                  <a:lnTo>
                    <a:pt x="224738" y="708115"/>
                  </a:lnTo>
                  <a:lnTo>
                    <a:pt x="228275" y="703481"/>
                  </a:lnTo>
                  <a:lnTo>
                    <a:pt x="237055" y="701286"/>
                  </a:lnTo>
                  <a:lnTo>
                    <a:pt x="238884" y="719090"/>
                  </a:lnTo>
                  <a:lnTo>
                    <a:pt x="233030" y="723480"/>
                  </a:lnTo>
                  <a:lnTo>
                    <a:pt x="233030" y="729333"/>
                  </a:lnTo>
                  <a:lnTo>
                    <a:pt x="240835" y="731528"/>
                  </a:lnTo>
                  <a:lnTo>
                    <a:pt x="252175" y="72835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2" name="Freihandform: Form 581">
              <a:extLst>
                <a:ext uri="{FF2B5EF4-FFF2-40B4-BE49-F238E27FC236}">
                  <a16:creationId xmlns:a16="http://schemas.microsoft.com/office/drawing/2014/main" id="{E0E78764-CEF4-4A17-B7F9-3854AB7AE876}"/>
                </a:ext>
              </a:extLst>
            </p:cNvPr>
            <p:cNvSpPr/>
            <p:nvPr/>
          </p:nvSpPr>
          <p:spPr>
            <a:xfrm>
              <a:off x="1732101" y="2068644"/>
              <a:ext cx="5975" cy="18047"/>
            </a:xfrm>
            <a:custGeom>
              <a:avLst/>
              <a:gdLst>
                <a:gd name="connsiteX0" fmla="*/ 3171 w 5975"/>
                <a:gd name="connsiteY0" fmla="*/ 0 h 18047"/>
                <a:gd name="connsiteX1" fmla="*/ 0 w 5975"/>
                <a:gd name="connsiteY1" fmla="*/ 6707 h 18047"/>
                <a:gd name="connsiteX2" fmla="*/ 5365 w 5975"/>
                <a:gd name="connsiteY2" fmla="*/ 18047 h 18047"/>
                <a:gd name="connsiteX3" fmla="*/ 5975 w 5975"/>
                <a:gd name="connsiteY3" fmla="*/ 17682 h 18047"/>
                <a:gd name="connsiteX4" fmla="*/ 5122 w 5975"/>
                <a:gd name="connsiteY4" fmla="*/ 5243 h 18047"/>
                <a:gd name="connsiteX5" fmla="*/ 3171 w 5975"/>
                <a:gd name="connsiteY5" fmla="*/ 0 h 1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5" h="18047">
                  <a:moveTo>
                    <a:pt x="3171" y="0"/>
                  </a:moveTo>
                  <a:lnTo>
                    <a:pt x="0" y="6707"/>
                  </a:lnTo>
                  <a:lnTo>
                    <a:pt x="5365" y="18047"/>
                  </a:lnTo>
                  <a:lnTo>
                    <a:pt x="5975" y="17682"/>
                  </a:lnTo>
                  <a:lnTo>
                    <a:pt x="5122" y="5243"/>
                  </a:lnTo>
                  <a:lnTo>
                    <a:pt x="317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3" name="Freihandform: Form 582">
              <a:extLst>
                <a:ext uri="{FF2B5EF4-FFF2-40B4-BE49-F238E27FC236}">
                  <a16:creationId xmlns:a16="http://schemas.microsoft.com/office/drawing/2014/main" id="{F4DFB476-91F3-4DE0-A5CB-2284E46B27A7}"/>
                </a:ext>
              </a:extLst>
            </p:cNvPr>
            <p:cNvSpPr/>
            <p:nvPr/>
          </p:nvSpPr>
          <p:spPr>
            <a:xfrm>
              <a:off x="1749051" y="2072180"/>
              <a:ext cx="1951" cy="16828"/>
            </a:xfrm>
            <a:custGeom>
              <a:avLst/>
              <a:gdLst>
                <a:gd name="connsiteX0" fmla="*/ 610 w 1951"/>
                <a:gd name="connsiteY0" fmla="*/ 0 h 16828"/>
                <a:gd name="connsiteX1" fmla="*/ 0 w 1951"/>
                <a:gd name="connsiteY1" fmla="*/ 854 h 16828"/>
                <a:gd name="connsiteX2" fmla="*/ 1951 w 1951"/>
                <a:gd name="connsiteY2" fmla="*/ 16828 h 16828"/>
                <a:gd name="connsiteX3" fmla="*/ 1341 w 1951"/>
                <a:gd name="connsiteY3" fmla="*/ 1098 h 16828"/>
                <a:gd name="connsiteX4" fmla="*/ 610 w 1951"/>
                <a:gd name="connsiteY4" fmla="*/ 0 h 16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" h="16828">
                  <a:moveTo>
                    <a:pt x="610" y="0"/>
                  </a:moveTo>
                  <a:lnTo>
                    <a:pt x="0" y="854"/>
                  </a:lnTo>
                  <a:lnTo>
                    <a:pt x="1951" y="16828"/>
                  </a:lnTo>
                  <a:lnTo>
                    <a:pt x="1341" y="1098"/>
                  </a:lnTo>
                  <a:lnTo>
                    <a:pt x="61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4" name="Freihandform: Form 583">
              <a:extLst>
                <a:ext uri="{FF2B5EF4-FFF2-40B4-BE49-F238E27FC236}">
                  <a16:creationId xmlns:a16="http://schemas.microsoft.com/office/drawing/2014/main" id="{91318B01-13D1-436A-A3B5-8F4FD3570475}"/>
                </a:ext>
              </a:extLst>
            </p:cNvPr>
            <p:cNvSpPr/>
            <p:nvPr/>
          </p:nvSpPr>
          <p:spPr>
            <a:xfrm>
              <a:off x="1744296" y="2027915"/>
              <a:ext cx="7072" cy="29997"/>
            </a:xfrm>
            <a:custGeom>
              <a:avLst/>
              <a:gdLst>
                <a:gd name="connsiteX0" fmla="*/ 0 w 7072"/>
                <a:gd name="connsiteY0" fmla="*/ 0 h 29997"/>
                <a:gd name="connsiteX1" fmla="*/ 0 w 7072"/>
                <a:gd name="connsiteY1" fmla="*/ 366 h 29997"/>
                <a:gd name="connsiteX2" fmla="*/ 0 w 7072"/>
                <a:gd name="connsiteY2" fmla="*/ 29510 h 29997"/>
                <a:gd name="connsiteX3" fmla="*/ 2927 w 7072"/>
                <a:gd name="connsiteY3" fmla="*/ 29998 h 29997"/>
                <a:gd name="connsiteX4" fmla="*/ 7073 w 7072"/>
                <a:gd name="connsiteY4" fmla="*/ 26583 h 29997"/>
                <a:gd name="connsiteX5" fmla="*/ 6097 w 7072"/>
                <a:gd name="connsiteY5" fmla="*/ 6707 h 29997"/>
                <a:gd name="connsiteX6" fmla="*/ 0 w 7072"/>
                <a:gd name="connsiteY6" fmla="*/ 0 h 29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2" h="29997">
                  <a:moveTo>
                    <a:pt x="0" y="0"/>
                  </a:moveTo>
                  <a:lnTo>
                    <a:pt x="0" y="366"/>
                  </a:lnTo>
                  <a:lnTo>
                    <a:pt x="0" y="29510"/>
                  </a:lnTo>
                  <a:lnTo>
                    <a:pt x="2927" y="29998"/>
                  </a:lnTo>
                  <a:lnTo>
                    <a:pt x="7073" y="26583"/>
                  </a:lnTo>
                  <a:lnTo>
                    <a:pt x="6097" y="67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5" name="Freihandform: Form 584">
              <a:extLst>
                <a:ext uri="{FF2B5EF4-FFF2-40B4-BE49-F238E27FC236}">
                  <a16:creationId xmlns:a16="http://schemas.microsoft.com/office/drawing/2014/main" id="{EB6CB69C-3BF5-4318-9D5F-60F6AA395C17}"/>
                </a:ext>
              </a:extLst>
            </p:cNvPr>
            <p:cNvSpPr/>
            <p:nvPr/>
          </p:nvSpPr>
          <p:spPr>
            <a:xfrm>
              <a:off x="1974887" y="1254195"/>
              <a:ext cx="140354" cy="62677"/>
            </a:xfrm>
            <a:custGeom>
              <a:avLst/>
              <a:gdLst>
                <a:gd name="connsiteX0" fmla="*/ 5243 w 140354"/>
                <a:gd name="connsiteY0" fmla="*/ 56215 h 62677"/>
                <a:gd name="connsiteX1" fmla="*/ 9999 w 140354"/>
                <a:gd name="connsiteY1" fmla="*/ 57069 h 62677"/>
                <a:gd name="connsiteX2" fmla="*/ 17072 w 140354"/>
                <a:gd name="connsiteY2" fmla="*/ 54020 h 62677"/>
                <a:gd name="connsiteX3" fmla="*/ 28412 w 140354"/>
                <a:gd name="connsiteY3" fmla="*/ 55362 h 62677"/>
                <a:gd name="connsiteX4" fmla="*/ 34022 w 140354"/>
                <a:gd name="connsiteY4" fmla="*/ 62678 h 62677"/>
                <a:gd name="connsiteX5" fmla="*/ 36704 w 140354"/>
                <a:gd name="connsiteY5" fmla="*/ 62678 h 62677"/>
                <a:gd name="connsiteX6" fmla="*/ 38168 w 140354"/>
                <a:gd name="connsiteY6" fmla="*/ 51094 h 62677"/>
                <a:gd name="connsiteX7" fmla="*/ 49630 w 140354"/>
                <a:gd name="connsiteY7" fmla="*/ 50118 h 62677"/>
                <a:gd name="connsiteX8" fmla="*/ 48289 w 140354"/>
                <a:gd name="connsiteY8" fmla="*/ 58532 h 62677"/>
                <a:gd name="connsiteX9" fmla="*/ 59995 w 140354"/>
                <a:gd name="connsiteY9" fmla="*/ 56337 h 62677"/>
                <a:gd name="connsiteX10" fmla="*/ 55849 w 140354"/>
                <a:gd name="connsiteY10" fmla="*/ 42314 h 62677"/>
                <a:gd name="connsiteX11" fmla="*/ 67678 w 140354"/>
                <a:gd name="connsiteY11" fmla="*/ 39753 h 62677"/>
                <a:gd name="connsiteX12" fmla="*/ 73043 w 140354"/>
                <a:gd name="connsiteY12" fmla="*/ 44996 h 62677"/>
                <a:gd name="connsiteX13" fmla="*/ 79384 w 140354"/>
                <a:gd name="connsiteY13" fmla="*/ 41826 h 62677"/>
                <a:gd name="connsiteX14" fmla="*/ 83896 w 140354"/>
                <a:gd name="connsiteY14" fmla="*/ 27071 h 62677"/>
                <a:gd name="connsiteX15" fmla="*/ 101943 w 140354"/>
                <a:gd name="connsiteY15" fmla="*/ 27071 h 62677"/>
                <a:gd name="connsiteX16" fmla="*/ 95602 w 140354"/>
                <a:gd name="connsiteY16" fmla="*/ 37314 h 62677"/>
                <a:gd name="connsiteX17" fmla="*/ 112552 w 140354"/>
                <a:gd name="connsiteY17" fmla="*/ 43655 h 62677"/>
                <a:gd name="connsiteX18" fmla="*/ 116454 w 140354"/>
                <a:gd name="connsiteY18" fmla="*/ 33412 h 62677"/>
                <a:gd name="connsiteX19" fmla="*/ 131087 w 140354"/>
                <a:gd name="connsiteY19" fmla="*/ 30242 h 62677"/>
                <a:gd name="connsiteX20" fmla="*/ 128161 w 140354"/>
                <a:gd name="connsiteY20" fmla="*/ 27071 h 62677"/>
                <a:gd name="connsiteX21" fmla="*/ 109016 w 140354"/>
                <a:gd name="connsiteY21" fmla="*/ 24754 h 62677"/>
                <a:gd name="connsiteX22" fmla="*/ 124624 w 140354"/>
                <a:gd name="connsiteY22" fmla="*/ 23047 h 62677"/>
                <a:gd name="connsiteX23" fmla="*/ 124502 w 140354"/>
                <a:gd name="connsiteY23" fmla="*/ 22803 h 62677"/>
                <a:gd name="connsiteX24" fmla="*/ 132185 w 140354"/>
                <a:gd name="connsiteY24" fmla="*/ 19511 h 62677"/>
                <a:gd name="connsiteX25" fmla="*/ 126453 w 140354"/>
                <a:gd name="connsiteY25" fmla="*/ 15487 h 62677"/>
                <a:gd name="connsiteX26" fmla="*/ 132551 w 140354"/>
                <a:gd name="connsiteY26" fmla="*/ 6707 h 62677"/>
                <a:gd name="connsiteX27" fmla="*/ 139867 w 140354"/>
                <a:gd name="connsiteY27" fmla="*/ 6707 h 62677"/>
                <a:gd name="connsiteX28" fmla="*/ 140355 w 140354"/>
                <a:gd name="connsiteY28" fmla="*/ 6219 h 62677"/>
                <a:gd name="connsiteX29" fmla="*/ 130356 w 140354"/>
                <a:gd name="connsiteY29" fmla="*/ 0 h 62677"/>
                <a:gd name="connsiteX30" fmla="*/ 118771 w 140354"/>
                <a:gd name="connsiteY30" fmla="*/ 1341 h 62677"/>
                <a:gd name="connsiteX31" fmla="*/ 129624 w 140354"/>
                <a:gd name="connsiteY31" fmla="*/ 6097 h 62677"/>
                <a:gd name="connsiteX32" fmla="*/ 115235 w 140354"/>
                <a:gd name="connsiteY32" fmla="*/ 8536 h 62677"/>
                <a:gd name="connsiteX33" fmla="*/ 103285 w 140354"/>
                <a:gd name="connsiteY33" fmla="*/ 8414 h 62677"/>
                <a:gd name="connsiteX34" fmla="*/ 99382 w 140354"/>
                <a:gd name="connsiteY34" fmla="*/ 7317 h 62677"/>
                <a:gd name="connsiteX35" fmla="*/ 77311 w 140354"/>
                <a:gd name="connsiteY35" fmla="*/ 7926 h 62677"/>
                <a:gd name="connsiteX36" fmla="*/ 66214 w 140354"/>
                <a:gd name="connsiteY36" fmla="*/ 11584 h 62677"/>
                <a:gd name="connsiteX37" fmla="*/ 66214 w 140354"/>
                <a:gd name="connsiteY37" fmla="*/ 16950 h 62677"/>
                <a:gd name="connsiteX38" fmla="*/ 42924 w 140354"/>
                <a:gd name="connsiteY38" fmla="*/ 27193 h 62677"/>
                <a:gd name="connsiteX39" fmla="*/ 39875 w 140354"/>
                <a:gd name="connsiteY39" fmla="*/ 32436 h 62677"/>
                <a:gd name="connsiteX40" fmla="*/ 31583 w 140354"/>
                <a:gd name="connsiteY40" fmla="*/ 33046 h 62677"/>
                <a:gd name="connsiteX41" fmla="*/ 28900 w 140354"/>
                <a:gd name="connsiteY41" fmla="*/ 40119 h 62677"/>
                <a:gd name="connsiteX42" fmla="*/ 13657 w 140354"/>
                <a:gd name="connsiteY42" fmla="*/ 44143 h 62677"/>
                <a:gd name="connsiteX43" fmla="*/ 3780 w 140354"/>
                <a:gd name="connsiteY43" fmla="*/ 45972 h 62677"/>
                <a:gd name="connsiteX44" fmla="*/ 0 w 140354"/>
                <a:gd name="connsiteY44" fmla="*/ 47557 h 62677"/>
                <a:gd name="connsiteX45" fmla="*/ 5243 w 140354"/>
                <a:gd name="connsiteY45" fmla="*/ 49874 h 62677"/>
                <a:gd name="connsiteX46" fmla="*/ 5243 w 140354"/>
                <a:gd name="connsiteY46" fmla="*/ 56215 h 62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40354" h="62677">
                  <a:moveTo>
                    <a:pt x="5243" y="56215"/>
                  </a:moveTo>
                  <a:lnTo>
                    <a:pt x="9999" y="57069"/>
                  </a:lnTo>
                  <a:lnTo>
                    <a:pt x="17072" y="54020"/>
                  </a:lnTo>
                  <a:lnTo>
                    <a:pt x="28412" y="55362"/>
                  </a:lnTo>
                  <a:lnTo>
                    <a:pt x="34022" y="62678"/>
                  </a:lnTo>
                  <a:lnTo>
                    <a:pt x="36704" y="62678"/>
                  </a:lnTo>
                  <a:lnTo>
                    <a:pt x="38168" y="51094"/>
                  </a:lnTo>
                  <a:lnTo>
                    <a:pt x="49630" y="50118"/>
                  </a:lnTo>
                  <a:lnTo>
                    <a:pt x="48289" y="58532"/>
                  </a:lnTo>
                  <a:lnTo>
                    <a:pt x="59995" y="56337"/>
                  </a:lnTo>
                  <a:lnTo>
                    <a:pt x="55849" y="42314"/>
                  </a:lnTo>
                  <a:lnTo>
                    <a:pt x="67678" y="39753"/>
                  </a:lnTo>
                  <a:lnTo>
                    <a:pt x="73043" y="44996"/>
                  </a:lnTo>
                  <a:lnTo>
                    <a:pt x="79384" y="41826"/>
                  </a:lnTo>
                  <a:lnTo>
                    <a:pt x="83896" y="27071"/>
                  </a:lnTo>
                  <a:lnTo>
                    <a:pt x="101943" y="27071"/>
                  </a:lnTo>
                  <a:lnTo>
                    <a:pt x="95602" y="37314"/>
                  </a:lnTo>
                  <a:lnTo>
                    <a:pt x="112552" y="43655"/>
                  </a:lnTo>
                  <a:lnTo>
                    <a:pt x="116454" y="33412"/>
                  </a:lnTo>
                  <a:lnTo>
                    <a:pt x="131087" y="30242"/>
                  </a:lnTo>
                  <a:lnTo>
                    <a:pt x="128161" y="27071"/>
                  </a:lnTo>
                  <a:lnTo>
                    <a:pt x="109016" y="24754"/>
                  </a:lnTo>
                  <a:lnTo>
                    <a:pt x="124624" y="23047"/>
                  </a:lnTo>
                  <a:lnTo>
                    <a:pt x="124502" y="22803"/>
                  </a:lnTo>
                  <a:lnTo>
                    <a:pt x="132185" y="19511"/>
                  </a:lnTo>
                  <a:lnTo>
                    <a:pt x="126453" y="15487"/>
                  </a:lnTo>
                  <a:lnTo>
                    <a:pt x="132551" y="6707"/>
                  </a:lnTo>
                  <a:lnTo>
                    <a:pt x="139867" y="6707"/>
                  </a:lnTo>
                  <a:lnTo>
                    <a:pt x="140355" y="6219"/>
                  </a:lnTo>
                  <a:lnTo>
                    <a:pt x="130356" y="0"/>
                  </a:lnTo>
                  <a:lnTo>
                    <a:pt x="118771" y="1341"/>
                  </a:lnTo>
                  <a:lnTo>
                    <a:pt x="129624" y="6097"/>
                  </a:lnTo>
                  <a:lnTo>
                    <a:pt x="115235" y="8536"/>
                  </a:lnTo>
                  <a:lnTo>
                    <a:pt x="103285" y="8414"/>
                  </a:lnTo>
                  <a:lnTo>
                    <a:pt x="99382" y="7317"/>
                  </a:lnTo>
                  <a:lnTo>
                    <a:pt x="77311" y="7926"/>
                  </a:lnTo>
                  <a:lnTo>
                    <a:pt x="66214" y="11584"/>
                  </a:lnTo>
                  <a:lnTo>
                    <a:pt x="66214" y="16950"/>
                  </a:lnTo>
                  <a:lnTo>
                    <a:pt x="42924" y="27193"/>
                  </a:lnTo>
                  <a:lnTo>
                    <a:pt x="39875" y="32436"/>
                  </a:lnTo>
                  <a:lnTo>
                    <a:pt x="31583" y="33046"/>
                  </a:lnTo>
                  <a:lnTo>
                    <a:pt x="28900" y="40119"/>
                  </a:lnTo>
                  <a:lnTo>
                    <a:pt x="13657" y="44143"/>
                  </a:lnTo>
                  <a:lnTo>
                    <a:pt x="3780" y="45972"/>
                  </a:lnTo>
                  <a:lnTo>
                    <a:pt x="0" y="47557"/>
                  </a:lnTo>
                  <a:lnTo>
                    <a:pt x="5243" y="49874"/>
                  </a:lnTo>
                  <a:lnTo>
                    <a:pt x="5243" y="5621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6" name="Freihandform: Form 585">
              <a:extLst>
                <a:ext uri="{FF2B5EF4-FFF2-40B4-BE49-F238E27FC236}">
                  <a16:creationId xmlns:a16="http://schemas.microsoft.com/office/drawing/2014/main" id="{DE1DCE2F-4A85-4E89-B281-23C6A2465F41}"/>
                </a:ext>
              </a:extLst>
            </p:cNvPr>
            <p:cNvSpPr/>
            <p:nvPr/>
          </p:nvSpPr>
          <p:spPr>
            <a:xfrm>
              <a:off x="2599106" y="956780"/>
              <a:ext cx="608122" cy="343021"/>
            </a:xfrm>
            <a:custGeom>
              <a:avLst/>
              <a:gdLst>
                <a:gd name="connsiteX0" fmla="*/ 22803 w 608122"/>
                <a:gd name="connsiteY0" fmla="*/ 96456 h 343021"/>
                <a:gd name="connsiteX1" fmla="*/ 38290 w 608122"/>
                <a:gd name="connsiteY1" fmla="*/ 93773 h 343021"/>
                <a:gd name="connsiteX2" fmla="*/ 41460 w 608122"/>
                <a:gd name="connsiteY2" fmla="*/ 100602 h 343021"/>
                <a:gd name="connsiteX3" fmla="*/ 27315 w 608122"/>
                <a:gd name="connsiteY3" fmla="*/ 104260 h 343021"/>
                <a:gd name="connsiteX4" fmla="*/ 28290 w 608122"/>
                <a:gd name="connsiteY4" fmla="*/ 106211 h 343021"/>
                <a:gd name="connsiteX5" fmla="*/ 50850 w 608122"/>
                <a:gd name="connsiteY5" fmla="*/ 103894 h 343021"/>
                <a:gd name="connsiteX6" fmla="*/ 69385 w 608122"/>
                <a:gd name="connsiteY6" fmla="*/ 97675 h 343021"/>
                <a:gd name="connsiteX7" fmla="*/ 93773 w 608122"/>
                <a:gd name="connsiteY7" fmla="*/ 99382 h 343021"/>
                <a:gd name="connsiteX8" fmla="*/ 82920 w 608122"/>
                <a:gd name="connsiteY8" fmla="*/ 105601 h 343021"/>
                <a:gd name="connsiteX9" fmla="*/ 60361 w 608122"/>
                <a:gd name="connsiteY9" fmla="*/ 111089 h 343021"/>
                <a:gd name="connsiteX10" fmla="*/ 46216 w 608122"/>
                <a:gd name="connsiteY10" fmla="*/ 116576 h 343021"/>
                <a:gd name="connsiteX11" fmla="*/ 46216 w 608122"/>
                <a:gd name="connsiteY11" fmla="*/ 119991 h 343021"/>
                <a:gd name="connsiteX12" fmla="*/ 38777 w 608122"/>
                <a:gd name="connsiteY12" fmla="*/ 121576 h 343021"/>
                <a:gd name="connsiteX13" fmla="*/ 41216 w 608122"/>
                <a:gd name="connsiteY13" fmla="*/ 126088 h 343021"/>
                <a:gd name="connsiteX14" fmla="*/ 71092 w 608122"/>
                <a:gd name="connsiteY14" fmla="*/ 127795 h 343021"/>
                <a:gd name="connsiteX15" fmla="*/ 100358 w 608122"/>
                <a:gd name="connsiteY15" fmla="*/ 126575 h 343021"/>
                <a:gd name="connsiteX16" fmla="*/ 124624 w 608122"/>
                <a:gd name="connsiteY16" fmla="*/ 115601 h 343021"/>
                <a:gd name="connsiteX17" fmla="*/ 133770 w 608122"/>
                <a:gd name="connsiteY17" fmla="*/ 114259 h 343021"/>
                <a:gd name="connsiteX18" fmla="*/ 142550 w 608122"/>
                <a:gd name="connsiteY18" fmla="*/ 118040 h 343021"/>
                <a:gd name="connsiteX19" fmla="*/ 118283 w 608122"/>
                <a:gd name="connsiteY19" fmla="*/ 131331 h 343021"/>
                <a:gd name="connsiteX20" fmla="*/ 100846 w 608122"/>
                <a:gd name="connsiteY20" fmla="*/ 135111 h 343021"/>
                <a:gd name="connsiteX21" fmla="*/ 72677 w 608122"/>
                <a:gd name="connsiteY21" fmla="*/ 135111 h 343021"/>
                <a:gd name="connsiteX22" fmla="*/ 51093 w 608122"/>
                <a:gd name="connsiteY22" fmla="*/ 139257 h 343021"/>
                <a:gd name="connsiteX23" fmla="*/ 53654 w 608122"/>
                <a:gd name="connsiteY23" fmla="*/ 142062 h 343021"/>
                <a:gd name="connsiteX24" fmla="*/ 73165 w 608122"/>
                <a:gd name="connsiteY24" fmla="*/ 144501 h 343021"/>
                <a:gd name="connsiteX25" fmla="*/ 89627 w 608122"/>
                <a:gd name="connsiteY25" fmla="*/ 150476 h 343021"/>
                <a:gd name="connsiteX26" fmla="*/ 95480 w 608122"/>
                <a:gd name="connsiteY26" fmla="*/ 148891 h 343021"/>
                <a:gd name="connsiteX27" fmla="*/ 103894 w 608122"/>
                <a:gd name="connsiteY27" fmla="*/ 139867 h 343021"/>
                <a:gd name="connsiteX28" fmla="*/ 121698 w 608122"/>
                <a:gd name="connsiteY28" fmla="*/ 131575 h 343021"/>
                <a:gd name="connsiteX29" fmla="*/ 147549 w 608122"/>
                <a:gd name="connsiteY29" fmla="*/ 125356 h 343021"/>
                <a:gd name="connsiteX30" fmla="*/ 177547 w 608122"/>
                <a:gd name="connsiteY30" fmla="*/ 122795 h 343021"/>
                <a:gd name="connsiteX31" fmla="*/ 180230 w 608122"/>
                <a:gd name="connsiteY31" fmla="*/ 131087 h 343021"/>
                <a:gd name="connsiteX32" fmla="*/ 131331 w 608122"/>
                <a:gd name="connsiteY32" fmla="*/ 138160 h 343021"/>
                <a:gd name="connsiteX33" fmla="*/ 117795 w 608122"/>
                <a:gd name="connsiteY33" fmla="*/ 145720 h 343021"/>
                <a:gd name="connsiteX34" fmla="*/ 111455 w 608122"/>
                <a:gd name="connsiteY34" fmla="*/ 152793 h 343021"/>
                <a:gd name="connsiteX35" fmla="*/ 111455 w 608122"/>
                <a:gd name="connsiteY35" fmla="*/ 154866 h 343021"/>
                <a:gd name="connsiteX36" fmla="*/ 138891 w 608122"/>
                <a:gd name="connsiteY36" fmla="*/ 155476 h 343021"/>
                <a:gd name="connsiteX37" fmla="*/ 145598 w 608122"/>
                <a:gd name="connsiteY37" fmla="*/ 153525 h 343021"/>
                <a:gd name="connsiteX38" fmla="*/ 145598 w 608122"/>
                <a:gd name="connsiteY38" fmla="*/ 142184 h 343021"/>
                <a:gd name="connsiteX39" fmla="*/ 157549 w 608122"/>
                <a:gd name="connsiteY39" fmla="*/ 140477 h 343021"/>
                <a:gd name="connsiteX40" fmla="*/ 160231 w 608122"/>
                <a:gd name="connsiteY40" fmla="*/ 146940 h 343021"/>
                <a:gd name="connsiteX41" fmla="*/ 171450 w 608122"/>
                <a:gd name="connsiteY41" fmla="*/ 143159 h 343021"/>
                <a:gd name="connsiteX42" fmla="*/ 193033 w 608122"/>
                <a:gd name="connsiteY42" fmla="*/ 143159 h 343021"/>
                <a:gd name="connsiteX43" fmla="*/ 185595 w 608122"/>
                <a:gd name="connsiteY43" fmla="*/ 149622 h 343021"/>
                <a:gd name="connsiteX44" fmla="*/ 172181 w 608122"/>
                <a:gd name="connsiteY44" fmla="*/ 154012 h 343021"/>
                <a:gd name="connsiteX45" fmla="*/ 172303 w 608122"/>
                <a:gd name="connsiteY45" fmla="*/ 154134 h 343021"/>
                <a:gd name="connsiteX46" fmla="*/ 199740 w 608122"/>
                <a:gd name="connsiteY46" fmla="*/ 151208 h 343021"/>
                <a:gd name="connsiteX47" fmla="*/ 214983 w 608122"/>
                <a:gd name="connsiteY47" fmla="*/ 146940 h 343021"/>
                <a:gd name="connsiteX48" fmla="*/ 237908 w 608122"/>
                <a:gd name="connsiteY48" fmla="*/ 134258 h 343021"/>
                <a:gd name="connsiteX49" fmla="*/ 226933 w 608122"/>
                <a:gd name="connsiteY49" fmla="*/ 122795 h 343021"/>
                <a:gd name="connsiteX50" fmla="*/ 245590 w 608122"/>
                <a:gd name="connsiteY50" fmla="*/ 120600 h 343021"/>
                <a:gd name="connsiteX51" fmla="*/ 249736 w 608122"/>
                <a:gd name="connsiteY51" fmla="*/ 113528 h 343021"/>
                <a:gd name="connsiteX52" fmla="*/ 263760 w 608122"/>
                <a:gd name="connsiteY52" fmla="*/ 108162 h 343021"/>
                <a:gd name="connsiteX53" fmla="*/ 275222 w 608122"/>
                <a:gd name="connsiteY53" fmla="*/ 106699 h 343021"/>
                <a:gd name="connsiteX54" fmla="*/ 278027 w 608122"/>
                <a:gd name="connsiteY54" fmla="*/ 112796 h 343021"/>
                <a:gd name="connsiteX55" fmla="*/ 259979 w 608122"/>
                <a:gd name="connsiteY55" fmla="*/ 125234 h 343021"/>
                <a:gd name="connsiteX56" fmla="*/ 254980 w 608122"/>
                <a:gd name="connsiteY56" fmla="*/ 135721 h 343021"/>
                <a:gd name="connsiteX57" fmla="*/ 273881 w 608122"/>
                <a:gd name="connsiteY57" fmla="*/ 132063 h 343021"/>
                <a:gd name="connsiteX58" fmla="*/ 299245 w 608122"/>
                <a:gd name="connsiteY58" fmla="*/ 132063 h 343021"/>
                <a:gd name="connsiteX59" fmla="*/ 304000 w 608122"/>
                <a:gd name="connsiteY59" fmla="*/ 140355 h 343021"/>
                <a:gd name="connsiteX60" fmla="*/ 282661 w 608122"/>
                <a:gd name="connsiteY60" fmla="*/ 146818 h 343021"/>
                <a:gd name="connsiteX61" fmla="*/ 255590 w 608122"/>
                <a:gd name="connsiteY61" fmla="*/ 144989 h 343021"/>
                <a:gd name="connsiteX62" fmla="*/ 236079 w 608122"/>
                <a:gd name="connsiteY62" fmla="*/ 149622 h 343021"/>
                <a:gd name="connsiteX63" fmla="*/ 237298 w 608122"/>
                <a:gd name="connsiteY63" fmla="*/ 149866 h 343021"/>
                <a:gd name="connsiteX64" fmla="*/ 254492 w 608122"/>
                <a:gd name="connsiteY64" fmla="*/ 149866 h 343021"/>
                <a:gd name="connsiteX65" fmla="*/ 251200 w 608122"/>
                <a:gd name="connsiteY65" fmla="*/ 157061 h 343021"/>
                <a:gd name="connsiteX66" fmla="*/ 229982 w 608122"/>
                <a:gd name="connsiteY66" fmla="*/ 160353 h 343021"/>
                <a:gd name="connsiteX67" fmla="*/ 216080 w 608122"/>
                <a:gd name="connsiteY67" fmla="*/ 160841 h 343021"/>
                <a:gd name="connsiteX68" fmla="*/ 197545 w 608122"/>
                <a:gd name="connsiteY68" fmla="*/ 167060 h 343021"/>
                <a:gd name="connsiteX69" fmla="*/ 173889 w 608122"/>
                <a:gd name="connsiteY69" fmla="*/ 165963 h 343021"/>
                <a:gd name="connsiteX70" fmla="*/ 173889 w 608122"/>
                <a:gd name="connsiteY70" fmla="*/ 168401 h 343021"/>
                <a:gd name="connsiteX71" fmla="*/ 188522 w 608122"/>
                <a:gd name="connsiteY71" fmla="*/ 173523 h 343021"/>
                <a:gd name="connsiteX72" fmla="*/ 200472 w 608122"/>
                <a:gd name="connsiteY72" fmla="*/ 184498 h 343021"/>
                <a:gd name="connsiteX73" fmla="*/ 205837 w 608122"/>
                <a:gd name="connsiteY73" fmla="*/ 195229 h 343021"/>
                <a:gd name="connsiteX74" fmla="*/ 215958 w 608122"/>
                <a:gd name="connsiteY74" fmla="*/ 198399 h 343021"/>
                <a:gd name="connsiteX75" fmla="*/ 227177 w 608122"/>
                <a:gd name="connsiteY75" fmla="*/ 196570 h 343021"/>
                <a:gd name="connsiteX76" fmla="*/ 239859 w 608122"/>
                <a:gd name="connsiteY76" fmla="*/ 199862 h 343021"/>
                <a:gd name="connsiteX77" fmla="*/ 224860 w 608122"/>
                <a:gd name="connsiteY77" fmla="*/ 208276 h 343021"/>
                <a:gd name="connsiteX78" fmla="*/ 197667 w 608122"/>
                <a:gd name="connsiteY78" fmla="*/ 208276 h 343021"/>
                <a:gd name="connsiteX79" fmla="*/ 185961 w 608122"/>
                <a:gd name="connsiteY79" fmla="*/ 192912 h 343021"/>
                <a:gd name="connsiteX80" fmla="*/ 159622 w 608122"/>
                <a:gd name="connsiteY80" fmla="*/ 174986 h 343021"/>
                <a:gd name="connsiteX81" fmla="*/ 137550 w 608122"/>
                <a:gd name="connsiteY81" fmla="*/ 171328 h 343021"/>
                <a:gd name="connsiteX82" fmla="*/ 109260 w 608122"/>
                <a:gd name="connsiteY82" fmla="*/ 170718 h 343021"/>
                <a:gd name="connsiteX83" fmla="*/ 106577 w 608122"/>
                <a:gd name="connsiteY83" fmla="*/ 175840 h 343021"/>
                <a:gd name="connsiteX84" fmla="*/ 125844 w 608122"/>
                <a:gd name="connsiteY84" fmla="*/ 186449 h 343021"/>
                <a:gd name="connsiteX85" fmla="*/ 105358 w 608122"/>
                <a:gd name="connsiteY85" fmla="*/ 189375 h 343021"/>
                <a:gd name="connsiteX86" fmla="*/ 128892 w 608122"/>
                <a:gd name="connsiteY86" fmla="*/ 196936 h 343021"/>
                <a:gd name="connsiteX87" fmla="*/ 145110 w 608122"/>
                <a:gd name="connsiteY87" fmla="*/ 205837 h 343021"/>
                <a:gd name="connsiteX88" fmla="*/ 148037 w 608122"/>
                <a:gd name="connsiteY88" fmla="*/ 213398 h 343021"/>
                <a:gd name="connsiteX89" fmla="*/ 162914 w 608122"/>
                <a:gd name="connsiteY89" fmla="*/ 223763 h 343021"/>
                <a:gd name="connsiteX90" fmla="*/ 160475 w 608122"/>
                <a:gd name="connsiteY90" fmla="*/ 231201 h 343021"/>
                <a:gd name="connsiteX91" fmla="*/ 145232 w 608122"/>
                <a:gd name="connsiteY91" fmla="*/ 229128 h 343021"/>
                <a:gd name="connsiteX92" fmla="*/ 143525 w 608122"/>
                <a:gd name="connsiteY92" fmla="*/ 230104 h 343021"/>
                <a:gd name="connsiteX93" fmla="*/ 156451 w 608122"/>
                <a:gd name="connsiteY93" fmla="*/ 233518 h 343021"/>
                <a:gd name="connsiteX94" fmla="*/ 181571 w 608122"/>
                <a:gd name="connsiteY94" fmla="*/ 233518 h 343021"/>
                <a:gd name="connsiteX95" fmla="*/ 207910 w 608122"/>
                <a:gd name="connsiteY95" fmla="*/ 230836 h 343021"/>
                <a:gd name="connsiteX96" fmla="*/ 207910 w 608122"/>
                <a:gd name="connsiteY96" fmla="*/ 240591 h 343021"/>
                <a:gd name="connsiteX97" fmla="*/ 190107 w 608122"/>
                <a:gd name="connsiteY97" fmla="*/ 242542 h 343021"/>
                <a:gd name="connsiteX98" fmla="*/ 187058 w 608122"/>
                <a:gd name="connsiteY98" fmla="*/ 248639 h 343021"/>
                <a:gd name="connsiteX99" fmla="*/ 164377 w 608122"/>
                <a:gd name="connsiteY99" fmla="*/ 241444 h 343021"/>
                <a:gd name="connsiteX100" fmla="*/ 144745 w 608122"/>
                <a:gd name="connsiteY100" fmla="*/ 242054 h 343021"/>
                <a:gd name="connsiteX101" fmla="*/ 127795 w 608122"/>
                <a:gd name="connsiteY101" fmla="*/ 239615 h 343021"/>
                <a:gd name="connsiteX102" fmla="*/ 113649 w 608122"/>
                <a:gd name="connsiteY102" fmla="*/ 241444 h 343021"/>
                <a:gd name="connsiteX103" fmla="*/ 105235 w 608122"/>
                <a:gd name="connsiteY103" fmla="*/ 240225 h 343021"/>
                <a:gd name="connsiteX104" fmla="*/ 100724 w 608122"/>
                <a:gd name="connsiteY104" fmla="*/ 241201 h 343021"/>
                <a:gd name="connsiteX105" fmla="*/ 90237 w 608122"/>
                <a:gd name="connsiteY105" fmla="*/ 255955 h 343021"/>
                <a:gd name="connsiteX106" fmla="*/ 90237 w 608122"/>
                <a:gd name="connsiteY106" fmla="*/ 264248 h 343021"/>
                <a:gd name="connsiteX107" fmla="*/ 104138 w 608122"/>
                <a:gd name="connsiteY107" fmla="*/ 264248 h 343021"/>
                <a:gd name="connsiteX108" fmla="*/ 110113 w 608122"/>
                <a:gd name="connsiteY108" fmla="*/ 257907 h 343021"/>
                <a:gd name="connsiteX109" fmla="*/ 119747 w 608122"/>
                <a:gd name="connsiteY109" fmla="*/ 259980 h 343021"/>
                <a:gd name="connsiteX110" fmla="*/ 115966 w 608122"/>
                <a:gd name="connsiteY110" fmla="*/ 266442 h 343021"/>
                <a:gd name="connsiteX111" fmla="*/ 124015 w 608122"/>
                <a:gd name="connsiteY111" fmla="*/ 266077 h 343021"/>
                <a:gd name="connsiteX112" fmla="*/ 131331 w 608122"/>
                <a:gd name="connsiteY112" fmla="*/ 258150 h 343021"/>
                <a:gd name="connsiteX113" fmla="*/ 131331 w 608122"/>
                <a:gd name="connsiteY113" fmla="*/ 250346 h 343021"/>
                <a:gd name="connsiteX114" fmla="*/ 143525 w 608122"/>
                <a:gd name="connsiteY114" fmla="*/ 252175 h 343021"/>
                <a:gd name="connsiteX115" fmla="*/ 149012 w 608122"/>
                <a:gd name="connsiteY115" fmla="*/ 266930 h 343021"/>
                <a:gd name="connsiteX116" fmla="*/ 138404 w 608122"/>
                <a:gd name="connsiteY116" fmla="*/ 270832 h 343021"/>
                <a:gd name="connsiteX117" fmla="*/ 138404 w 608122"/>
                <a:gd name="connsiteY117" fmla="*/ 276076 h 343021"/>
                <a:gd name="connsiteX118" fmla="*/ 127917 w 608122"/>
                <a:gd name="connsiteY118" fmla="*/ 278271 h 343021"/>
                <a:gd name="connsiteX119" fmla="*/ 130843 w 608122"/>
                <a:gd name="connsiteY119" fmla="*/ 285465 h 343021"/>
                <a:gd name="connsiteX120" fmla="*/ 146330 w 608122"/>
                <a:gd name="connsiteY120" fmla="*/ 289977 h 343021"/>
                <a:gd name="connsiteX121" fmla="*/ 163524 w 608122"/>
                <a:gd name="connsiteY121" fmla="*/ 287173 h 343021"/>
                <a:gd name="connsiteX122" fmla="*/ 176327 w 608122"/>
                <a:gd name="connsiteY122" fmla="*/ 270467 h 343021"/>
                <a:gd name="connsiteX123" fmla="*/ 188156 w 608122"/>
                <a:gd name="connsiteY123" fmla="*/ 269735 h 343021"/>
                <a:gd name="connsiteX124" fmla="*/ 188156 w 608122"/>
                <a:gd name="connsiteY124" fmla="*/ 269735 h 343021"/>
                <a:gd name="connsiteX125" fmla="*/ 195472 w 608122"/>
                <a:gd name="connsiteY125" fmla="*/ 277051 h 343021"/>
                <a:gd name="connsiteX126" fmla="*/ 181449 w 608122"/>
                <a:gd name="connsiteY126" fmla="*/ 282295 h 343021"/>
                <a:gd name="connsiteX127" fmla="*/ 162670 w 608122"/>
                <a:gd name="connsiteY127" fmla="*/ 301684 h 343021"/>
                <a:gd name="connsiteX128" fmla="*/ 153402 w 608122"/>
                <a:gd name="connsiteY128" fmla="*/ 301074 h 343021"/>
                <a:gd name="connsiteX129" fmla="*/ 147915 w 608122"/>
                <a:gd name="connsiteY129" fmla="*/ 301806 h 343021"/>
                <a:gd name="connsiteX130" fmla="*/ 166328 w 608122"/>
                <a:gd name="connsiteY130" fmla="*/ 323023 h 343021"/>
                <a:gd name="connsiteX131" fmla="*/ 169499 w 608122"/>
                <a:gd name="connsiteY131" fmla="*/ 326682 h 343021"/>
                <a:gd name="connsiteX132" fmla="*/ 177181 w 608122"/>
                <a:gd name="connsiteY132" fmla="*/ 326682 h 343021"/>
                <a:gd name="connsiteX133" fmla="*/ 179132 w 608122"/>
                <a:gd name="connsiteY133" fmla="*/ 333876 h 343021"/>
                <a:gd name="connsiteX134" fmla="*/ 186571 w 608122"/>
                <a:gd name="connsiteY134" fmla="*/ 335218 h 343021"/>
                <a:gd name="connsiteX135" fmla="*/ 190473 w 608122"/>
                <a:gd name="connsiteY135" fmla="*/ 333266 h 343021"/>
                <a:gd name="connsiteX136" fmla="*/ 185839 w 608122"/>
                <a:gd name="connsiteY136" fmla="*/ 326316 h 343021"/>
                <a:gd name="connsiteX137" fmla="*/ 203642 w 608122"/>
                <a:gd name="connsiteY137" fmla="*/ 326316 h 343021"/>
                <a:gd name="connsiteX138" fmla="*/ 210349 w 608122"/>
                <a:gd name="connsiteY138" fmla="*/ 331315 h 343021"/>
                <a:gd name="connsiteX139" fmla="*/ 219251 w 608122"/>
                <a:gd name="connsiteY139" fmla="*/ 332169 h 343021"/>
                <a:gd name="connsiteX140" fmla="*/ 222421 w 608122"/>
                <a:gd name="connsiteY140" fmla="*/ 336315 h 343021"/>
                <a:gd name="connsiteX141" fmla="*/ 220104 w 608122"/>
                <a:gd name="connsiteY141" fmla="*/ 341924 h 343021"/>
                <a:gd name="connsiteX142" fmla="*/ 225592 w 608122"/>
                <a:gd name="connsiteY142" fmla="*/ 343022 h 343021"/>
                <a:gd name="connsiteX143" fmla="*/ 249736 w 608122"/>
                <a:gd name="connsiteY143" fmla="*/ 335218 h 343021"/>
                <a:gd name="connsiteX144" fmla="*/ 252785 w 608122"/>
                <a:gd name="connsiteY144" fmla="*/ 329974 h 343021"/>
                <a:gd name="connsiteX145" fmla="*/ 268272 w 608122"/>
                <a:gd name="connsiteY145" fmla="*/ 329974 h 343021"/>
                <a:gd name="connsiteX146" fmla="*/ 272539 w 608122"/>
                <a:gd name="connsiteY146" fmla="*/ 325340 h 343021"/>
                <a:gd name="connsiteX147" fmla="*/ 270345 w 608122"/>
                <a:gd name="connsiteY147" fmla="*/ 316317 h 343021"/>
                <a:gd name="connsiteX148" fmla="*/ 264125 w 608122"/>
                <a:gd name="connsiteY148" fmla="*/ 315463 h 343021"/>
                <a:gd name="connsiteX149" fmla="*/ 255590 w 608122"/>
                <a:gd name="connsiteY149" fmla="*/ 322901 h 343021"/>
                <a:gd name="connsiteX150" fmla="*/ 242420 w 608122"/>
                <a:gd name="connsiteY150" fmla="*/ 320828 h 343021"/>
                <a:gd name="connsiteX151" fmla="*/ 242420 w 608122"/>
                <a:gd name="connsiteY151" fmla="*/ 310829 h 343021"/>
                <a:gd name="connsiteX152" fmla="*/ 246932 w 608122"/>
                <a:gd name="connsiteY152" fmla="*/ 308147 h 343021"/>
                <a:gd name="connsiteX153" fmla="*/ 246688 w 608122"/>
                <a:gd name="connsiteY153" fmla="*/ 306805 h 343021"/>
                <a:gd name="connsiteX154" fmla="*/ 241322 w 608122"/>
                <a:gd name="connsiteY154" fmla="*/ 306805 h 343021"/>
                <a:gd name="connsiteX155" fmla="*/ 233396 w 608122"/>
                <a:gd name="connsiteY155" fmla="*/ 311073 h 343021"/>
                <a:gd name="connsiteX156" fmla="*/ 226324 w 608122"/>
                <a:gd name="connsiteY156" fmla="*/ 308390 h 343021"/>
                <a:gd name="connsiteX157" fmla="*/ 197058 w 608122"/>
                <a:gd name="connsiteY157" fmla="*/ 309732 h 343021"/>
                <a:gd name="connsiteX158" fmla="*/ 193277 w 608122"/>
                <a:gd name="connsiteY158" fmla="*/ 303269 h 343021"/>
                <a:gd name="connsiteX159" fmla="*/ 204862 w 608122"/>
                <a:gd name="connsiteY159" fmla="*/ 298269 h 343021"/>
                <a:gd name="connsiteX160" fmla="*/ 197667 w 608122"/>
                <a:gd name="connsiteY160" fmla="*/ 291562 h 343021"/>
                <a:gd name="connsiteX161" fmla="*/ 206203 w 608122"/>
                <a:gd name="connsiteY161" fmla="*/ 289733 h 343021"/>
                <a:gd name="connsiteX162" fmla="*/ 222421 w 608122"/>
                <a:gd name="connsiteY162" fmla="*/ 299611 h 343021"/>
                <a:gd name="connsiteX163" fmla="*/ 256443 w 608122"/>
                <a:gd name="connsiteY163" fmla="*/ 299245 h 343021"/>
                <a:gd name="connsiteX164" fmla="*/ 272661 w 608122"/>
                <a:gd name="connsiteY164" fmla="*/ 291806 h 343021"/>
                <a:gd name="connsiteX165" fmla="*/ 268637 w 608122"/>
                <a:gd name="connsiteY165" fmla="*/ 285343 h 343021"/>
                <a:gd name="connsiteX166" fmla="*/ 260711 w 608122"/>
                <a:gd name="connsiteY166" fmla="*/ 281319 h 343021"/>
                <a:gd name="connsiteX167" fmla="*/ 268393 w 608122"/>
                <a:gd name="connsiteY167" fmla="*/ 274613 h 343021"/>
                <a:gd name="connsiteX168" fmla="*/ 268393 w 608122"/>
                <a:gd name="connsiteY168" fmla="*/ 274613 h 343021"/>
                <a:gd name="connsiteX169" fmla="*/ 295464 w 608122"/>
                <a:gd name="connsiteY169" fmla="*/ 276320 h 343021"/>
                <a:gd name="connsiteX170" fmla="*/ 309976 w 608122"/>
                <a:gd name="connsiteY170" fmla="*/ 272418 h 343021"/>
                <a:gd name="connsiteX171" fmla="*/ 308390 w 608122"/>
                <a:gd name="connsiteY171" fmla="*/ 271930 h 343021"/>
                <a:gd name="connsiteX172" fmla="*/ 292904 w 608122"/>
                <a:gd name="connsiteY172" fmla="*/ 270588 h 343021"/>
                <a:gd name="connsiteX173" fmla="*/ 286929 w 608122"/>
                <a:gd name="connsiteY173" fmla="*/ 265589 h 343021"/>
                <a:gd name="connsiteX174" fmla="*/ 303147 w 608122"/>
                <a:gd name="connsiteY174" fmla="*/ 263150 h 343021"/>
                <a:gd name="connsiteX175" fmla="*/ 322536 w 608122"/>
                <a:gd name="connsiteY175" fmla="*/ 262784 h 343021"/>
                <a:gd name="connsiteX176" fmla="*/ 325218 w 608122"/>
                <a:gd name="connsiteY176" fmla="*/ 261443 h 343021"/>
                <a:gd name="connsiteX177" fmla="*/ 324243 w 608122"/>
                <a:gd name="connsiteY177" fmla="*/ 258150 h 343021"/>
                <a:gd name="connsiteX178" fmla="*/ 297050 w 608122"/>
                <a:gd name="connsiteY178" fmla="*/ 251931 h 343021"/>
                <a:gd name="connsiteX179" fmla="*/ 310585 w 608122"/>
                <a:gd name="connsiteY179" fmla="*/ 248395 h 343021"/>
                <a:gd name="connsiteX180" fmla="*/ 325706 w 608122"/>
                <a:gd name="connsiteY180" fmla="*/ 249615 h 343021"/>
                <a:gd name="connsiteX181" fmla="*/ 332413 w 608122"/>
                <a:gd name="connsiteY181" fmla="*/ 248151 h 343021"/>
                <a:gd name="connsiteX182" fmla="*/ 323999 w 608122"/>
                <a:gd name="connsiteY182" fmla="*/ 238762 h 343021"/>
                <a:gd name="connsiteX183" fmla="*/ 310341 w 608122"/>
                <a:gd name="connsiteY183" fmla="*/ 238762 h 343021"/>
                <a:gd name="connsiteX184" fmla="*/ 297294 w 608122"/>
                <a:gd name="connsiteY184" fmla="*/ 233518 h 343021"/>
                <a:gd name="connsiteX185" fmla="*/ 278149 w 608122"/>
                <a:gd name="connsiteY185" fmla="*/ 235957 h 343021"/>
                <a:gd name="connsiteX186" fmla="*/ 278149 w 608122"/>
                <a:gd name="connsiteY186" fmla="*/ 235957 h 343021"/>
                <a:gd name="connsiteX187" fmla="*/ 267662 w 608122"/>
                <a:gd name="connsiteY187" fmla="*/ 229616 h 343021"/>
                <a:gd name="connsiteX188" fmla="*/ 272905 w 608122"/>
                <a:gd name="connsiteY188" fmla="*/ 228884 h 343021"/>
                <a:gd name="connsiteX189" fmla="*/ 274734 w 608122"/>
                <a:gd name="connsiteY189" fmla="*/ 224129 h 343021"/>
                <a:gd name="connsiteX190" fmla="*/ 273149 w 608122"/>
                <a:gd name="connsiteY190" fmla="*/ 224251 h 343021"/>
                <a:gd name="connsiteX191" fmla="*/ 277295 w 608122"/>
                <a:gd name="connsiteY191" fmla="*/ 216203 h 343021"/>
                <a:gd name="connsiteX192" fmla="*/ 283880 w 608122"/>
                <a:gd name="connsiteY192" fmla="*/ 215715 h 343021"/>
                <a:gd name="connsiteX193" fmla="*/ 281685 w 608122"/>
                <a:gd name="connsiteY193" fmla="*/ 213764 h 343021"/>
                <a:gd name="connsiteX194" fmla="*/ 276807 w 608122"/>
                <a:gd name="connsiteY194" fmla="*/ 213154 h 343021"/>
                <a:gd name="connsiteX195" fmla="*/ 307903 w 608122"/>
                <a:gd name="connsiteY195" fmla="*/ 207910 h 343021"/>
                <a:gd name="connsiteX196" fmla="*/ 314487 w 608122"/>
                <a:gd name="connsiteY196" fmla="*/ 208764 h 343021"/>
                <a:gd name="connsiteX197" fmla="*/ 318024 w 608122"/>
                <a:gd name="connsiteY197" fmla="*/ 211569 h 343021"/>
                <a:gd name="connsiteX198" fmla="*/ 329852 w 608122"/>
                <a:gd name="connsiteY198" fmla="*/ 211203 h 343021"/>
                <a:gd name="connsiteX199" fmla="*/ 330827 w 608122"/>
                <a:gd name="connsiteY199" fmla="*/ 206325 h 343021"/>
                <a:gd name="connsiteX200" fmla="*/ 349241 w 608122"/>
                <a:gd name="connsiteY200" fmla="*/ 206325 h 343021"/>
                <a:gd name="connsiteX201" fmla="*/ 359118 w 608122"/>
                <a:gd name="connsiteY201" fmla="*/ 203643 h 343021"/>
                <a:gd name="connsiteX202" fmla="*/ 358386 w 608122"/>
                <a:gd name="connsiteY202" fmla="*/ 201326 h 343021"/>
                <a:gd name="connsiteX203" fmla="*/ 337168 w 608122"/>
                <a:gd name="connsiteY203" fmla="*/ 198887 h 343021"/>
                <a:gd name="connsiteX204" fmla="*/ 330706 w 608122"/>
                <a:gd name="connsiteY204" fmla="*/ 192302 h 343021"/>
                <a:gd name="connsiteX205" fmla="*/ 348753 w 608122"/>
                <a:gd name="connsiteY205" fmla="*/ 190717 h 343021"/>
                <a:gd name="connsiteX206" fmla="*/ 368507 w 608122"/>
                <a:gd name="connsiteY206" fmla="*/ 194985 h 343021"/>
                <a:gd name="connsiteX207" fmla="*/ 372654 w 608122"/>
                <a:gd name="connsiteY207" fmla="*/ 197180 h 343021"/>
                <a:gd name="connsiteX208" fmla="*/ 389603 w 608122"/>
                <a:gd name="connsiteY208" fmla="*/ 196448 h 343021"/>
                <a:gd name="connsiteX209" fmla="*/ 401676 w 608122"/>
                <a:gd name="connsiteY209" fmla="*/ 190595 h 343021"/>
                <a:gd name="connsiteX210" fmla="*/ 399846 w 608122"/>
                <a:gd name="connsiteY210" fmla="*/ 186083 h 343021"/>
                <a:gd name="connsiteX211" fmla="*/ 403871 w 608122"/>
                <a:gd name="connsiteY211" fmla="*/ 184010 h 343021"/>
                <a:gd name="connsiteX212" fmla="*/ 403261 w 608122"/>
                <a:gd name="connsiteY212" fmla="*/ 183888 h 343021"/>
                <a:gd name="connsiteX213" fmla="*/ 384482 w 608122"/>
                <a:gd name="connsiteY213" fmla="*/ 186327 h 343021"/>
                <a:gd name="connsiteX214" fmla="*/ 384482 w 608122"/>
                <a:gd name="connsiteY214" fmla="*/ 186327 h 343021"/>
                <a:gd name="connsiteX215" fmla="*/ 376434 w 608122"/>
                <a:gd name="connsiteY215" fmla="*/ 185229 h 343021"/>
                <a:gd name="connsiteX216" fmla="*/ 377897 w 608122"/>
                <a:gd name="connsiteY216" fmla="*/ 175962 h 343021"/>
                <a:gd name="connsiteX217" fmla="*/ 388384 w 608122"/>
                <a:gd name="connsiteY217" fmla="*/ 172913 h 343021"/>
                <a:gd name="connsiteX218" fmla="*/ 398627 w 608122"/>
                <a:gd name="connsiteY218" fmla="*/ 176571 h 343021"/>
                <a:gd name="connsiteX219" fmla="*/ 405700 w 608122"/>
                <a:gd name="connsiteY219" fmla="*/ 173157 h 343021"/>
                <a:gd name="connsiteX220" fmla="*/ 421796 w 608122"/>
                <a:gd name="connsiteY220" fmla="*/ 171816 h 343021"/>
                <a:gd name="connsiteX221" fmla="*/ 420211 w 608122"/>
                <a:gd name="connsiteY221" fmla="*/ 169987 h 343021"/>
                <a:gd name="connsiteX222" fmla="*/ 410212 w 608122"/>
                <a:gd name="connsiteY222" fmla="*/ 166572 h 343021"/>
                <a:gd name="connsiteX223" fmla="*/ 407041 w 608122"/>
                <a:gd name="connsiteY223" fmla="*/ 155598 h 343021"/>
                <a:gd name="connsiteX224" fmla="*/ 422893 w 608122"/>
                <a:gd name="connsiteY224" fmla="*/ 159012 h 343021"/>
                <a:gd name="connsiteX225" fmla="*/ 424722 w 608122"/>
                <a:gd name="connsiteY225" fmla="*/ 163158 h 343021"/>
                <a:gd name="connsiteX226" fmla="*/ 429844 w 608122"/>
                <a:gd name="connsiteY226" fmla="*/ 164377 h 343021"/>
                <a:gd name="connsiteX227" fmla="*/ 442770 w 608122"/>
                <a:gd name="connsiteY227" fmla="*/ 159500 h 343021"/>
                <a:gd name="connsiteX228" fmla="*/ 449355 w 608122"/>
                <a:gd name="connsiteY228" fmla="*/ 150232 h 343021"/>
                <a:gd name="connsiteX229" fmla="*/ 470938 w 608122"/>
                <a:gd name="connsiteY229" fmla="*/ 139501 h 343021"/>
                <a:gd name="connsiteX230" fmla="*/ 479109 w 608122"/>
                <a:gd name="connsiteY230" fmla="*/ 137184 h 343021"/>
                <a:gd name="connsiteX231" fmla="*/ 493254 w 608122"/>
                <a:gd name="connsiteY231" fmla="*/ 126575 h 343021"/>
                <a:gd name="connsiteX232" fmla="*/ 499839 w 608122"/>
                <a:gd name="connsiteY232" fmla="*/ 124868 h 343021"/>
                <a:gd name="connsiteX233" fmla="*/ 515081 w 608122"/>
                <a:gd name="connsiteY233" fmla="*/ 112918 h 343021"/>
                <a:gd name="connsiteX234" fmla="*/ 524593 w 608122"/>
                <a:gd name="connsiteY234" fmla="*/ 111699 h 343021"/>
                <a:gd name="connsiteX235" fmla="*/ 534958 w 608122"/>
                <a:gd name="connsiteY235" fmla="*/ 103650 h 343021"/>
                <a:gd name="connsiteX236" fmla="*/ 537762 w 608122"/>
                <a:gd name="connsiteY236" fmla="*/ 102431 h 343021"/>
                <a:gd name="connsiteX237" fmla="*/ 528495 w 608122"/>
                <a:gd name="connsiteY237" fmla="*/ 102675 h 343021"/>
                <a:gd name="connsiteX238" fmla="*/ 516423 w 608122"/>
                <a:gd name="connsiteY238" fmla="*/ 105114 h 343021"/>
                <a:gd name="connsiteX239" fmla="*/ 502155 w 608122"/>
                <a:gd name="connsiteY239" fmla="*/ 109260 h 343021"/>
                <a:gd name="connsiteX240" fmla="*/ 492644 w 608122"/>
                <a:gd name="connsiteY240" fmla="*/ 110845 h 343021"/>
                <a:gd name="connsiteX241" fmla="*/ 462524 w 608122"/>
                <a:gd name="connsiteY241" fmla="*/ 117796 h 343021"/>
                <a:gd name="connsiteX242" fmla="*/ 444233 w 608122"/>
                <a:gd name="connsiteY242" fmla="*/ 123161 h 343021"/>
                <a:gd name="connsiteX243" fmla="*/ 437161 w 608122"/>
                <a:gd name="connsiteY243" fmla="*/ 123649 h 343021"/>
                <a:gd name="connsiteX244" fmla="*/ 432283 w 608122"/>
                <a:gd name="connsiteY244" fmla="*/ 126575 h 343021"/>
                <a:gd name="connsiteX245" fmla="*/ 406675 w 608122"/>
                <a:gd name="connsiteY245" fmla="*/ 123039 h 343021"/>
                <a:gd name="connsiteX246" fmla="*/ 419967 w 608122"/>
                <a:gd name="connsiteY246" fmla="*/ 116576 h 343021"/>
                <a:gd name="connsiteX247" fmla="*/ 439112 w 608122"/>
                <a:gd name="connsiteY247" fmla="*/ 116576 h 343021"/>
                <a:gd name="connsiteX248" fmla="*/ 454842 w 608122"/>
                <a:gd name="connsiteY248" fmla="*/ 111699 h 343021"/>
                <a:gd name="connsiteX249" fmla="*/ 478621 w 608122"/>
                <a:gd name="connsiteY249" fmla="*/ 106699 h 343021"/>
                <a:gd name="connsiteX250" fmla="*/ 496912 w 608122"/>
                <a:gd name="connsiteY250" fmla="*/ 102431 h 343021"/>
                <a:gd name="connsiteX251" fmla="*/ 496668 w 608122"/>
                <a:gd name="connsiteY251" fmla="*/ 101943 h 343021"/>
                <a:gd name="connsiteX252" fmla="*/ 476548 w 608122"/>
                <a:gd name="connsiteY252" fmla="*/ 102309 h 343021"/>
                <a:gd name="connsiteX253" fmla="*/ 469841 w 608122"/>
                <a:gd name="connsiteY253" fmla="*/ 104382 h 343021"/>
                <a:gd name="connsiteX254" fmla="*/ 448013 w 608122"/>
                <a:gd name="connsiteY254" fmla="*/ 103041 h 343021"/>
                <a:gd name="connsiteX255" fmla="*/ 445331 w 608122"/>
                <a:gd name="connsiteY255" fmla="*/ 90603 h 343021"/>
                <a:gd name="connsiteX256" fmla="*/ 451916 w 608122"/>
                <a:gd name="connsiteY256" fmla="*/ 89871 h 343021"/>
                <a:gd name="connsiteX257" fmla="*/ 461427 w 608122"/>
                <a:gd name="connsiteY257" fmla="*/ 93163 h 343021"/>
                <a:gd name="connsiteX258" fmla="*/ 479230 w 608122"/>
                <a:gd name="connsiteY258" fmla="*/ 92310 h 343021"/>
                <a:gd name="connsiteX259" fmla="*/ 486791 w 608122"/>
                <a:gd name="connsiteY259" fmla="*/ 93529 h 343021"/>
                <a:gd name="connsiteX260" fmla="*/ 513496 w 608122"/>
                <a:gd name="connsiteY260" fmla="*/ 91212 h 343021"/>
                <a:gd name="connsiteX261" fmla="*/ 525934 w 608122"/>
                <a:gd name="connsiteY261" fmla="*/ 85847 h 343021"/>
                <a:gd name="connsiteX262" fmla="*/ 543859 w 608122"/>
                <a:gd name="connsiteY262" fmla="*/ 85359 h 343021"/>
                <a:gd name="connsiteX263" fmla="*/ 554346 w 608122"/>
                <a:gd name="connsiteY263" fmla="*/ 81091 h 343021"/>
                <a:gd name="connsiteX264" fmla="*/ 565565 w 608122"/>
                <a:gd name="connsiteY264" fmla="*/ 79262 h 343021"/>
                <a:gd name="connsiteX265" fmla="*/ 578979 w 608122"/>
                <a:gd name="connsiteY265" fmla="*/ 74628 h 343021"/>
                <a:gd name="connsiteX266" fmla="*/ 583734 w 608122"/>
                <a:gd name="connsiteY266" fmla="*/ 69263 h 343021"/>
                <a:gd name="connsiteX267" fmla="*/ 589953 w 608122"/>
                <a:gd name="connsiteY267" fmla="*/ 67190 h 343021"/>
                <a:gd name="connsiteX268" fmla="*/ 587271 w 608122"/>
                <a:gd name="connsiteY268" fmla="*/ 63532 h 343021"/>
                <a:gd name="connsiteX269" fmla="*/ 606781 w 608122"/>
                <a:gd name="connsiteY269" fmla="*/ 56459 h 343021"/>
                <a:gd name="connsiteX270" fmla="*/ 608123 w 608122"/>
                <a:gd name="connsiteY270" fmla="*/ 47069 h 343021"/>
                <a:gd name="connsiteX271" fmla="*/ 592148 w 608122"/>
                <a:gd name="connsiteY271" fmla="*/ 40485 h 343021"/>
                <a:gd name="connsiteX272" fmla="*/ 560444 w 608122"/>
                <a:gd name="connsiteY272" fmla="*/ 40485 h 343021"/>
                <a:gd name="connsiteX273" fmla="*/ 558492 w 608122"/>
                <a:gd name="connsiteY273" fmla="*/ 26827 h 343021"/>
                <a:gd name="connsiteX274" fmla="*/ 546055 w 608122"/>
                <a:gd name="connsiteY274" fmla="*/ 22681 h 343021"/>
                <a:gd name="connsiteX275" fmla="*/ 556054 w 608122"/>
                <a:gd name="connsiteY275" fmla="*/ 18291 h 343021"/>
                <a:gd name="connsiteX276" fmla="*/ 557151 w 608122"/>
                <a:gd name="connsiteY276" fmla="*/ 16218 h 343021"/>
                <a:gd name="connsiteX277" fmla="*/ 552761 w 608122"/>
                <a:gd name="connsiteY277" fmla="*/ 15487 h 343021"/>
                <a:gd name="connsiteX278" fmla="*/ 540201 w 608122"/>
                <a:gd name="connsiteY278" fmla="*/ 17072 h 343021"/>
                <a:gd name="connsiteX279" fmla="*/ 533007 w 608122"/>
                <a:gd name="connsiteY279" fmla="*/ 20608 h 343021"/>
                <a:gd name="connsiteX280" fmla="*/ 527275 w 608122"/>
                <a:gd name="connsiteY280" fmla="*/ 18169 h 343021"/>
                <a:gd name="connsiteX281" fmla="*/ 526544 w 608122"/>
                <a:gd name="connsiteY281" fmla="*/ 13779 h 343021"/>
                <a:gd name="connsiteX282" fmla="*/ 523129 w 608122"/>
                <a:gd name="connsiteY282" fmla="*/ 13779 h 343021"/>
                <a:gd name="connsiteX283" fmla="*/ 520325 w 608122"/>
                <a:gd name="connsiteY283" fmla="*/ 22315 h 343021"/>
                <a:gd name="connsiteX284" fmla="*/ 511545 w 608122"/>
                <a:gd name="connsiteY284" fmla="*/ 22925 h 343021"/>
                <a:gd name="connsiteX285" fmla="*/ 511545 w 608122"/>
                <a:gd name="connsiteY285" fmla="*/ 22925 h 343021"/>
                <a:gd name="connsiteX286" fmla="*/ 504960 w 608122"/>
                <a:gd name="connsiteY286" fmla="*/ 17925 h 343021"/>
                <a:gd name="connsiteX287" fmla="*/ 496668 w 608122"/>
                <a:gd name="connsiteY287" fmla="*/ 18291 h 343021"/>
                <a:gd name="connsiteX288" fmla="*/ 471182 w 608122"/>
                <a:gd name="connsiteY288" fmla="*/ 31461 h 343021"/>
                <a:gd name="connsiteX289" fmla="*/ 447648 w 608122"/>
                <a:gd name="connsiteY289" fmla="*/ 33290 h 343021"/>
                <a:gd name="connsiteX290" fmla="*/ 447648 w 608122"/>
                <a:gd name="connsiteY290" fmla="*/ 27071 h 343021"/>
                <a:gd name="connsiteX291" fmla="*/ 480572 w 608122"/>
                <a:gd name="connsiteY291" fmla="*/ 15609 h 343021"/>
                <a:gd name="connsiteX292" fmla="*/ 479962 w 608122"/>
                <a:gd name="connsiteY292" fmla="*/ 10121 h 343021"/>
                <a:gd name="connsiteX293" fmla="*/ 458988 w 608122"/>
                <a:gd name="connsiteY293" fmla="*/ 10609 h 343021"/>
                <a:gd name="connsiteX294" fmla="*/ 445940 w 608122"/>
                <a:gd name="connsiteY294" fmla="*/ 8048 h 343021"/>
                <a:gd name="connsiteX295" fmla="*/ 428625 w 608122"/>
                <a:gd name="connsiteY295" fmla="*/ 9390 h 343021"/>
                <a:gd name="connsiteX296" fmla="*/ 426674 w 608122"/>
                <a:gd name="connsiteY296" fmla="*/ 5243 h 343021"/>
                <a:gd name="connsiteX297" fmla="*/ 410943 w 608122"/>
                <a:gd name="connsiteY297" fmla="*/ 4756 h 343021"/>
                <a:gd name="connsiteX298" fmla="*/ 407163 w 608122"/>
                <a:gd name="connsiteY298" fmla="*/ 0 h 343021"/>
                <a:gd name="connsiteX299" fmla="*/ 389481 w 608122"/>
                <a:gd name="connsiteY299" fmla="*/ 2195 h 343021"/>
                <a:gd name="connsiteX300" fmla="*/ 389481 w 608122"/>
                <a:gd name="connsiteY300" fmla="*/ 2805 h 343021"/>
                <a:gd name="connsiteX301" fmla="*/ 409480 w 608122"/>
                <a:gd name="connsiteY301" fmla="*/ 9268 h 343021"/>
                <a:gd name="connsiteX302" fmla="*/ 395822 w 608122"/>
                <a:gd name="connsiteY302" fmla="*/ 13536 h 343021"/>
                <a:gd name="connsiteX303" fmla="*/ 395822 w 608122"/>
                <a:gd name="connsiteY303" fmla="*/ 13536 h 343021"/>
                <a:gd name="connsiteX304" fmla="*/ 372897 w 608122"/>
                <a:gd name="connsiteY304" fmla="*/ 5853 h 343021"/>
                <a:gd name="connsiteX305" fmla="*/ 372897 w 608122"/>
                <a:gd name="connsiteY305" fmla="*/ 2073 h 343021"/>
                <a:gd name="connsiteX306" fmla="*/ 357167 w 608122"/>
                <a:gd name="connsiteY306" fmla="*/ 2805 h 343021"/>
                <a:gd name="connsiteX307" fmla="*/ 349728 w 608122"/>
                <a:gd name="connsiteY307" fmla="*/ 3536 h 343021"/>
                <a:gd name="connsiteX308" fmla="*/ 346436 w 608122"/>
                <a:gd name="connsiteY308" fmla="*/ 7682 h 343021"/>
                <a:gd name="connsiteX309" fmla="*/ 348143 w 608122"/>
                <a:gd name="connsiteY309" fmla="*/ 10487 h 343021"/>
                <a:gd name="connsiteX310" fmla="*/ 373019 w 608122"/>
                <a:gd name="connsiteY310" fmla="*/ 22437 h 343021"/>
                <a:gd name="connsiteX311" fmla="*/ 375946 w 608122"/>
                <a:gd name="connsiteY311" fmla="*/ 30973 h 343021"/>
                <a:gd name="connsiteX312" fmla="*/ 361435 w 608122"/>
                <a:gd name="connsiteY312" fmla="*/ 34022 h 343021"/>
                <a:gd name="connsiteX313" fmla="*/ 361435 w 608122"/>
                <a:gd name="connsiteY313" fmla="*/ 34022 h 343021"/>
                <a:gd name="connsiteX314" fmla="*/ 348509 w 608122"/>
                <a:gd name="connsiteY314" fmla="*/ 25486 h 343021"/>
                <a:gd name="connsiteX315" fmla="*/ 334120 w 608122"/>
                <a:gd name="connsiteY315" fmla="*/ 19633 h 343021"/>
                <a:gd name="connsiteX316" fmla="*/ 321194 w 608122"/>
                <a:gd name="connsiteY316" fmla="*/ 5243 h 343021"/>
                <a:gd name="connsiteX317" fmla="*/ 281319 w 608122"/>
                <a:gd name="connsiteY317" fmla="*/ 5487 h 343021"/>
                <a:gd name="connsiteX318" fmla="*/ 276320 w 608122"/>
                <a:gd name="connsiteY318" fmla="*/ 7195 h 343021"/>
                <a:gd name="connsiteX319" fmla="*/ 277173 w 608122"/>
                <a:gd name="connsiteY319" fmla="*/ 12072 h 343021"/>
                <a:gd name="connsiteX320" fmla="*/ 299123 w 608122"/>
                <a:gd name="connsiteY320" fmla="*/ 17438 h 343021"/>
                <a:gd name="connsiteX321" fmla="*/ 306439 w 608122"/>
                <a:gd name="connsiteY321" fmla="*/ 24998 h 343021"/>
                <a:gd name="connsiteX322" fmla="*/ 318268 w 608122"/>
                <a:gd name="connsiteY322" fmla="*/ 32315 h 343021"/>
                <a:gd name="connsiteX323" fmla="*/ 310585 w 608122"/>
                <a:gd name="connsiteY323" fmla="*/ 41338 h 343021"/>
                <a:gd name="connsiteX324" fmla="*/ 293391 w 608122"/>
                <a:gd name="connsiteY324" fmla="*/ 47313 h 343021"/>
                <a:gd name="connsiteX325" fmla="*/ 291806 w 608122"/>
                <a:gd name="connsiteY325" fmla="*/ 34022 h 343021"/>
                <a:gd name="connsiteX326" fmla="*/ 260711 w 608122"/>
                <a:gd name="connsiteY326" fmla="*/ 14755 h 343021"/>
                <a:gd name="connsiteX327" fmla="*/ 251078 w 608122"/>
                <a:gd name="connsiteY327" fmla="*/ 17194 h 343021"/>
                <a:gd name="connsiteX328" fmla="*/ 244981 w 608122"/>
                <a:gd name="connsiteY328" fmla="*/ 14633 h 343021"/>
                <a:gd name="connsiteX329" fmla="*/ 224616 w 608122"/>
                <a:gd name="connsiteY329" fmla="*/ 12804 h 343021"/>
                <a:gd name="connsiteX330" fmla="*/ 219861 w 608122"/>
                <a:gd name="connsiteY330" fmla="*/ 14877 h 343021"/>
                <a:gd name="connsiteX331" fmla="*/ 225226 w 608122"/>
                <a:gd name="connsiteY331" fmla="*/ 19267 h 343021"/>
                <a:gd name="connsiteX332" fmla="*/ 248395 w 608122"/>
                <a:gd name="connsiteY332" fmla="*/ 25364 h 343021"/>
                <a:gd name="connsiteX333" fmla="*/ 237542 w 608122"/>
                <a:gd name="connsiteY333" fmla="*/ 31217 h 343021"/>
                <a:gd name="connsiteX334" fmla="*/ 220836 w 608122"/>
                <a:gd name="connsiteY334" fmla="*/ 30607 h 343021"/>
                <a:gd name="connsiteX335" fmla="*/ 201082 w 608122"/>
                <a:gd name="connsiteY335" fmla="*/ 20242 h 343021"/>
                <a:gd name="connsiteX336" fmla="*/ 192668 w 608122"/>
                <a:gd name="connsiteY336" fmla="*/ 20242 h 343021"/>
                <a:gd name="connsiteX337" fmla="*/ 213032 w 608122"/>
                <a:gd name="connsiteY337" fmla="*/ 29998 h 343021"/>
                <a:gd name="connsiteX338" fmla="*/ 217544 w 608122"/>
                <a:gd name="connsiteY338" fmla="*/ 37802 h 343021"/>
                <a:gd name="connsiteX339" fmla="*/ 206935 w 608122"/>
                <a:gd name="connsiteY339" fmla="*/ 40607 h 343021"/>
                <a:gd name="connsiteX340" fmla="*/ 189741 w 608122"/>
                <a:gd name="connsiteY340" fmla="*/ 31217 h 343021"/>
                <a:gd name="connsiteX341" fmla="*/ 171328 w 608122"/>
                <a:gd name="connsiteY341" fmla="*/ 31827 h 343021"/>
                <a:gd name="connsiteX342" fmla="*/ 170962 w 608122"/>
                <a:gd name="connsiteY342" fmla="*/ 32315 h 343021"/>
                <a:gd name="connsiteX343" fmla="*/ 173767 w 608122"/>
                <a:gd name="connsiteY343" fmla="*/ 33778 h 343021"/>
                <a:gd name="connsiteX344" fmla="*/ 186693 w 608122"/>
                <a:gd name="connsiteY344" fmla="*/ 33778 h 343021"/>
                <a:gd name="connsiteX345" fmla="*/ 193643 w 608122"/>
                <a:gd name="connsiteY345" fmla="*/ 38777 h 343021"/>
                <a:gd name="connsiteX346" fmla="*/ 188278 w 608122"/>
                <a:gd name="connsiteY346" fmla="*/ 43533 h 343021"/>
                <a:gd name="connsiteX347" fmla="*/ 174376 w 608122"/>
                <a:gd name="connsiteY347" fmla="*/ 44143 h 343021"/>
                <a:gd name="connsiteX348" fmla="*/ 171816 w 608122"/>
                <a:gd name="connsiteY348" fmla="*/ 47679 h 343021"/>
                <a:gd name="connsiteX349" fmla="*/ 179742 w 608122"/>
                <a:gd name="connsiteY349" fmla="*/ 53532 h 343021"/>
                <a:gd name="connsiteX350" fmla="*/ 206813 w 608122"/>
                <a:gd name="connsiteY350" fmla="*/ 59142 h 343021"/>
                <a:gd name="connsiteX351" fmla="*/ 217544 w 608122"/>
                <a:gd name="connsiteY351" fmla="*/ 68409 h 343021"/>
                <a:gd name="connsiteX352" fmla="*/ 220104 w 608122"/>
                <a:gd name="connsiteY352" fmla="*/ 75238 h 343021"/>
                <a:gd name="connsiteX353" fmla="*/ 208398 w 608122"/>
                <a:gd name="connsiteY353" fmla="*/ 76092 h 343021"/>
                <a:gd name="connsiteX354" fmla="*/ 179254 w 608122"/>
                <a:gd name="connsiteY354" fmla="*/ 65361 h 343021"/>
                <a:gd name="connsiteX355" fmla="*/ 167060 w 608122"/>
                <a:gd name="connsiteY355" fmla="*/ 58898 h 343021"/>
                <a:gd name="connsiteX356" fmla="*/ 164865 w 608122"/>
                <a:gd name="connsiteY356" fmla="*/ 59142 h 343021"/>
                <a:gd name="connsiteX357" fmla="*/ 164987 w 608122"/>
                <a:gd name="connsiteY357" fmla="*/ 59629 h 343021"/>
                <a:gd name="connsiteX358" fmla="*/ 180717 w 608122"/>
                <a:gd name="connsiteY358" fmla="*/ 68409 h 343021"/>
                <a:gd name="connsiteX359" fmla="*/ 158280 w 608122"/>
                <a:gd name="connsiteY359" fmla="*/ 69385 h 343021"/>
                <a:gd name="connsiteX360" fmla="*/ 136575 w 608122"/>
                <a:gd name="connsiteY360" fmla="*/ 50606 h 343021"/>
                <a:gd name="connsiteX361" fmla="*/ 117674 w 608122"/>
                <a:gd name="connsiteY361" fmla="*/ 43045 h 343021"/>
                <a:gd name="connsiteX362" fmla="*/ 110967 w 608122"/>
                <a:gd name="connsiteY362" fmla="*/ 44265 h 343021"/>
                <a:gd name="connsiteX363" fmla="*/ 116942 w 608122"/>
                <a:gd name="connsiteY363" fmla="*/ 57191 h 343021"/>
                <a:gd name="connsiteX364" fmla="*/ 96821 w 608122"/>
                <a:gd name="connsiteY364" fmla="*/ 56459 h 343021"/>
                <a:gd name="connsiteX365" fmla="*/ 96212 w 608122"/>
                <a:gd name="connsiteY365" fmla="*/ 58654 h 343021"/>
                <a:gd name="connsiteX366" fmla="*/ 107065 w 608122"/>
                <a:gd name="connsiteY366" fmla="*/ 63288 h 343021"/>
                <a:gd name="connsiteX367" fmla="*/ 128648 w 608122"/>
                <a:gd name="connsiteY367" fmla="*/ 65848 h 343021"/>
                <a:gd name="connsiteX368" fmla="*/ 137916 w 608122"/>
                <a:gd name="connsiteY368" fmla="*/ 72921 h 343021"/>
                <a:gd name="connsiteX369" fmla="*/ 120966 w 608122"/>
                <a:gd name="connsiteY369" fmla="*/ 78530 h 343021"/>
                <a:gd name="connsiteX370" fmla="*/ 120966 w 608122"/>
                <a:gd name="connsiteY370" fmla="*/ 78530 h 343021"/>
                <a:gd name="connsiteX371" fmla="*/ 105967 w 608122"/>
                <a:gd name="connsiteY371" fmla="*/ 77921 h 343021"/>
                <a:gd name="connsiteX372" fmla="*/ 96456 w 608122"/>
                <a:gd name="connsiteY372" fmla="*/ 72677 h 343021"/>
                <a:gd name="connsiteX373" fmla="*/ 94871 w 608122"/>
                <a:gd name="connsiteY373" fmla="*/ 73287 h 343021"/>
                <a:gd name="connsiteX374" fmla="*/ 96944 w 608122"/>
                <a:gd name="connsiteY374" fmla="*/ 80481 h 343021"/>
                <a:gd name="connsiteX375" fmla="*/ 82676 w 608122"/>
                <a:gd name="connsiteY375" fmla="*/ 75238 h 343021"/>
                <a:gd name="connsiteX376" fmla="*/ 75970 w 608122"/>
                <a:gd name="connsiteY376" fmla="*/ 68775 h 343021"/>
                <a:gd name="connsiteX377" fmla="*/ 61580 w 608122"/>
                <a:gd name="connsiteY377" fmla="*/ 68775 h 343021"/>
                <a:gd name="connsiteX378" fmla="*/ 46947 w 608122"/>
                <a:gd name="connsiteY378" fmla="*/ 75726 h 343021"/>
                <a:gd name="connsiteX379" fmla="*/ 42314 w 608122"/>
                <a:gd name="connsiteY379" fmla="*/ 82433 h 343021"/>
                <a:gd name="connsiteX380" fmla="*/ 42314 w 608122"/>
                <a:gd name="connsiteY380" fmla="*/ 82433 h 343021"/>
                <a:gd name="connsiteX381" fmla="*/ 22193 w 608122"/>
                <a:gd name="connsiteY381" fmla="*/ 79262 h 343021"/>
                <a:gd name="connsiteX382" fmla="*/ 13779 w 608122"/>
                <a:gd name="connsiteY382" fmla="*/ 86944 h 343021"/>
                <a:gd name="connsiteX383" fmla="*/ 0 w 608122"/>
                <a:gd name="connsiteY383" fmla="*/ 93407 h 343021"/>
                <a:gd name="connsiteX384" fmla="*/ 4878 w 608122"/>
                <a:gd name="connsiteY384" fmla="*/ 95236 h 343021"/>
                <a:gd name="connsiteX385" fmla="*/ 22803 w 608122"/>
                <a:gd name="connsiteY385" fmla="*/ 96456 h 34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</a:cxnLst>
              <a:rect l="l" t="t" r="r" b="b"/>
              <a:pathLst>
                <a:path w="608122" h="343021">
                  <a:moveTo>
                    <a:pt x="22803" y="96456"/>
                  </a:moveTo>
                  <a:lnTo>
                    <a:pt x="38290" y="93773"/>
                  </a:lnTo>
                  <a:lnTo>
                    <a:pt x="41460" y="100602"/>
                  </a:lnTo>
                  <a:lnTo>
                    <a:pt x="27315" y="104260"/>
                  </a:lnTo>
                  <a:lnTo>
                    <a:pt x="28290" y="106211"/>
                  </a:lnTo>
                  <a:lnTo>
                    <a:pt x="50850" y="103894"/>
                  </a:lnTo>
                  <a:lnTo>
                    <a:pt x="69385" y="97675"/>
                  </a:lnTo>
                  <a:lnTo>
                    <a:pt x="93773" y="99382"/>
                  </a:lnTo>
                  <a:lnTo>
                    <a:pt x="82920" y="105601"/>
                  </a:lnTo>
                  <a:lnTo>
                    <a:pt x="60361" y="111089"/>
                  </a:lnTo>
                  <a:lnTo>
                    <a:pt x="46216" y="116576"/>
                  </a:lnTo>
                  <a:lnTo>
                    <a:pt x="46216" y="119991"/>
                  </a:lnTo>
                  <a:lnTo>
                    <a:pt x="38777" y="121576"/>
                  </a:lnTo>
                  <a:lnTo>
                    <a:pt x="41216" y="126088"/>
                  </a:lnTo>
                  <a:lnTo>
                    <a:pt x="71092" y="127795"/>
                  </a:lnTo>
                  <a:lnTo>
                    <a:pt x="100358" y="126575"/>
                  </a:lnTo>
                  <a:lnTo>
                    <a:pt x="124624" y="115601"/>
                  </a:lnTo>
                  <a:lnTo>
                    <a:pt x="133770" y="114259"/>
                  </a:lnTo>
                  <a:lnTo>
                    <a:pt x="142550" y="118040"/>
                  </a:lnTo>
                  <a:lnTo>
                    <a:pt x="118283" y="131331"/>
                  </a:lnTo>
                  <a:lnTo>
                    <a:pt x="100846" y="135111"/>
                  </a:lnTo>
                  <a:lnTo>
                    <a:pt x="72677" y="135111"/>
                  </a:lnTo>
                  <a:lnTo>
                    <a:pt x="51093" y="139257"/>
                  </a:lnTo>
                  <a:lnTo>
                    <a:pt x="53654" y="142062"/>
                  </a:lnTo>
                  <a:lnTo>
                    <a:pt x="73165" y="144501"/>
                  </a:lnTo>
                  <a:lnTo>
                    <a:pt x="89627" y="150476"/>
                  </a:lnTo>
                  <a:lnTo>
                    <a:pt x="95480" y="148891"/>
                  </a:lnTo>
                  <a:lnTo>
                    <a:pt x="103894" y="139867"/>
                  </a:lnTo>
                  <a:lnTo>
                    <a:pt x="121698" y="131575"/>
                  </a:lnTo>
                  <a:lnTo>
                    <a:pt x="147549" y="125356"/>
                  </a:lnTo>
                  <a:lnTo>
                    <a:pt x="177547" y="122795"/>
                  </a:lnTo>
                  <a:lnTo>
                    <a:pt x="180230" y="131087"/>
                  </a:lnTo>
                  <a:lnTo>
                    <a:pt x="131331" y="138160"/>
                  </a:lnTo>
                  <a:lnTo>
                    <a:pt x="117795" y="145720"/>
                  </a:lnTo>
                  <a:lnTo>
                    <a:pt x="111455" y="152793"/>
                  </a:lnTo>
                  <a:lnTo>
                    <a:pt x="111455" y="154866"/>
                  </a:lnTo>
                  <a:lnTo>
                    <a:pt x="138891" y="155476"/>
                  </a:lnTo>
                  <a:lnTo>
                    <a:pt x="145598" y="153525"/>
                  </a:lnTo>
                  <a:lnTo>
                    <a:pt x="145598" y="142184"/>
                  </a:lnTo>
                  <a:lnTo>
                    <a:pt x="157549" y="140477"/>
                  </a:lnTo>
                  <a:lnTo>
                    <a:pt x="160231" y="146940"/>
                  </a:lnTo>
                  <a:lnTo>
                    <a:pt x="171450" y="143159"/>
                  </a:lnTo>
                  <a:lnTo>
                    <a:pt x="193033" y="143159"/>
                  </a:lnTo>
                  <a:lnTo>
                    <a:pt x="185595" y="149622"/>
                  </a:lnTo>
                  <a:lnTo>
                    <a:pt x="172181" y="154012"/>
                  </a:lnTo>
                  <a:lnTo>
                    <a:pt x="172303" y="154134"/>
                  </a:lnTo>
                  <a:lnTo>
                    <a:pt x="199740" y="151208"/>
                  </a:lnTo>
                  <a:lnTo>
                    <a:pt x="214983" y="146940"/>
                  </a:lnTo>
                  <a:lnTo>
                    <a:pt x="237908" y="134258"/>
                  </a:lnTo>
                  <a:lnTo>
                    <a:pt x="226933" y="122795"/>
                  </a:lnTo>
                  <a:lnTo>
                    <a:pt x="245590" y="120600"/>
                  </a:lnTo>
                  <a:lnTo>
                    <a:pt x="249736" y="113528"/>
                  </a:lnTo>
                  <a:lnTo>
                    <a:pt x="263760" y="108162"/>
                  </a:lnTo>
                  <a:lnTo>
                    <a:pt x="275222" y="106699"/>
                  </a:lnTo>
                  <a:lnTo>
                    <a:pt x="278027" y="112796"/>
                  </a:lnTo>
                  <a:lnTo>
                    <a:pt x="259979" y="125234"/>
                  </a:lnTo>
                  <a:lnTo>
                    <a:pt x="254980" y="135721"/>
                  </a:lnTo>
                  <a:lnTo>
                    <a:pt x="273881" y="132063"/>
                  </a:lnTo>
                  <a:lnTo>
                    <a:pt x="299245" y="132063"/>
                  </a:lnTo>
                  <a:lnTo>
                    <a:pt x="304000" y="140355"/>
                  </a:lnTo>
                  <a:lnTo>
                    <a:pt x="282661" y="146818"/>
                  </a:lnTo>
                  <a:lnTo>
                    <a:pt x="255590" y="144989"/>
                  </a:lnTo>
                  <a:lnTo>
                    <a:pt x="236079" y="149622"/>
                  </a:lnTo>
                  <a:lnTo>
                    <a:pt x="237298" y="149866"/>
                  </a:lnTo>
                  <a:lnTo>
                    <a:pt x="254492" y="149866"/>
                  </a:lnTo>
                  <a:lnTo>
                    <a:pt x="251200" y="157061"/>
                  </a:lnTo>
                  <a:lnTo>
                    <a:pt x="229982" y="160353"/>
                  </a:lnTo>
                  <a:lnTo>
                    <a:pt x="216080" y="160841"/>
                  </a:lnTo>
                  <a:lnTo>
                    <a:pt x="197545" y="167060"/>
                  </a:lnTo>
                  <a:lnTo>
                    <a:pt x="173889" y="165963"/>
                  </a:lnTo>
                  <a:lnTo>
                    <a:pt x="173889" y="168401"/>
                  </a:lnTo>
                  <a:lnTo>
                    <a:pt x="188522" y="173523"/>
                  </a:lnTo>
                  <a:lnTo>
                    <a:pt x="200472" y="184498"/>
                  </a:lnTo>
                  <a:lnTo>
                    <a:pt x="205837" y="195229"/>
                  </a:lnTo>
                  <a:lnTo>
                    <a:pt x="215958" y="198399"/>
                  </a:lnTo>
                  <a:lnTo>
                    <a:pt x="227177" y="196570"/>
                  </a:lnTo>
                  <a:lnTo>
                    <a:pt x="239859" y="199862"/>
                  </a:lnTo>
                  <a:lnTo>
                    <a:pt x="224860" y="208276"/>
                  </a:lnTo>
                  <a:lnTo>
                    <a:pt x="197667" y="208276"/>
                  </a:lnTo>
                  <a:lnTo>
                    <a:pt x="185961" y="192912"/>
                  </a:lnTo>
                  <a:lnTo>
                    <a:pt x="159622" y="174986"/>
                  </a:lnTo>
                  <a:lnTo>
                    <a:pt x="137550" y="171328"/>
                  </a:lnTo>
                  <a:lnTo>
                    <a:pt x="109260" y="170718"/>
                  </a:lnTo>
                  <a:lnTo>
                    <a:pt x="106577" y="175840"/>
                  </a:lnTo>
                  <a:lnTo>
                    <a:pt x="125844" y="186449"/>
                  </a:lnTo>
                  <a:lnTo>
                    <a:pt x="105358" y="189375"/>
                  </a:lnTo>
                  <a:lnTo>
                    <a:pt x="128892" y="196936"/>
                  </a:lnTo>
                  <a:lnTo>
                    <a:pt x="145110" y="205837"/>
                  </a:lnTo>
                  <a:lnTo>
                    <a:pt x="148037" y="213398"/>
                  </a:lnTo>
                  <a:lnTo>
                    <a:pt x="162914" y="223763"/>
                  </a:lnTo>
                  <a:lnTo>
                    <a:pt x="160475" y="231201"/>
                  </a:lnTo>
                  <a:lnTo>
                    <a:pt x="145232" y="229128"/>
                  </a:lnTo>
                  <a:lnTo>
                    <a:pt x="143525" y="230104"/>
                  </a:lnTo>
                  <a:lnTo>
                    <a:pt x="156451" y="233518"/>
                  </a:lnTo>
                  <a:lnTo>
                    <a:pt x="181571" y="233518"/>
                  </a:lnTo>
                  <a:lnTo>
                    <a:pt x="207910" y="230836"/>
                  </a:lnTo>
                  <a:lnTo>
                    <a:pt x="207910" y="240591"/>
                  </a:lnTo>
                  <a:lnTo>
                    <a:pt x="190107" y="242542"/>
                  </a:lnTo>
                  <a:lnTo>
                    <a:pt x="187058" y="248639"/>
                  </a:lnTo>
                  <a:lnTo>
                    <a:pt x="164377" y="241444"/>
                  </a:lnTo>
                  <a:lnTo>
                    <a:pt x="144745" y="242054"/>
                  </a:lnTo>
                  <a:lnTo>
                    <a:pt x="127795" y="239615"/>
                  </a:lnTo>
                  <a:lnTo>
                    <a:pt x="113649" y="241444"/>
                  </a:lnTo>
                  <a:lnTo>
                    <a:pt x="105235" y="240225"/>
                  </a:lnTo>
                  <a:lnTo>
                    <a:pt x="100724" y="241201"/>
                  </a:lnTo>
                  <a:lnTo>
                    <a:pt x="90237" y="255955"/>
                  </a:lnTo>
                  <a:lnTo>
                    <a:pt x="90237" y="264248"/>
                  </a:lnTo>
                  <a:lnTo>
                    <a:pt x="104138" y="264248"/>
                  </a:lnTo>
                  <a:lnTo>
                    <a:pt x="110113" y="257907"/>
                  </a:lnTo>
                  <a:lnTo>
                    <a:pt x="119747" y="259980"/>
                  </a:lnTo>
                  <a:lnTo>
                    <a:pt x="115966" y="266442"/>
                  </a:lnTo>
                  <a:lnTo>
                    <a:pt x="124015" y="266077"/>
                  </a:lnTo>
                  <a:lnTo>
                    <a:pt x="131331" y="258150"/>
                  </a:lnTo>
                  <a:lnTo>
                    <a:pt x="131331" y="250346"/>
                  </a:lnTo>
                  <a:lnTo>
                    <a:pt x="143525" y="252175"/>
                  </a:lnTo>
                  <a:lnTo>
                    <a:pt x="149012" y="266930"/>
                  </a:lnTo>
                  <a:lnTo>
                    <a:pt x="138404" y="270832"/>
                  </a:lnTo>
                  <a:lnTo>
                    <a:pt x="138404" y="276076"/>
                  </a:lnTo>
                  <a:lnTo>
                    <a:pt x="127917" y="278271"/>
                  </a:lnTo>
                  <a:lnTo>
                    <a:pt x="130843" y="285465"/>
                  </a:lnTo>
                  <a:lnTo>
                    <a:pt x="146330" y="289977"/>
                  </a:lnTo>
                  <a:lnTo>
                    <a:pt x="163524" y="287173"/>
                  </a:lnTo>
                  <a:lnTo>
                    <a:pt x="176327" y="270467"/>
                  </a:lnTo>
                  <a:lnTo>
                    <a:pt x="188156" y="269735"/>
                  </a:lnTo>
                  <a:lnTo>
                    <a:pt x="188156" y="269735"/>
                  </a:lnTo>
                  <a:lnTo>
                    <a:pt x="195472" y="277051"/>
                  </a:lnTo>
                  <a:lnTo>
                    <a:pt x="181449" y="282295"/>
                  </a:lnTo>
                  <a:lnTo>
                    <a:pt x="162670" y="301684"/>
                  </a:lnTo>
                  <a:lnTo>
                    <a:pt x="153402" y="301074"/>
                  </a:lnTo>
                  <a:lnTo>
                    <a:pt x="147915" y="301806"/>
                  </a:lnTo>
                  <a:lnTo>
                    <a:pt x="166328" y="323023"/>
                  </a:lnTo>
                  <a:lnTo>
                    <a:pt x="169499" y="326682"/>
                  </a:lnTo>
                  <a:lnTo>
                    <a:pt x="177181" y="326682"/>
                  </a:lnTo>
                  <a:lnTo>
                    <a:pt x="179132" y="333876"/>
                  </a:lnTo>
                  <a:lnTo>
                    <a:pt x="186571" y="335218"/>
                  </a:lnTo>
                  <a:lnTo>
                    <a:pt x="190473" y="333266"/>
                  </a:lnTo>
                  <a:lnTo>
                    <a:pt x="185839" y="326316"/>
                  </a:lnTo>
                  <a:lnTo>
                    <a:pt x="203642" y="326316"/>
                  </a:lnTo>
                  <a:lnTo>
                    <a:pt x="210349" y="331315"/>
                  </a:lnTo>
                  <a:lnTo>
                    <a:pt x="219251" y="332169"/>
                  </a:lnTo>
                  <a:lnTo>
                    <a:pt x="222421" y="336315"/>
                  </a:lnTo>
                  <a:lnTo>
                    <a:pt x="220104" y="341924"/>
                  </a:lnTo>
                  <a:lnTo>
                    <a:pt x="225592" y="343022"/>
                  </a:lnTo>
                  <a:lnTo>
                    <a:pt x="249736" y="335218"/>
                  </a:lnTo>
                  <a:lnTo>
                    <a:pt x="252785" y="329974"/>
                  </a:lnTo>
                  <a:lnTo>
                    <a:pt x="268272" y="329974"/>
                  </a:lnTo>
                  <a:lnTo>
                    <a:pt x="272539" y="325340"/>
                  </a:lnTo>
                  <a:lnTo>
                    <a:pt x="270345" y="316317"/>
                  </a:lnTo>
                  <a:lnTo>
                    <a:pt x="264125" y="315463"/>
                  </a:lnTo>
                  <a:lnTo>
                    <a:pt x="255590" y="322901"/>
                  </a:lnTo>
                  <a:lnTo>
                    <a:pt x="242420" y="320828"/>
                  </a:lnTo>
                  <a:lnTo>
                    <a:pt x="242420" y="310829"/>
                  </a:lnTo>
                  <a:lnTo>
                    <a:pt x="246932" y="308147"/>
                  </a:lnTo>
                  <a:lnTo>
                    <a:pt x="246688" y="306805"/>
                  </a:lnTo>
                  <a:lnTo>
                    <a:pt x="241322" y="306805"/>
                  </a:lnTo>
                  <a:lnTo>
                    <a:pt x="233396" y="311073"/>
                  </a:lnTo>
                  <a:lnTo>
                    <a:pt x="226324" y="308390"/>
                  </a:lnTo>
                  <a:lnTo>
                    <a:pt x="197058" y="309732"/>
                  </a:lnTo>
                  <a:lnTo>
                    <a:pt x="193277" y="303269"/>
                  </a:lnTo>
                  <a:lnTo>
                    <a:pt x="204862" y="298269"/>
                  </a:lnTo>
                  <a:lnTo>
                    <a:pt x="197667" y="291562"/>
                  </a:lnTo>
                  <a:lnTo>
                    <a:pt x="206203" y="289733"/>
                  </a:lnTo>
                  <a:lnTo>
                    <a:pt x="222421" y="299611"/>
                  </a:lnTo>
                  <a:lnTo>
                    <a:pt x="256443" y="299245"/>
                  </a:lnTo>
                  <a:lnTo>
                    <a:pt x="272661" y="291806"/>
                  </a:lnTo>
                  <a:lnTo>
                    <a:pt x="268637" y="285343"/>
                  </a:lnTo>
                  <a:lnTo>
                    <a:pt x="260711" y="281319"/>
                  </a:lnTo>
                  <a:lnTo>
                    <a:pt x="268393" y="274613"/>
                  </a:lnTo>
                  <a:lnTo>
                    <a:pt x="268393" y="274613"/>
                  </a:lnTo>
                  <a:lnTo>
                    <a:pt x="295464" y="276320"/>
                  </a:lnTo>
                  <a:lnTo>
                    <a:pt x="309976" y="272418"/>
                  </a:lnTo>
                  <a:lnTo>
                    <a:pt x="308390" y="271930"/>
                  </a:lnTo>
                  <a:lnTo>
                    <a:pt x="292904" y="270588"/>
                  </a:lnTo>
                  <a:lnTo>
                    <a:pt x="286929" y="265589"/>
                  </a:lnTo>
                  <a:lnTo>
                    <a:pt x="303147" y="263150"/>
                  </a:lnTo>
                  <a:lnTo>
                    <a:pt x="322536" y="262784"/>
                  </a:lnTo>
                  <a:lnTo>
                    <a:pt x="325218" y="261443"/>
                  </a:lnTo>
                  <a:lnTo>
                    <a:pt x="324243" y="258150"/>
                  </a:lnTo>
                  <a:lnTo>
                    <a:pt x="297050" y="251931"/>
                  </a:lnTo>
                  <a:lnTo>
                    <a:pt x="310585" y="248395"/>
                  </a:lnTo>
                  <a:lnTo>
                    <a:pt x="325706" y="249615"/>
                  </a:lnTo>
                  <a:lnTo>
                    <a:pt x="332413" y="248151"/>
                  </a:lnTo>
                  <a:lnTo>
                    <a:pt x="323999" y="238762"/>
                  </a:lnTo>
                  <a:lnTo>
                    <a:pt x="310341" y="238762"/>
                  </a:lnTo>
                  <a:lnTo>
                    <a:pt x="297294" y="233518"/>
                  </a:lnTo>
                  <a:lnTo>
                    <a:pt x="278149" y="235957"/>
                  </a:lnTo>
                  <a:lnTo>
                    <a:pt x="278149" y="235957"/>
                  </a:lnTo>
                  <a:lnTo>
                    <a:pt x="267662" y="229616"/>
                  </a:lnTo>
                  <a:lnTo>
                    <a:pt x="272905" y="228884"/>
                  </a:lnTo>
                  <a:lnTo>
                    <a:pt x="274734" y="224129"/>
                  </a:lnTo>
                  <a:lnTo>
                    <a:pt x="273149" y="224251"/>
                  </a:lnTo>
                  <a:lnTo>
                    <a:pt x="277295" y="216203"/>
                  </a:lnTo>
                  <a:lnTo>
                    <a:pt x="283880" y="215715"/>
                  </a:lnTo>
                  <a:lnTo>
                    <a:pt x="281685" y="213764"/>
                  </a:lnTo>
                  <a:lnTo>
                    <a:pt x="276807" y="213154"/>
                  </a:lnTo>
                  <a:lnTo>
                    <a:pt x="307903" y="207910"/>
                  </a:lnTo>
                  <a:lnTo>
                    <a:pt x="314487" y="208764"/>
                  </a:lnTo>
                  <a:lnTo>
                    <a:pt x="318024" y="211569"/>
                  </a:lnTo>
                  <a:lnTo>
                    <a:pt x="329852" y="211203"/>
                  </a:lnTo>
                  <a:lnTo>
                    <a:pt x="330827" y="206325"/>
                  </a:lnTo>
                  <a:lnTo>
                    <a:pt x="349241" y="206325"/>
                  </a:lnTo>
                  <a:lnTo>
                    <a:pt x="359118" y="203643"/>
                  </a:lnTo>
                  <a:lnTo>
                    <a:pt x="358386" y="201326"/>
                  </a:lnTo>
                  <a:lnTo>
                    <a:pt x="337168" y="198887"/>
                  </a:lnTo>
                  <a:lnTo>
                    <a:pt x="330706" y="192302"/>
                  </a:lnTo>
                  <a:lnTo>
                    <a:pt x="348753" y="190717"/>
                  </a:lnTo>
                  <a:lnTo>
                    <a:pt x="368507" y="194985"/>
                  </a:lnTo>
                  <a:lnTo>
                    <a:pt x="372654" y="197180"/>
                  </a:lnTo>
                  <a:lnTo>
                    <a:pt x="389603" y="196448"/>
                  </a:lnTo>
                  <a:lnTo>
                    <a:pt x="401676" y="190595"/>
                  </a:lnTo>
                  <a:lnTo>
                    <a:pt x="399846" y="186083"/>
                  </a:lnTo>
                  <a:lnTo>
                    <a:pt x="403871" y="184010"/>
                  </a:lnTo>
                  <a:lnTo>
                    <a:pt x="403261" y="183888"/>
                  </a:lnTo>
                  <a:lnTo>
                    <a:pt x="384482" y="186327"/>
                  </a:lnTo>
                  <a:lnTo>
                    <a:pt x="384482" y="186327"/>
                  </a:lnTo>
                  <a:lnTo>
                    <a:pt x="376434" y="185229"/>
                  </a:lnTo>
                  <a:lnTo>
                    <a:pt x="377897" y="175962"/>
                  </a:lnTo>
                  <a:lnTo>
                    <a:pt x="388384" y="172913"/>
                  </a:lnTo>
                  <a:lnTo>
                    <a:pt x="398627" y="176571"/>
                  </a:lnTo>
                  <a:lnTo>
                    <a:pt x="405700" y="173157"/>
                  </a:lnTo>
                  <a:lnTo>
                    <a:pt x="421796" y="171816"/>
                  </a:lnTo>
                  <a:lnTo>
                    <a:pt x="420211" y="169987"/>
                  </a:lnTo>
                  <a:lnTo>
                    <a:pt x="410212" y="166572"/>
                  </a:lnTo>
                  <a:lnTo>
                    <a:pt x="407041" y="155598"/>
                  </a:lnTo>
                  <a:lnTo>
                    <a:pt x="422893" y="159012"/>
                  </a:lnTo>
                  <a:lnTo>
                    <a:pt x="424722" y="163158"/>
                  </a:lnTo>
                  <a:lnTo>
                    <a:pt x="429844" y="164377"/>
                  </a:lnTo>
                  <a:lnTo>
                    <a:pt x="442770" y="159500"/>
                  </a:lnTo>
                  <a:lnTo>
                    <a:pt x="449355" y="150232"/>
                  </a:lnTo>
                  <a:lnTo>
                    <a:pt x="470938" y="139501"/>
                  </a:lnTo>
                  <a:lnTo>
                    <a:pt x="479109" y="137184"/>
                  </a:lnTo>
                  <a:lnTo>
                    <a:pt x="493254" y="126575"/>
                  </a:lnTo>
                  <a:lnTo>
                    <a:pt x="499839" y="124868"/>
                  </a:lnTo>
                  <a:lnTo>
                    <a:pt x="515081" y="112918"/>
                  </a:lnTo>
                  <a:lnTo>
                    <a:pt x="524593" y="111699"/>
                  </a:lnTo>
                  <a:lnTo>
                    <a:pt x="534958" y="103650"/>
                  </a:lnTo>
                  <a:lnTo>
                    <a:pt x="537762" y="102431"/>
                  </a:lnTo>
                  <a:lnTo>
                    <a:pt x="528495" y="102675"/>
                  </a:lnTo>
                  <a:lnTo>
                    <a:pt x="516423" y="105114"/>
                  </a:lnTo>
                  <a:lnTo>
                    <a:pt x="502155" y="109260"/>
                  </a:lnTo>
                  <a:lnTo>
                    <a:pt x="492644" y="110845"/>
                  </a:lnTo>
                  <a:lnTo>
                    <a:pt x="462524" y="117796"/>
                  </a:lnTo>
                  <a:lnTo>
                    <a:pt x="444233" y="123161"/>
                  </a:lnTo>
                  <a:lnTo>
                    <a:pt x="437161" y="123649"/>
                  </a:lnTo>
                  <a:lnTo>
                    <a:pt x="432283" y="126575"/>
                  </a:lnTo>
                  <a:lnTo>
                    <a:pt x="406675" y="123039"/>
                  </a:lnTo>
                  <a:lnTo>
                    <a:pt x="419967" y="116576"/>
                  </a:lnTo>
                  <a:lnTo>
                    <a:pt x="439112" y="116576"/>
                  </a:lnTo>
                  <a:lnTo>
                    <a:pt x="454842" y="111699"/>
                  </a:lnTo>
                  <a:lnTo>
                    <a:pt x="478621" y="106699"/>
                  </a:lnTo>
                  <a:lnTo>
                    <a:pt x="496912" y="102431"/>
                  </a:lnTo>
                  <a:lnTo>
                    <a:pt x="496668" y="101943"/>
                  </a:lnTo>
                  <a:lnTo>
                    <a:pt x="476548" y="102309"/>
                  </a:lnTo>
                  <a:lnTo>
                    <a:pt x="469841" y="104382"/>
                  </a:lnTo>
                  <a:lnTo>
                    <a:pt x="448013" y="103041"/>
                  </a:lnTo>
                  <a:lnTo>
                    <a:pt x="445331" y="90603"/>
                  </a:lnTo>
                  <a:lnTo>
                    <a:pt x="451916" y="89871"/>
                  </a:lnTo>
                  <a:lnTo>
                    <a:pt x="461427" y="93163"/>
                  </a:lnTo>
                  <a:lnTo>
                    <a:pt x="479230" y="92310"/>
                  </a:lnTo>
                  <a:lnTo>
                    <a:pt x="486791" y="93529"/>
                  </a:lnTo>
                  <a:lnTo>
                    <a:pt x="513496" y="91212"/>
                  </a:lnTo>
                  <a:lnTo>
                    <a:pt x="525934" y="85847"/>
                  </a:lnTo>
                  <a:lnTo>
                    <a:pt x="543859" y="85359"/>
                  </a:lnTo>
                  <a:lnTo>
                    <a:pt x="554346" y="81091"/>
                  </a:lnTo>
                  <a:lnTo>
                    <a:pt x="565565" y="79262"/>
                  </a:lnTo>
                  <a:lnTo>
                    <a:pt x="578979" y="74628"/>
                  </a:lnTo>
                  <a:lnTo>
                    <a:pt x="583734" y="69263"/>
                  </a:lnTo>
                  <a:lnTo>
                    <a:pt x="589953" y="67190"/>
                  </a:lnTo>
                  <a:lnTo>
                    <a:pt x="587271" y="63532"/>
                  </a:lnTo>
                  <a:lnTo>
                    <a:pt x="606781" y="56459"/>
                  </a:lnTo>
                  <a:lnTo>
                    <a:pt x="608123" y="47069"/>
                  </a:lnTo>
                  <a:lnTo>
                    <a:pt x="592148" y="40485"/>
                  </a:lnTo>
                  <a:lnTo>
                    <a:pt x="560444" y="40485"/>
                  </a:lnTo>
                  <a:lnTo>
                    <a:pt x="558492" y="26827"/>
                  </a:lnTo>
                  <a:lnTo>
                    <a:pt x="546055" y="22681"/>
                  </a:lnTo>
                  <a:lnTo>
                    <a:pt x="556054" y="18291"/>
                  </a:lnTo>
                  <a:lnTo>
                    <a:pt x="557151" y="16218"/>
                  </a:lnTo>
                  <a:lnTo>
                    <a:pt x="552761" y="15487"/>
                  </a:lnTo>
                  <a:lnTo>
                    <a:pt x="540201" y="17072"/>
                  </a:lnTo>
                  <a:lnTo>
                    <a:pt x="533007" y="20608"/>
                  </a:lnTo>
                  <a:lnTo>
                    <a:pt x="527275" y="18169"/>
                  </a:lnTo>
                  <a:lnTo>
                    <a:pt x="526544" y="13779"/>
                  </a:lnTo>
                  <a:lnTo>
                    <a:pt x="523129" y="13779"/>
                  </a:lnTo>
                  <a:lnTo>
                    <a:pt x="520325" y="22315"/>
                  </a:lnTo>
                  <a:lnTo>
                    <a:pt x="511545" y="22925"/>
                  </a:lnTo>
                  <a:lnTo>
                    <a:pt x="511545" y="22925"/>
                  </a:lnTo>
                  <a:lnTo>
                    <a:pt x="504960" y="17925"/>
                  </a:lnTo>
                  <a:lnTo>
                    <a:pt x="496668" y="18291"/>
                  </a:lnTo>
                  <a:lnTo>
                    <a:pt x="471182" y="31461"/>
                  </a:lnTo>
                  <a:lnTo>
                    <a:pt x="447648" y="33290"/>
                  </a:lnTo>
                  <a:lnTo>
                    <a:pt x="447648" y="27071"/>
                  </a:lnTo>
                  <a:lnTo>
                    <a:pt x="480572" y="15609"/>
                  </a:lnTo>
                  <a:lnTo>
                    <a:pt x="479962" y="10121"/>
                  </a:lnTo>
                  <a:lnTo>
                    <a:pt x="458988" y="10609"/>
                  </a:lnTo>
                  <a:lnTo>
                    <a:pt x="445940" y="8048"/>
                  </a:lnTo>
                  <a:lnTo>
                    <a:pt x="428625" y="9390"/>
                  </a:lnTo>
                  <a:lnTo>
                    <a:pt x="426674" y="5243"/>
                  </a:lnTo>
                  <a:lnTo>
                    <a:pt x="410943" y="4756"/>
                  </a:lnTo>
                  <a:lnTo>
                    <a:pt x="407163" y="0"/>
                  </a:lnTo>
                  <a:lnTo>
                    <a:pt x="389481" y="2195"/>
                  </a:lnTo>
                  <a:lnTo>
                    <a:pt x="389481" y="2805"/>
                  </a:lnTo>
                  <a:lnTo>
                    <a:pt x="409480" y="9268"/>
                  </a:lnTo>
                  <a:lnTo>
                    <a:pt x="395822" y="13536"/>
                  </a:lnTo>
                  <a:lnTo>
                    <a:pt x="395822" y="13536"/>
                  </a:lnTo>
                  <a:lnTo>
                    <a:pt x="372897" y="5853"/>
                  </a:lnTo>
                  <a:lnTo>
                    <a:pt x="372897" y="2073"/>
                  </a:lnTo>
                  <a:lnTo>
                    <a:pt x="357167" y="2805"/>
                  </a:lnTo>
                  <a:lnTo>
                    <a:pt x="349728" y="3536"/>
                  </a:lnTo>
                  <a:lnTo>
                    <a:pt x="346436" y="7682"/>
                  </a:lnTo>
                  <a:lnTo>
                    <a:pt x="348143" y="10487"/>
                  </a:lnTo>
                  <a:lnTo>
                    <a:pt x="373019" y="22437"/>
                  </a:lnTo>
                  <a:lnTo>
                    <a:pt x="375946" y="30973"/>
                  </a:lnTo>
                  <a:lnTo>
                    <a:pt x="361435" y="34022"/>
                  </a:lnTo>
                  <a:lnTo>
                    <a:pt x="361435" y="34022"/>
                  </a:lnTo>
                  <a:lnTo>
                    <a:pt x="348509" y="25486"/>
                  </a:lnTo>
                  <a:lnTo>
                    <a:pt x="334120" y="19633"/>
                  </a:lnTo>
                  <a:lnTo>
                    <a:pt x="321194" y="5243"/>
                  </a:lnTo>
                  <a:lnTo>
                    <a:pt x="281319" y="5487"/>
                  </a:lnTo>
                  <a:lnTo>
                    <a:pt x="276320" y="7195"/>
                  </a:lnTo>
                  <a:lnTo>
                    <a:pt x="277173" y="12072"/>
                  </a:lnTo>
                  <a:lnTo>
                    <a:pt x="299123" y="17438"/>
                  </a:lnTo>
                  <a:lnTo>
                    <a:pt x="306439" y="24998"/>
                  </a:lnTo>
                  <a:lnTo>
                    <a:pt x="318268" y="32315"/>
                  </a:lnTo>
                  <a:lnTo>
                    <a:pt x="310585" y="41338"/>
                  </a:lnTo>
                  <a:lnTo>
                    <a:pt x="293391" y="47313"/>
                  </a:lnTo>
                  <a:lnTo>
                    <a:pt x="291806" y="34022"/>
                  </a:lnTo>
                  <a:lnTo>
                    <a:pt x="260711" y="14755"/>
                  </a:lnTo>
                  <a:lnTo>
                    <a:pt x="251078" y="17194"/>
                  </a:lnTo>
                  <a:lnTo>
                    <a:pt x="244981" y="14633"/>
                  </a:lnTo>
                  <a:lnTo>
                    <a:pt x="224616" y="12804"/>
                  </a:lnTo>
                  <a:lnTo>
                    <a:pt x="219861" y="14877"/>
                  </a:lnTo>
                  <a:lnTo>
                    <a:pt x="225226" y="19267"/>
                  </a:lnTo>
                  <a:lnTo>
                    <a:pt x="248395" y="25364"/>
                  </a:lnTo>
                  <a:lnTo>
                    <a:pt x="237542" y="31217"/>
                  </a:lnTo>
                  <a:lnTo>
                    <a:pt x="220836" y="30607"/>
                  </a:lnTo>
                  <a:lnTo>
                    <a:pt x="201082" y="20242"/>
                  </a:lnTo>
                  <a:lnTo>
                    <a:pt x="192668" y="20242"/>
                  </a:lnTo>
                  <a:lnTo>
                    <a:pt x="213032" y="29998"/>
                  </a:lnTo>
                  <a:lnTo>
                    <a:pt x="217544" y="37802"/>
                  </a:lnTo>
                  <a:lnTo>
                    <a:pt x="206935" y="40607"/>
                  </a:lnTo>
                  <a:lnTo>
                    <a:pt x="189741" y="31217"/>
                  </a:lnTo>
                  <a:lnTo>
                    <a:pt x="171328" y="31827"/>
                  </a:lnTo>
                  <a:lnTo>
                    <a:pt x="170962" y="32315"/>
                  </a:lnTo>
                  <a:lnTo>
                    <a:pt x="173767" y="33778"/>
                  </a:lnTo>
                  <a:lnTo>
                    <a:pt x="186693" y="33778"/>
                  </a:lnTo>
                  <a:lnTo>
                    <a:pt x="193643" y="38777"/>
                  </a:lnTo>
                  <a:lnTo>
                    <a:pt x="188278" y="43533"/>
                  </a:lnTo>
                  <a:lnTo>
                    <a:pt x="174376" y="44143"/>
                  </a:lnTo>
                  <a:lnTo>
                    <a:pt x="171816" y="47679"/>
                  </a:lnTo>
                  <a:lnTo>
                    <a:pt x="179742" y="53532"/>
                  </a:lnTo>
                  <a:lnTo>
                    <a:pt x="206813" y="59142"/>
                  </a:lnTo>
                  <a:lnTo>
                    <a:pt x="217544" y="68409"/>
                  </a:lnTo>
                  <a:lnTo>
                    <a:pt x="220104" y="75238"/>
                  </a:lnTo>
                  <a:lnTo>
                    <a:pt x="208398" y="76092"/>
                  </a:lnTo>
                  <a:lnTo>
                    <a:pt x="179254" y="65361"/>
                  </a:lnTo>
                  <a:lnTo>
                    <a:pt x="167060" y="58898"/>
                  </a:lnTo>
                  <a:lnTo>
                    <a:pt x="164865" y="59142"/>
                  </a:lnTo>
                  <a:lnTo>
                    <a:pt x="164987" y="59629"/>
                  </a:lnTo>
                  <a:lnTo>
                    <a:pt x="180717" y="68409"/>
                  </a:lnTo>
                  <a:lnTo>
                    <a:pt x="158280" y="69385"/>
                  </a:lnTo>
                  <a:lnTo>
                    <a:pt x="136575" y="50606"/>
                  </a:lnTo>
                  <a:lnTo>
                    <a:pt x="117674" y="43045"/>
                  </a:lnTo>
                  <a:lnTo>
                    <a:pt x="110967" y="44265"/>
                  </a:lnTo>
                  <a:lnTo>
                    <a:pt x="116942" y="57191"/>
                  </a:lnTo>
                  <a:lnTo>
                    <a:pt x="96821" y="56459"/>
                  </a:lnTo>
                  <a:lnTo>
                    <a:pt x="96212" y="58654"/>
                  </a:lnTo>
                  <a:lnTo>
                    <a:pt x="107065" y="63288"/>
                  </a:lnTo>
                  <a:lnTo>
                    <a:pt x="128648" y="65848"/>
                  </a:lnTo>
                  <a:lnTo>
                    <a:pt x="137916" y="72921"/>
                  </a:lnTo>
                  <a:lnTo>
                    <a:pt x="120966" y="78530"/>
                  </a:lnTo>
                  <a:lnTo>
                    <a:pt x="120966" y="78530"/>
                  </a:lnTo>
                  <a:lnTo>
                    <a:pt x="105967" y="77921"/>
                  </a:lnTo>
                  <a:lnTo>
                    <a:pt x="96456" y="72677"/>
                  </a:lnTo>
                  <a:lnTo>
                    <a:pt x="94871" y="73287"/>
                  </a:lnTo>
                  <a:lnTo>
                    <a:pt x="96944" y="80481"/>
                  </a:lnTo>
                  <a:lnTo>
                    <a:pt x="82676" y="75238"/>
                  </a:lnTo>
                  <a:lnTo>
                    <a:pt x="75970" y="68775"/>
                  </a:lnTo>
                  <a:lnTo>
                    <a:pt x="61580" y="68775"/>
                  </a:lnTo>
                  <a:lnTo>
                    <a:pt x="46947" y="75726"/>
                  </a:lnTo>
                  <a:lnTo>
                    <a:pt x="42314" y="82433"/>
                  </a:lnTo>
                  <a:lnTo>
                    <a:pt x="42314" y="82433"/>
                  </a:lnTo>
                  <a:lnTo>
                    <a:pt x="22193" y="79262"/>
                  </a:lnTo>
                  <a:lnTo>
                    <a:pt x="13779" y="86944"/>
                  </a:lnTo>
                  <a:lnTo>
                    <a:pt x="0" y="93407"/>
                  </a:lnTo>
                  <a:lnTo>
                    <a:pt x="4878" y="95236"/>
                  </a:lnTo>
                  <a:lnTo>
                    <a:pt x="22803" y="9645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7" name="Freihandform: Form 586">
              <a:extLst>
                <a:ext uri="{FF2B5EF4-FFF2-40B4-BE49-F238E27FC236}">
                  <a16:creationId xmlns:a16="http://schemas.microsoft.com/office/drawing/2014/main" id="{9191C90D-F2B3-4115-BAD7-42417A94E3D6}"/>
                </a:ext>
              </a:extLst>
            </p:cNvPr>
            <p:cNvSpPr/>
            <p:nvPr/>
          </p:nvSpPr>
          <p:spPr>
            <a:xfrm>
              <a:off x="2130607" y="1234441"/>
              <a:ext cx="20120" cy="6828"/>
            </a:xfrm>
            <a:custGeom>
              <a:avLst/>
              <a:gdLst>
                <a:gd name="connsiteX0" fmla="*/ 19267 w 20120"/>
                <a:gd name="connsiteY0" fmla="*/ 6219 h 6828"/>
                <a:gd name="connsiteX1" fmla="*/ 20120 w 20120"/>
                <a:gd name="connsiteY1" fmla="*/ 5000 h 6828"/>
                <a:gd name="connsiteX2" fmla="*/ 11463 w 20120"/>
                <a:gd name="connsiteY2" fmla="*/ 1219 h 6828"/>
                <a:gd name="connsiteX3" fmla="*/ 2073 w 20120"/>
                <a:gd name="connsiteY3" fmla="*/ 0 h 6828"/>
                <a:gd name="connsiteX4" fmla="*/ 0 w 20120"/>
                <a:gd name="connsiteY4" fmla="*/ 366 h 6828"/>
                <a:gd name="connsiteX5" fmla="*/ 8414 w 20120"/>
                <a:gd name="connsiteY5" fmla="*/ 6829 h 6828"/>
                <a:gd name="connsiteX6" fmla="*/ 19267 w 20120"/>
                <a:gd name="connsiteY6" fmla="*/ 6219 h 6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20" h="6828">
                  <a:moveTo>
                    <a:pt x="19267" y="6219"/>
                  </a:moveTo>
                  <a:lnTo>
                    <a:pt x="20120" y="5000"/>
                  </a:lnTo>
                  <a:lnTo>
                    <a:pt x="11463" y="1219"/>
                  </a:lnTo>
                  <a:lnTo>
                    <a:pt x="2073" y="0"/>
                  </a:lnTo>
                  <a:lnTo>
                    <a:pt x="0" y="366"/>
                  </a:lnTo>
                  <a:lnTo>
                    <a:pt x="8414" y="6829"/>
                  </a:lnTo>
                  <a:lnTo>
                    <a:pt x="19267" y="6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8" name="Freihandform: Form 587">
              <a:extLst>
                <a:ext uri="{FF2B5EF4-FFF2-40B4-BE49-F238E27FC236}">
                  <a16:creationId xmlns:a16="http://schemas.microsoft.com/office/drawing/2014/main" id="{96263EA7-27EF-4A22-B0CA-3C3DA2668023}"/>
                </a:ext>
              </a:extLst>
            </p:cNvPr>
            <p:cNvSpPr/>
            <p:nvPr/>
          </p:nvSpPr>
          <p:spPr>
            <a:xfrm>
              <a:off x="2515454" y="1070429"/>
              <a:ext cx="216202" cy="154134"/>
            </a:xfrm>
            <a:custGeom>
              <a:avLst/>
              <a:gdLst>
                <a:gd name="connsiteX0" fmla="*/ 10853 w 216202"/>
                <a:gd name="connsiteY0" fmla="*/ 81823 h 154134"/>
                <a:gd name="connsiteX1" fmla="*/ 26827 w 216202"/>
                <a:gd name="connsiteY1" fmla="*/ 82311 h 154134"/>
                <a:gd name="connsiteX2" fmla="*/ 45972 w 216202"/>
                <a:gd name="connsiteY2" fmla="*/ 77433 h 154134"/>
                <a:gd name="connsiteX3" fmla="*/ 38290 w 216202"/>
                <a:gd name="connsiteY3" fmla="*/ 89627 h 154134"/>
                <a:gd name="connsiteX4" fmla="*/ 15486 w 216202"/>
                <a:gd name="connsiteY4" fmla="*/ 91334 h 154134"/>
                <a:gd name="connsiteX5" fmla="*/ 15974 w 216202"/>
                <a:gd name="connsiteY5" fmla="*/ 93529 h 154134"/>
                <a:gd name="connsiteX6" fmla="*/ 34144 w 216202"/>
                <a:gd name="connsiteY6" fmla="*/ 94627 h 154134"/>
                <a:gd name="connsiteX7" fmla="*/ 70116 w 216202"/>
                <a:gd name="connsiteY7" fmla="*/ 90237 h 154134"/>
                <a:gd name="connsiteX8" fmla="*/ 77311 w 216202"/>
                <a:gd name="connsiteY8" fmla="*/ 94627 h 154134"/>
                <a:gd name="connsiteX9" fmla="*/ 100114 w 216202"/>
                <a:gd name="connsiteY9" fmla="*/ 96090 h 154134"/>
                <a:gd name="connsiteX10" fmla="*/ 96456 w 216202"/>
                <a:gd name="connsiteY10" fmla="*/ 102431 h 154134"/>
                <a:gd name="connsiteX11" fmla="*/ 92188 w 216202"/>
                <a:gd name="connsiteY11" fmla="*/ 102919 h 154134"/>
                <a:gd name="connsiteX12" fmla="*/ 122795 w 216202"/>
                <a:gd name="connsiteY12" fmla="*/ 105845 h 154134"/>
                <a:gd name="connsiteX13" fmla="*/ 79506 w 216202"/>
                <a:gd name="connsiteY13" fmla="*/ 110601 h 154134"/>
                <a:gd name="connsiteX14" fmla="*/ 54508 w 216202"/>
                <a:gd name="connsiteY14" fmla="*/ 105723 h 154134"/>
                <a:gd name="connsiteX15" fmla="*/ 40606 w 216202"/>
                <a:gd name="connsiteY15" fmla="*/ 115113 h 154134"/>
                <a:gd name="connsiteX16" fmla="*/ 54264 w 216202"/>
                <a:gd name="connsiteY16" fmla="*/ 119015 h 154134"/>
                <a:gd name="connsiteX17" fmla="*/ 57069 w 216202"/>
                <a:gd name="connsiteY17" fmla="*/ 127551 h 154134"/>
                <a:gd name="connsiteX18" fmla="*/ 47923 w 216202"/>
                <a:gd name="connsiteY18" fmla="*/ 126453 h 154134"/>
                <a:gd name="connsiteX19" fmla="*/ 55361 w 216202"/>
                <a:gd name="connsiteY19" fmla="*/ 134989 h 154134"/>
                <a:gd name="connsiteX20" fmla="*/ 70360 w 216202"/>
                <a:gd name="connsiteY20" fmla="*/ 142794 h 154134"/>
                <a:gd name="connsiteX21" fmla="*/ 70360 w 216202"/>
                <a:gd name="connsiteY21" fmla="*/ 147306 h 154134"/>
                <a:gd name="connsiteX22" fmla="*/ 103041 w 216202"/>
                <a:gd name="connsiteY22" fmla="*/ 154134 h 154134"/>
                <a:gd name="connsiteX23" fmla="*/ 107187 w 216202"/>
                <a:gd name="connsiteY23" fmla="*/ 150476 h 154134"/>
                <a:gd name="connsiteX24" fmla="*/ 107187 w 216202"/>
                <a:gd name="connsiteY24" fmla="*/ 143281 h 154134"/>
                <a:gd name="connsiteX25" fmla="*/ 107187 w 216202"/>
                <a:gd name="connsiteY25" fmla="*/ 143281 h 154134"/>
                <a:gd name="connsiteX26" fmla="*/ 116576 w 216202"/>
                <a:gd name="connsiteY26" fmla="*/ 145476 h 154134"/>
                <a:gd name="connsiteX27" fmla="*/ 109504 w 216202"/>
                <a:gd name="connsiteY27" fmla="*/ 139623 h 154134"/>
                <a:gd name="connsiteX28" fmla="*/ 113893 w 216202"/>
                <a:gd name="connsiteY28" fmla="*/ 131819 h 154134"/>
                <a:gd name="connsiteX29" fmla="*/ 125112 w 216202"/>
                <a:gd name="connsiteY29" fmla="*/ 134258 h 154134"/>
                <a:gd name="connsiteX30" fmla="*/ 126819 w 216202"/>
                <a:gd name="connsiteY30" fmla="*/ 139257 h 154134"/>
                <a:gd name="connsiteX31" fmla="*/ 139257 w 216202"/>
                <a:gd name="connsiteY31" fmla="*/ 150476 h 154134"/>
                <a:gd name="connsiteX32" fmla="*/ 147427 w 216202"/>
                <a:gd name="connsiteY32" fmla="*/ 143769 h 154134"/>
                <a:gd name="connsiteX33" fmla="*/ 141086 w 216202"/>
                <a:gd name="connsiteY33" fmla="*/ 136209 h 154134"/>
                <a:gd name="connsiteX34" fmla="*/ 149135 w 216202"/>
                <a:gd name="connsiteY34" fmla="*/ 133892 h 154134"/>
                <a:gd name="connsiteX35" fmla="*/ 157792 w 216202"/>
                <a:gd name="connsiteY35" fmla="*/ 137062 h 154134"/>
                <a:gd name="connsiteX36" fmla="*/ 159378 w 216202"/>
                <a:gd name="connsiteY36" fmla="*/ 132794 h 154134"/>
                <a:gd name="connsiteX37" fmla="*/ 149622 w 216202"/>
                <a:gd name="connsiteY37" fmla="*/ 120722 h 154134"/>
                <a:gd name="connsiteX38" fmla="*/ 161329 w 216202"/>
                <a:gd name="connsiteY38" fmla="*/ 117674 h 154134"/>
                <a:gd name="connsiteX39" fmla="*/ 165963 w 216202"/>
                <a:gd name="connsiteY39" fmla="*/ 124868 h 154134"/>
                <a:gd name="connsiteX40" fmla="*/ 169621 w 216202"/>
                <a:gd name="connsiteY40" fmla="*/ 125356 h 154134"/>
                <a:gd name="connsiteX41" fmla="*/ 179132 w 216202"/>
                <a:gd name="connsiteY41" fmla="*/ 116454 h 154134"/>
                <a:gd name="connsiteX42" fmla="*/ 204008 w 216202"/>
                <a:gd name="connsiteY42" fmla="*/ 105723 h 154134"/>
                <a:gd name="connsiteX43" fmla="*/ 216202 w 216202"/>
                <a:gd name="connsiteY43" fmla="*/ 103650 h 154134"/>
                <a:gd name="connsiteX44" fmla="*/ 215227 w 216202"/>
                <a:gd name="connsiteY44" fmla="*/ 93651 h 154134"/>
                <a:gd name="connsiteX45" fmla="*/ 204130 w 216202"/>
                <a:gd name="connsiteY45" fmla="*/ 91456 h 154134"/>
                <a:gd name="connsiteX46" fmla="*/ 175108 w 216202"/>
                <a:gd name="connsiteY46" fmla="*/ 91456 h 154134"/>
                <a:gd name="connsiteX47" fmla="*/ 176206 w 216202"/>
                <a:gd name="connsiteY47" fmla="*/ 78043 h 154134"/>
                <a:gd name="connsiteX48" fmla="*/ 162182 w 216202"/>
                <a:gd name="connsiteY48" fmla="*/ 73531 h 154134"/>
                <a:gd name="connsiteX49" fmla="*/ 175108 w 216202"/>
                <a:gd name="connsiteY49" fmla="*/ 71702 h 154134"/>
                <a:gd name="connsiteX50" fmla="*/ 161938 w 216202"/>
                <a:gd name="connsiteY50" fmla="*/ 65970 h 154134"/>
                <a:gd name="connsiteX51" fmla="*/ 169377 w 216202"/>
                <a:gd name="connsiteY51" fmla="*/ 60239 h 154134"/>
                <a:gd name="connsiteX52" fmla="*/ 167182 w 216202"/>
                <a:gd name="connsiteY52" fmla="*/ 52557 h 154134"/>
                <a:gd name="connsiteX53" fmla="*/ 152915 w 216202"/>
                <a:gd name="connsiteY53" fmla="*/ 49996 h 154134"/>
                <a:gd name="connsiteX54" fmla="*/ 149256 w 216202"/>
                <a:gd name="connsiteY54" fmla="*/ 55971 h 154134"/>
                <a:gd name="connsiteX55" fmla="*/ 162426 w 216202"/>
                <a:gd name="connsiteY55" fmla="*/ 62312 h 154134"/>
                <a:gd name="connsiteX56" fmla="*/ 155353 w 216202"/>
                <a:gd name="connsiteY56" fmla="*/ 70360 h 154134"/>
                <a:gd name="connsiteX57" fmla="*/ 140599 w 216202"/>
                <a:gd name="connsiteY57" fmla="*/ 64629 h 154134"/>
                <a:gd name="connsiteX58" fmla="*/ 134014 w 216202"/>
                <a:gd name="connsiteY58" fmla="*/ 54874 h 154134"/>
                <a:gd name="connsiteX59" fmla="*/ 135355 w 216202"/>
                <a:gd name="connsiteY59" fmla="*/ 46216 h 154134"/>
                <a:gd name="connsiteX60" fmla="*/ 111089 w 216202"/>
                <a:gd name="connsiteY60" fmla="*/ 41582 h 154134"/>
                <a:gd name="connsiteX61" fmla="*/ 97553 w 216202"/>
                <a:gd name="connsiteY61" fmla="*/ 27193 h 154134"/>
                <a:gd name="connsiteX62" fmla="*/ 91822 w 216202"/>
                <a:gd name="connsiteY62" fmla="*/ 16950 h 154134"/>
                <a:gd name="connsiteX63" fmla="*/ 89139 w 216202"/>
                <a:gd name="connsiteY63" fmla="*/ 9755 h 154134"/>
                <a:gd name="connsiteX64" fmla="*/ 74628 w 216202"/>
                <a:gd name="connsiteY64" fmla="*/ 2317 h 154134"/>
                <a:gd name="connsiteX65" fmla="*/ 59507 w 216202"/>
                <a:gd name="connsiteY65" fmla="*/ 0 h 154134"/>
                <a:gd name="connsiteX66" fmla="*/ 48533 w 216202"/>
                <a:gd name="connsiteY66" fmla="*/ 0 h 154134"/>
                <a:gd name="connsiteX67" fmla="*/ 35363 w 216202"/>
                <a:gd name="connsiteY67" fmla="*/ 2073 h 154134"/>
                <a:gd name="connsiteX68" fmla="*/ 35851 w 216202"/>
                <a:gd name="connsiteY68" fmla="*/ 4268 h 154134"/>
                <a:gd name="connsiteX69" fmla="*/ 56093 w 216202"/>
                <a:gd name="connsiteY69" fmla="*/ 4268 h 154134"/>
                <a:gd name="connsiteX70" fmla="*/ 68775 w 216202"/>
                <a:gd name="connsiteY70" fmla="*/ 12072 h 154134"/>
                <a:gd name="connsiteX71" fmla="*/ 44630 w 216202"/>
                <a:gd name="connsiteY71" fmla="*/ 15121 h 154134"/>
                <a:gd name="connsiteX72" fmla="*/ 53167 w 216202"/>
                <a:gd name="connsiteY72" fmla="*/ 20486 h 154134"/>
                <a:gd name="connsiteX73" fmla="*/ 39265 w 216202"/>
                <a:gd name="connsiteY73" fmla="*/ 25486 h 154134"/>
                <a:gd name="connsiteX74" fmla="*/ 33290 w 216202"/>
                <a:gd name="connsiteY74" fmla="*/ 19511 h 154134"/>
                <a:gd name="connsiteX75" fmla="*/ 28412 w 216202"/>
                <a:gd name="connsiteY75" fmla="*/ 19145 h 154134"/>
                <a:gd name="connsiteX76" fmla="*/ 25608 w 216202"/>
                <a:gd name="connsiteY76" fmla="*/ 26217 h 154134"/>
                <a:gd name="connsiteX77" fmla="*/ 55240 w 216202"/>
                <a:gd name="connsiteY77" fmla="*/ 38290 h 154134"/>
                <a:gd name="connsiteX78" fmla="*/ 44387 w 216202"/>
                <a:gd name="connsiteY78" fmla="*/ 43045 h 154134"/>
                <a:gd name="connsiteX79" fmla="*/ 25486 w 216202"/>
                <a:gd name="connsiteY79" fmla="*/ 39265 h 154134"/>
                <a:gd name="connsiteX80" fmla="*/ 10731 w 216202"/>
                <a:gd name="connsiteY80" fmla="*/ 39753 h 154134"/>
                <a:gd name="connsiteX81" fmla="*/ 10731 w 216202"/>
                <a:gd name="connsiteY81" fmla="*/ 40607 h 154134"/>
                <a:gd name="connsiteX82" fmla="*/ 20730 w 216202"/>
                <a:gd name="connsiteY82" fmla="*/ 44265 h 154134"/>
                <a:gd name="connsiteX83" fmla="*/ 20730 w 216202"/>
                <a:gd name="connsiteY83" fmla="*/ 51581 h 154134"/>
                <a:gd name="connsiteX84" fmla="*/ 4268 w 216202"/>
                <a:gd name="connsiteY84" fmla="*/ 51581 h 154134"/>
                <a:gd name="connsiteX85" fmla="*/ 21827 w 216202"/>
                <a:gd name="connsiteY85" fmla="*/ 58410 h 154134"/>
                <a:gd name="connsiteX86" fmla="*/ 41948 w 216202"/>
                <a:gd name="connsiteY86" fmla="*/ 59142 h 154134"/>
                <a:gd name="connsiteX87" fmla="*/ 41948 w 216202"/>
                <a:gd name="connsiteY87" fmla="*/ 69507 h 154134"/>
                <a:gd name="connsiteX88" fmla="*/ 15243 w 216202"/>
                <a:gd name="connsiteY88" fmla="*/ 68165 h 154134"/>
                <a:gd name="connsiteX89" fmla="*/ 4146 w 216202"/>
                <a:gd name="connsiteY89" fmla="*/ 62678 h 154134"/>
                <a:gd name="connsiteX90" fmla="*/ 0 w 216202"/>
                <a:gd name="connsiteY90" fmla="*/ 63410 h 154134"/>
                <a:gd name="connsiteX91" fmla="*/ 3414 w 216202"/>
                <a:gd name="connsiteY91" fmla="*/ 75848 h 154134"/>
                <a:gd name="connsiteX92" fmla="*/ 10853 w 216202"/>
                <a:gd name="connsiteY92" fmla="*/ 81823 h 15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16202" h="154134">
                  <a:moveTo>
                    <a:pt x="10853" y="81823"/>
                  </a:moveTo>
                  <a:lnTo>
                    <a:pt x="26827" y="82311"/>
                  </a:lnTo>
                  <a:lnTo>
                    <a:pt x="45972" y="77433"/>
                  </a:lnTo>
                  <a:lnTo>
                    <a:pt x="38290" y="89627"/>
                  </a:lnTo>
                  <a:lnTo>
                    <a:pt x="15486" y="91334"/>
                  </a:lnTo>
                  <a:lnTo>
                    <a:pt x="15974" y="93529"/>
                  </a:lnTo>
                  <a:lnTo>
                    <a:pt x="34144" y="94627"/>
                  </a:lnTo>
                  <a:lnTo>
                    <a:pt x="70116" y="90237"/>
                  </a:lnTo>
                  <a:lnTo>
                    <a:pt x="77311" y="94627"/>
                  </a:lnTo>
                  <a:lnTo>
                    <a:pt x="100114" y="96090"/>
                  </a:lnTo>
                  <a:lnTo>
                    <a:pt x="96456" y="102431"/>
                  </a:lnTo>
                  <a:lnTo>
                    <a:pt x="92188" y="102919"/>
                  </a:lnTo>
                  <a:lnTo>
                    <a:pt x="122795" y="105845"/>
                  </a:lnTo>
                  <a:lnTo>
                    <a:pt x="79506" y="110601"/>
                  </a:lnTo>
                  <a:lnTo>
                    <a:pt x="54508" y="105723"/>
                  </a:lnTo>
                  <a:lnTo>
                    <a:pt x="40606" y="115113"/>
                  </a:lnTo>
                  <a:lnTo>
                    <a:pt x="54264" y="119015"/>
                  </a:lnTo>
                  <a:lnTo>
                    <a:pt x="57069" y="127551"/>
                  </a:lnTo>
                  <a:lnTo>
                    <a:pt x="47923" y="126453"/>
                  </a:lnTo>
                  <a:lnTo>
                    <a:pt x="55361" y="134989"/>
                  </a:lnTo>
                  <a:lnTo>
                    <a:pt x="70360" y="142794"/>
                  </a:lnTo>
                  <a:lnTo>
                    <a:pt x="70360" y="147306"/>
                  </a:lnTo>
                  <a:lnTo>
                    <a:pt x="103041" y="154134"/>
                  </a:lnTo>
                  <a:lnTo>
                    <a:pt x="107187" y="150476"/>
                  </a:lnTo>
                  <a:lnTo>
                    <a:pt x="107187" y="143281"/>
                  </a:lnTo>
                  <a:lnTo>
                    <a:pt x="107187" y="143281"/>
                  </a:lnTo>
                  <a:lnTo>
                    <a:pt x="116576" y="145476"/>
                  </a:lnTo>
                  <a:lnTo>
                    <a:pt x="109504" y="139623"/>
                  </a:lnTo>
                  <a:lnTo>
                    <a:pt x="113893" y="131819"/>
                  </a:lnTo>
                  <a:lnTo>
                    <a:pt x="125112" y="134258"/>
                  </a:lnTo>
                  <a:lnTo>
                    <a:pt x="126819" y="139257"/>
                  </a:lnTo>
                  <a:lnTo>
                    <a:pt x="139257" y="150476"/>
                  </a:lnTo>
                  <a:lnTo>
                    <a:pt x="147427" y="143769"/>
                  </a:lnTo>
                  <a:lnTo>
                    <a:pt x="141086" y="136209"/>
                  </a:lnTo>
                  <a:lnTo>
                    <a:pt x="149135" y="133892"/>
                  </a:lnTo>
                  <a:lnTo>
                    <a:pt x="157792" y="137062"/>
                  </a:lnTo>
                  <a:lnTo>
                    <a:pt x="159378" y="132794"/>
                  </a:lnTo>
                  <a:lnTo>
                    <a:pt x="149622" y="120722"/>
                  </a:lnTo>
                  <a:lnTo>
                    <a:pt x="161329" y="117674"/>
                  </a:lnTo>
                  <a:lnTo>
                    <a:pt x="165963" y="124868"/>
                  </a:lnTo>
                  <a:lnTo>
                    <a:pt x="169621" y="125356"/>
                  </a:lnTo>
                  <a:lnTo>
                    <a:pt x="179132" y="116454"/>
                  </a:lnTo>
                  <a:lnTo>
                    <a:pt x="204008" y="105723"/>
                  </a:lnTo>
                  <a:lnTo>
                    <a:pt x="216202" y="103650"/>
                  </a:lnTo>
                  <a:lnTo>
                    <a:pt x="215227" y="93651"/>
                  </a:lnTo>
                  <a:lnTo>
                    <a:pt x="204130" y="91456"/>
                  </a:lnTo>
                  <a:lnTo>
                    <a:pt x="175108" y="91456"/>
                  </a:lnTo>
                  <a:lnTo>
                    <a:pt x="176206" y="78043"/>
                  </a:lnTo>
                  <a:lnTo>
                    <a:pt x="162182" y="73531"/>
                  </a:lnTo>
                  <a:lnTo>
                    <a:pt x="175108" y="71702"/>
                  </a:lnTo>
                  <a:lnTo>
                    <a:pt x="161938" y="65970"/>
                  </a:lnTo>
                  <a:lnTo>
                    <a:pt x="169377" y="60239"/>
                  </a:lnTo>
                  <a:lnTo>
                    <a:pt x="167182" y="52557"/>
                  </a:lnTo>
                  <a:lnTo>
                    <a:pt x="152915" y="49996"/>
                  </a:lnTo>
                  <a:lnTo>
                    <a:pt x="149256" y="55971"/>
                  </a:lnTo>
                  <a:lnTo>
                    <a:pt x="162426" y="62312"/>
                  </a:lnTo>
                  <a:lnTo>
                    <a:pt x="155353" y="70360"/>
                  </a:lnTo>
                  <a:lnTo>
                    <a:pt x="140599" y="64629"/>
                  </a:lnTo>
                  <a:lnTo>
                    <a:pt x="134014" y="54874"/>
                  </a:lnTo>
                  <a:lnTo>
                    <a:pt x="135355" y="46216"/>
                  </a:lnTo>
                  <a:lnTo>
                    <a:pt x="111089" y="41582"/>
                  </a:lnTo>
                  <a:lnTo>
                    <a:pt x="97553" y="27193"/>
                  </a:lnTo>
                  <a:lnTo>
                    <a:pt x="91822" y="16950"/>
                  </a:lnTo>
                  <a:lnTo>
                    <a:pt x="89139" y="9755"/>
                  </a:lnTo>
                  <a:lnTo>
                    <a:pt x="74628" y="2317"/>
                  </a:lnTo>
                  <a:lnTo>
                    <a:pt x="59507" y="0"/>
                  </a:lnTo>
                  <a:lnTo>
                    <a:pt x="48533" y="0"/>
                  </a:lnTo>
                  <a:lnTo>
                    <a:pt x="35363" y="2073"/>
                  </a:lnTo>
                  <a:lnTo>
                    <a:pt x="35851" y="4268"/>
                  </a:lnTo>
                  <a:lnTo>
                    <a:pt x="56093" y="4268"/>
                  </a:lnTo>
                  <a:lnTo>
                    <a:pt x="68775" y="12072"/>
                  </a:lnTo>
                  <a:lnTo>
                    <a:pt x="44630" y="15121"/>
                  </a:lnTo>
                  <a:lnTo>
                    <a:pt x="53167" y="20486"/>
                  </a:lnTo>
                  <a:lnTo>
                    <a:pt x="39265" y="25486"/>
                  </a:lnTo>
                  <a:lnTo>
                    <a:pt x="33290" y="19511"/>
                  </a:lnTo>
                  <a:lnTo>
                    <a:pt x="28412" y="19145"/>
                  </a:lnTo>
                  <a:lnTo>
                    <a:pt x="25608" y="26217"/>
                  </a:lnTo>
                  <a:lnTo>
                    <a:pt x="55240" y="38290"/>
                  </a:lnTo>
                  <a:lnTo>
                    <a:pt x="44387" y="43045"/>
                  </a:lnTo>
                  <a:lnTo>
                    <a:pt x="25486" y="39265"/>
                  </a:lnTo>
                  <a:lnTo>
                    <a:pt x="10731" y="39753"/>
                  </a:lnTo>
                  <a:lnTo>
                    <a:pt x="10731" y="40607"/>
                  </a:lnTo>
                  <a:lnTo>
                    <a:pt x="20730" y="44265"/>
                  </a:lnTo>
                  <a:lnTo>
                    <a:pt x="20730" y="51581"/>
                  </a:lnTo>
                  <a:lnTo>
                    <a:pt x="4268" y="51581"/>
                  </a:lnTo>
                  <a:lnTo>
                    <a:pt x="21827" y="58410"/>
                  </a:lnTo>
                  <a:lnTo>
                    <a:pt x="41948" y="59142"/>
                  </a:lnTo>
                  <a:lnTo>
                    <a:pt x="41948" y="69507"/>
                  </a:lnTo>
                  <a:lnTo>
                    <a:pt x="15243" y="68165"/>
                  </a:lnTo>
                  <a:lnTo>
                    <a:pt x="4146" y="62678"/>
                  </a:lnTo>
                  <a:lnTo>
                    <a:pt x="0" y="63410"/>
                  </a:lnTo>
                  <a:lnTo>
                    <a:pt x="3414" y="75848"/>
                  </a:lnTo>
                  <a:lnTo>
                    <a:pt x="10853" y="8182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89" name="Freihandform: Form 588">
              <a:extLst>
                <a:ext uri="{FF2B5EF4-FFF2-40B4-BE49-F238E27FC236}">
                  <a16:creationId xmlns:a16="http://schemas.microsoft.com/office/drawing/2014/main" id="{F7B2BC20-1246-4E20-9AF7-87016A1E01AD}"/>
                </a:ext>
              </a:extLst>
            </p:cNvPr>
            <p:cNvSpPr/>
            <p:nvPr/>
          </p:nvSpPr>
          <p:spPr>
            <a:xfrm>
              <a:off x="2317909" y="1173714"/>
              <a:ext cx="126819" cy="61458"/>
            </a:xfrm>
            <a:custGeom>
              <a:avLst/>
              <a:gdLst>
                <a:gd name="connsiteX0" fmla="*/ 13779 w 126819"/>
                <a:gd name="connsiteY0" fmla="*/ 20608 h 61458"/>
                <a:gd name="connsiteX1" fmla="*/ 19633 w 126819"/>
                <a:gd name="connsiteY1" fmla="*/ 21828 h 61458"/>
                <a:gd name="connsiteX2" fmla="*/ 23535 w 126819"/>
                <a:gd name="connsiteY2" fmla="*/ 17316 h 61458"/>
                <a:gd name="connsiteX3" fmla="*/ 32436 w 126819"/>
                <a:gd name="connsiteY3" fmla="*/ 15487 h 61458"/>
                <a:gd name="connsiteX4" fmla="*/ 32436 w 126819"/>
                <a:gd name="connsiteY4" fmla="*/ 21584 h 61458"/>
                <a:gd name="connsiteX5" fmla="*/ 38655 w 126819"/>
                <a:gd name="connsiteY5" fmla="*/ 24266 h 61458"/>
                <a:gd name="connsiteX6" fmla="*/ 37070 w 126819"/>
                <a:gd name="connsiteY6" fmla="*/ 28412 h 61458"/>
                <a:gd name="connsiteX7" fmla="*/ 48045 w 126819"/>
                <a:gd name="connsiteY7" fmla="*/ 36948 h 61458"/>
                <a:gd name="connsiteX8" fmla="*/ 17560 w 126819"/>
                <a:gd name="connsiteY8" fmla="*/ 36217 h 61458"/>
                <a:gd name="connsiteX9" fmla="*/ 15974 w 126819"/>
                <a:gd name="connsiteY9" fmla="*/ 39753 h 61458"/>
                <a:gd name="connsiteX10" fmla="*/ 23657 w 126819"/>
                <a:gd name="connsiteY10" fmla="*/ 43533 h 61458"/>
                <a:gd name="connsiteX11" fmla="*/ 47801 w 126819"/>
                <a:gd name="connsiteY11" fmla="*/ 41704 h 61458"/>
                <a:gd name="connsiteX12" fmla="*/ 54752 w 126819"/>
                <a:gd name="connsiteY12" fmla="*/ 45362 h 61458"/>
                <a:gd name="connsiteX13" fmla="*/ 67434 w 126819"/>
                <a:gd name="connsiteY13" fmla="*/ 42314 h 61458"/>
                <a:gd name="connsiteX14" fmla="*/ 79140 w 126819"/>
                <a:gd name="connsiteY14" fmla="*/ 47313 h 61458"/>
                <a:gd name="connsiteX15" fmla="*/ 92676 w 126819"/>
                <a:gd name="connsiteY15" fmla="*/ 48655 h 61458"/>
                <a:gd name="connsiteX16" fmla="*/ 94505 w 126819"/>
                <a:gd name="connsiteY16" fmla="*/ 52435 h 61458"/>
                <a:gd name="connsiteX17" fmla="*/ 104870 w 126819"/>
                <a:gd name="connsiteY17" fmla="*/ 61459 h 61458"/>
                <a:gd name="connsiteX18" fmla="*/ 121332 w 126819"/>
                <a:gd name="connsiteY18" fmla="*/ 60849 h 61458"/>
                <a:gd name="connsiteX19" fmla="*/ 126819 w 126819"/>
                <a:gd name="connsiteY19" fmla="*/ 51825 h 61458"/>
                <a:gd name="connsiteX20" fmla="*/ 107796 w 126819"/>
                <a:gd name="connsiteY20" fmla="*/ 38290 h 61458"/>
                <a:gd name="connsiteX21" fmla="*/ 106577 w 126819"/>
                <a:gd name="connsiteY21" fmla="*/ 31461 h 61458"/>
                <a:gd name="connsiteX22" fmla="*/ 84018 w 126819"/>
                <a:gd name="connsiteY22" fmla="*/ 26339 h 61458"/>
                <a:gd name="connsiteX23" fmla="*/ 88408 w 126819"/>
                <a:gd name="connsiteY23" fmla="*/ 16950 h 61458"/>
                <a:gd name="connsiteX24" fmla="*/ 77067 w 126819"/>
                <a:gd name="connsiteY24" fmla="*/ 13414 h 61458"/>
                <a:gd name="connsiteX25" fmla="*/ 64995 w 126819"/>
                <a:gd name="connsiteY25" fmla="*/ 16096 h 61458"/>
                <a:gd name="connsiteX26" fmla="*/ 64995 w 126819"/>
                <a:gd name="connsiteY26" fmla="*/ 23657 h 61458"/>
                <a:gd name="connsiteX27" fmla="*/ 54264 w 126819"/>
                <a:gd name="connsiteY27" fmla="*/ 21828 h 61458"/>
                <a:gd name="connsiteX28" fmla="*/ 49874 w 126819"/>
                <a:gd name="connsiteY28" fmla="*/ 10243 h 61458"/>
                <a:gd name="connsiteX29" fmla="*/ 35485 w 126819"/>
                <a:gd name="connsiteY29" fmla="*/ 0 h 61458"/>
                <a:gd name="connsiteX30" fmla="*/ 20486 w 126819"/>
                <a:gd name="connsiteY30" fmla="*/ 2927 h 61458"/>
                <a:gd name="connsiteX31" fmla="*/ 20486 w 126819"/>
                <a:gd name="connsiteY31" fmla="*/ 2927 h 61458"/>
                <a:gd name="connsiteX32" fmla="*/ 976 w 126819"/>
                <a:gd name="connsiteY32" fmla="*/ 1829 h 61458"/>
                <a:gd name="connsiteX33" fmla="*/ 0 w 126819"/>
                <a:gd name="connsiteY33" fmla="*/ 10609 h 61458"/>
                <a:gd name="connsiteX34" fmla="*/ 12316 w 126819"/>
                <a:gd name="connsiteY34" fmla="*/ 11828 h 61458"/>
                <a:gd name="connsiteX35" fmla="*/ 13779 w 126819"/>
                <a:gd name="connsiteY35" fmla="*/ 20608 h 6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6819" h="61458">
                  <a:moveTo>
                    <a:pt x="13779" y="20608"/>
                  </a:moveTo>
                  <a:lnTo>
                    <a:pt x="19633" y="21828"/>
                  </a:lnTo>
                  <a:lnTo>
                    <a:pt x="23535" y="17316"/>
                  </a:lnTo>
                  <a:lnTo>
                    <a:pt x="32436" y="15487"/>
                  </a:lnTo>
                  <a:lnTo>
                    <a:pt x="32436" y="21584"/>
                  </a:lnTo>
                  <a:lnTo>
                    <a:pt x="38655" y="24266"/>
                  </a:lnTo>
                  <a:lnTo>
                    <a:pt x="37070" y="28412"/>
                  </a:lnTo>
                  <a:lnTo>
                    <a:pt x="48045" y="36948"/>
                  </a:lnTo>
                  <a:lnTo>
                    <a:pt x="17560" y="36217"/>
                  </a:lnTo>
                  <a:lnTo>
                    <a:pt x="15974" y="39753"/>
                  </a:lnTo>
                  <a:lnTo>
                    <a:pt x="23657" y="43533"/>
                  </a:lnTo>
                  <a:lnTo>
                    <a:pt x="47801" y="41704"/>
                  </a:lnTo>
                  <a:lnTo>
                    <a:pt x="54752" y="45362"/>
                  </a:lnTo>
                  <a:lnTo>
                    <a:pt x="67434" y="42314"/>
                  </a:lnTo>
                  <a:lnTo>
                    <a:pt x="79140" y="47313"/>
                  </a:lnTo>
                  <a:lnTo>
                    <a:pt x="92676" y="48655"/>
                  </a:lnTo>
                  <a:lnTo>
                    <a:pt x="94505" y="52435"/>
                  </a:lnTo>
                  <a:lnTo>
                    <a:pt x="104870" y="61459"/>
                  </a:lnTo>
                  <a:lnTo>
                    <a:pt x="121332" y="60849"/>
                  </a:lnTo>
                  <a:lnTo>
                    <a:pt x="126819" y="51825"/>
                  </a:lnTo>
                  <a:lnTo>
                    <a:pt x="107796" y="38290"/>
                  </a:lnTo>
                  <a:lnTo>
                    <a:pt x="106577" y="31461"/>
                  </a:lnTo>
                  <a:lnTo>
                    <a:pt x="84018" y="26339"/>
                  </a:lnTo>
                  <a:lnTo>
                    <a:pt x="88408" y="16950"/>
                  </a:lnTo>
                  <a:lnTo>
                    <a:pt x="77067" y="13414"/>
                  </a:lnTo>
                  <a:lnTo>
                    <a:pt x="64995" y="16096"/>
                  </a:lnTo>
                  <a:lnTo>
                    <a:pt x="64995" y="23657"/>
                  </a:lnTo>
                  <a:lnTo>
                    <a:pt x="54264" y="21828"/>
                  </a:lnTo>
                  <a:lnTo>
                    <a:pt x="49874" y="10243"/>
                  </a:lnTo>
                  <a:lnTo>
                    <a:pt x="35485" y="0"/>
                  </a:lnTo>
                  <a:lnTo>
                    <a:pt x="20486" y="2927"/>
                  </a:lnTo>
                  <a:lnTo>
                    <a:pt x="20486" y="2927"/>
                  </a:lnTo>
                  <a:lnTo>
                    <a:pt x="976" y="1829"/>
                  </a:lnTo>
                  <a:lnTo>
                    <a:pt x="0" y="10609"/>
                  </a:lnTo>
                  <a:lnTo>
                    <a:pt x="12316" y="11828"/>
                  </a:lnTo>
                  <a:lnTo>
                    <a:pt x="13779" y="2060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0" name="Freihandform: Form 589">
              <a:extLst>
                <a:ext uri="{FF2B5EF4-FFF2-40B4-BE49-F238E27FC236}">
                  <a16:creationId xmlns:a16="http://schemas.microsoft.com/office/drawing/2014/main" id="{9C7A9A53-E312-4019-B1CE-7AA4D341F45C}"/>
                </a:ext>
              </a:extLst>
            </p:cNvPr>
            <p:cNvSpPr/>
            <p:nvPr/>
          </p:nvSpPr>
          <p:spPr>
            <a:xfrm>
              <a:off x="2081220" y="1282974"/>
              <a:ext cx="237542" cy="85359"/>
            </a:xfrm>
            <a:custGeom>
              <a:avLst/>
              <a:gdLst>
                <a:gd name="connsiteX0" fmla="*/ 49264 w 237542"/>
                <a:gd name="connsiteY0" fmla="*/ 21218 h 85359"/>
                <a:gd name="connsiteX1" fmla="*/ 34266 w 237542"/>
                <a:gd name="connsiteY1" fmla="*/ 19145 h 85359"/>
                <a:gd name="connsiteX2" fmla="*/ 25242 w 237542"/>
                <a:gd name="connsiteY2" fmla="*/ 19145 h 85359"/>
                <a:gd name="connsiteX3" fmla="*/ 20486 w 237542"/>
                <a:gd name="connsiteY3" fmla="*/ 23291 h 85359"/>
                <a:gd name="connsiteX4" fmla="*/ 21096 w 237542"/>
                <a:gd name="connsiteY4" fmla="*/ 24022 h 85359"/>
                <a:gd name="connsiteX5" fmla="*/ 37680 w 237542"/>
                <a:gd name="connsiteY5" fmla="*/ 24022 h 85359"/>
                <a:gd name="connsiteX6" fmla="*/ 51094 w 237542"/>
                <a:gd name="connsiteY6" fmla="*/ 29876 h 85359"/>
                <a:gd name="connsiteX7" fmla="*/ 31583 w 237542"/>
                <a:gd name="connsiteY7" fmla="*/ 31949 h 85359"/>
                <a:gd name="connsiteX8" fmla="*/ 31583 w 237542"/>
                <a:gd name="connsiteY8" fmla="*/ 31949 h 85359"/>
                <a:gd name="connsiteX9" fmla="*/ 20730 w 237542"/>
                <a:gd name="connsiteY9" fmla="*/ 31339 h 85359"/>
                <a:gd name="connsiteX10" fmla="*/ 15365 w 237542"/>
                <a:gd name="connsiteY10" fmla="*/ 34022 h 85359"/>
                <a:gd name="connsiteX11" fmla="*/ 17803 w 237542"/>
                <a:gd name="connsiteY11" fmla="*/ 35119 h 85359"/>
                <a:gd name="connsiteX12" fmla="*/ 37802 w 237542"/>
                <a:gd name="connsiteY12" fmla="*/ 33900 h 85359"/>
                <a:gd name="connsiteX13" fmla="*/ 37802 w 237542"/>
                <a:gd name="connsiteY13" fmla="*/ 33900 h 85359"/>
                <a:gd name="connsiteX14" fmla="*/ 46948 w 237542"/>
                <a:gd name="connsiteY14" fmla="*/ 39143 h 85359"/>
                <a:gd name="connsiteX15" fmla="*/ 25974 w 237542"/>
                <a:gd name="connsiteY15" fmla="*/ 44875 h 85359"/>
                <a:gd name="connsiteX16" fmla="*/ 2683 w 237542"/>
                <a:gd name="connsiteY16" fmla="*/ 46094 h 85359"/>
                <a:gd name="connsiteX17" fmla="*/ 0 w 237542"/>
                <a:gd name="connsiteY17" fmla="*/ 48655 h 85359"/>
                <a:gd name="connsiteX18" fmla="*/ 7804 w 237542"/>
                <a:gd name="connsiteY18" fmla="*/ 51337 h 85359"/>
                <a:gd name="connsiteX19" fmla="*/ 21096 w 237542"/>
                <a:gd name="connsiteY19" fmla="*/ 50484 h 85359"/>
                <a:gd name="connsiteX20" fmla="*/ 27193 w 237542"/>
                <a:gd name="connsiteY20" fmla="*/ 57556 h 85359"/>
                <a:gd name="connsiteX21" fmla="*/ 35363 w 237542"/>
                <a:gd name="connsiteY21" fmla="*/ 60361 h 85359"/>
                <a:gd name="connsiteX22" fmla="*/ 41094 w 237542"/>
                <a:gd name="connsiteY22" fmla="*/ 55240 h 85359"/>
                <a:gd name="connsiteX23" fmla="*/ 50240 w 237542"/>
                <a:gd name="connsiteY23" fmla="*/ 58898 h 85359"/>
                <a:gd name="connsiteX24" fmla="*/ 57922 w 237542"/>
                <a:gd name="connsiteY24" fmla="*/ 57435 h 85359"/>
                <a:gd name="connsiteX25" fmla="*/ 49630 w 237542"/>
                <a:gd name="connsiteY25" fmla="*/ 50728 h 85359"/>
                <a:gd name="connsiteX26" fmla="*/ 72799 w 237542"/>
                <a:gd name="connsiteY26" fmla="*/ 44875 h 85359"/>
                <a:gd name="connsiteX27" fmla="*/ 87676 w 237542"/>
                <a:gd name="connsiteY27" fmla="*/ 49386 h 85359"/>
                <a:gd name="connsiteX28" fmla="*/ 71946 w 237542"/>
                <a:gd name="connsiteY28" fmla="*/ 53410 h 85359"/>
                <a:gd name="connsiteX29" fmla="*/ 71946 w 237542"/>
                <a:gd name="connsiteY29" fmla="*/ 56581 h 85359"/>
                <a:gd name="connsiteX30" fmla="*/ 79506 w 237542"/>
                <a:gd name="connsiteY30" fmla="*/ 57313 h 85359"/>
                <a:gd name="connsiteX31" fmla="*/ 90968 w 237542"/>
                <a:gd name="connsiteY31" fmla="*/ 52923 h 85359"/>
                <a:gd name="connsiteX32" fmla="*/ 100968 w 237542"/>
                <a:gd name="connsiteY32" fmla="*/ 55483 h 85359"/>
                <a:gd name="connsiteX33" fmla="*/ 109504 w 237542"/>
                <a:gd name="connsiteY33" fmla="*/ 53045 h 85359"/>
                <a:gd name="connsiteX34" fmla="*/ 126332 w 237542"/>
                <a:gd name="connsiteY34" fmla="*/ 52069 h 85359"/>
                <a:gd name="connsiteX35" fmla="*/ 129258 w 237542"/>
                <a:gd name="connsiteY35" fmla="*/ 57313 h 85359"/>
                <a:gd name="connsiteX36" fmla="*/ 119015 w 237542"/>
                <a:gd name="connsiteY36" fmla="*/ 66580 h 85359"/>
                <a:gd name="connsiteX37" fmla="*/ 96822 w 237542"/>
                <a:gd name="connsiteY37" fmla="*/ 68287 h 85359"/>
                <a:gd name="connsiteX38" fmla="*/ 89017 w 237542"/>
                <a:gd name="connsiteY38" fmla="*/ 67556 h 85359"/>
                <a:gd name="connsiteX39" fmla="*/ 82189 w 237542"/>
                <a:gd name="connsiteY39" fmla="*/ 74141 h 85359"/>
                <a:gd name="connsiteX40" fmla="*/ 68409 w 237542"/>
                <a:gd name="connsiteY40" fmla="*/ 76092 h 85359"/>
                <a:gd name="connsiteX41" fmla="*/ 80481 w 237542"/>
                <a:gd name="connsiteY41" fmla="*/ 84506 h 85359"/>
                <a:gd name="connsiteX42" fmla="*/ 95236 w 237542"/>
                <a:gd name="connsiteY42" fmla="*/ 85359 h 85359"/>
                <a:gd name="connsiteX43" fmla="*/ 126819 w 237542"/>
                <a:gd name="connsiteY43" fmla="*/ 80481 h 85359"/>
                <a:gd name="connsiteX44" fmla="*/ 133892 w 237542"/>
                <a:gd name="connsiteY44" fmla="*/ 71214 h 85359"/>
                <a:gd name="connsiteX45" fmla="*/ 163402 w 237542"/>
                <a:gd name="connsiteY45" fmla="*/ 62800 h 85359"/>
                <a:gd name="connsiteX46" fmla="*/ 166450 w 237542"/>
                <a:gd name="connsiteY46" fmla="*/ 56337 h 85359"/>
                <a:gd name="connsiteX47" fmla="*/ 181205 w 237542"/>
                <a:gd name="connsiteY47" fmla="*/ 57435 h 85359"/>
                <a:gd name="connsiteX48" fmla="*/ 181205 w 237542"/>
                <a:gd name="connsiteY48" fmla="*/ 61702 h 85359"/>
                <a:gd name="connsiteX49" fmla="*/ 189863 w 237542"/>
                <a:gd name="connsiteY49" fmla="*/ 62312 h 85359"/>
                <a:gd name="connsiteX50" fmla="*/ 197667 w 237542"/>
                <a:gd name="connsiteY50" fmla="*/ 57678 h 85359"/>
                <a:gd name="connsiteX51" fmla="*/ 203643 w 237542"/>
                <a:gd name="connsiteY51" fmla="*/ 62190 h 85359"/>
                <a:gd name="connsiteX52" fmla="*/ 228641 w 237542"/>
                <a:gd name="connsiteY52" fmla="*/ 56703 h 85359"/>
                <a:gd name="connsiteX53" fmla="*/ 235225 w 237542"/>
                <a:gd name="connsiteY53" fmla="*/ 41460 h 85359"/>
                <a:gd name="connsiteX54" fmla="*/ 237542 w 237542"/>
                <a:gd name="connsiteY54" fmla="*/ 33534 h 85359"/>
                <a:gd name="connsiteX55" fmla="*/ 222665 w 237542"/>
                <a:gd name="connsiteY55" fmla="*/ 27681 h 85359"/>
                <a:gd name="connsiteX56" fmla="*/ 217300 w 237542"/>
                <a:gd name="connsiteY56" fmla="*/ 27681 h 85359"/>
                <a:gd name="connsiteX57" fmla="*/ 220105 w 237542"/>
                <a:gd name="connsiteY57" fmla="*/ 37924 h 85359"/>
                <a:gd name="connsiteX58" fmla="*/ 208642 w 237542"/>
                <a:gd name="connsiteY58" fmla="*/ 38899 h 85359"/>
                <a:gd name="connsiteX59" fmla="*/ 207179 w 237542"/>
                <a:gd name="connsiteY59" fmla="*/ 33168 h 85359"/>
                <a:gd name="connsiteX60" fmla="*/ 202057 w 237542"/>
                <a:gd name="connsiteY60" fmla="*/ 33168 h 85359"/>
                <a:gd name="connsiteX61" fmla="*/ 194863 w 237542"/>
                <a:gd name="connsiteY61" fmla="*/ 35485 h 85359"/>
                <a:gd name="connsiteX62" fmla="*/ 194863 w 237542"/>
                <a:gd name="connsiteY62" fmla="*/ 35485 h 85359"/>
                <a:gd name="connsiteX63" fmla="*/ 190351 w 237542"/>
                <a:gd name="connsiteY63" fmla="*/ 24998 h 85359"/>
                <a:gd name="connsiteX64" fmla="*/ 180596 w 237542"/>
                <a:gd name="connsiteY64" fmla="*/ 23657 h 85359"/>
                <a:gd name="connsiteX65" fmla="*/ 183644 w 237542"/>
                <a:gd name="connsiteY65" fmla="*/ 13901 h 85359"/>
                <a:gd name="connsiteX66" fmla="*/ 175596 w 237542"/>
                <a:gd name="connsiteY66" fmla="*/ 10365 h 85359"/>
                <a:gd name="connsiteX67" fmla="*/ 175596 w 237542"/>
                <a:gd name="connsiteY67" fmla="*/ 610 h 85359"/>
                <a:gd name="connsiteX68" fmla="*/ 163768 w 237542"/>
                <a:gd name="connsiteY68" fmla="*/ 0 h 85359"/>
                <a:gd name="connsiteX69" fmla="*/ 159865 w 237542"/>
                <a:gd name="connsiteY69" fmla="*/ 1219 h 85359"/>
                <a:gd name="connsiteX70" fmla="*/ 159865 w 237542"/>
                <a:gd name="connsiteY70" fmla="*/ 10243 h 85359"/>
                <a:gd name="connsiteX71" fmla="*/ 144135 w 237542"/>
                <a:gd name="connsiteY71" fmla="*/ 12316 h 85359"/>
                <a:gd name="connsiteX72" fmla="*/ 141330 w 237542"/>
                <a:gd name="connsiteY72" fmla="*/ 13536 h 85359"/>
                <a:gd name="connsiteX73" fmla="*/ 141940 w 237542"/>
                <a:gd name="connsiteY73" fmla="*/ 14267 h 85359"/>
                <a:gd name="connsiteX74" fmla="*/ 161938 w 237542"/>
                <a:gd name="connsiteY74" fmla="*/ 16218 h 85359"/>
                <a:gd name="connsiteX75" fmla="*/ 166328 w 237542"/>
                <a:gd name="connsiteY75" fmla="*/ 24754 h 85359"/>
                <a:gd name="connsiteX76" fmla="*/ 152183 w 237542"/>
                <a:gd name="connsiteY76" fmla="*/ 30973 h 85359"/>
                <a:gd name="connsiteX77" fmla="*/ 152793 w 237542"/>
                <a:gd name="connsiteY77" fmla="*/ 31461 h 85359"/>
                <a:gd name="connsiteX78" fmla="*/ 170962 w 237542"/>
                <a:gd name="connsiteY78" fmla="*/ 31461 h 85359"/>
                <a:gd name="connsiteX79" fmla="*/ 172913 w 237542"/>
                <a:gd name="connsiteY79" fmla="*/ 42923 h 85359"/>
                <a:gd name="connsiteX80" fmla="*/ 160719 w 237542"/>
                <a:gd name="connsiteY80" fmla="*/ 47435 h 85359"/>
                <a:gd name="connsiteX81" fmla="*/ 141818 w 237542"/>
                <a:gd name="connsiteY81" fmla="*/ 41826 h 85359"/>
                <a:gd name="connsiteX82" fmla="*/ 119747 w 237542"/>
                <a:gd name="connsiteY82" fmla="*/ 40485 h 85359"/>
                <a:gd name="connsiteX83" fmla="*/ 115113 w 237542"/>
                <a:gd name="connsiteY83" fmla="*/ 33900 h 85359"/>
                <a:gd name="connsiteX84" fmla="*/ 91944 w 237542"/>
                <a:gd name="connsiteY84" fmla="*/ 17803 h 85359"/>
                <a:gd name="connsiteX85" fmla="*/ 65848 w 237542"/>
                <a:gd name="connsiteY85" fmla="*/ 19145 h 85359"/>
                <a:gd name="connsiteX86" fmla="*/ 61459 w 237542"/>
                <a:gd name="connsiteY86" fmla="*/ 11584 h 85359"/>
                <a:gd name="connsiteX87" fmla="*/ 45972 w 237542"/>
                <a:gd name="connsiteY87" fmla="*/ 9877 h 85359"/>
                <a:gd name="connsiteX88" fmla="*/ 41582 w 237542"/>
                <a:gd name="connsiteY88" fmla="*/ 11219 h 85359"/>
                <a:gd name="connsiteX89" fmla="*/ 49264 w 237542"/>
                <a:gd name="connsiteY89" fmla="*/ 14999 h 85359"/>
                <a:gd name="connsiteX90" fmla="*/ 49264 w 237542"/>
                <a:gd name="connsiteY90" fmla="*/ 21218 h 85359"/>
                <a:gd name="connsiteX91" fmla="*/ 49264 w 237542"/>
                <a:gd name="connsiteY91" fmla="*/ 21218 h 8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37542" h="85359">
                  <a:moveTo>
                    <a:pt x="49264" y="21218"/>
                  </a:moveTo>
                  <a:lnTo>
                    <a:pt x="34266" y="19145"/>
                  </a:lnTo>
                  <a:lnTo>
                    <a:pt x="25242" y="19145"/>
                  </a:lnTo>
                  <a:lnTo>
                    <a:pt x="20486" y="23291"/>
                  </a:lnTo>
                  <a:lnTo>
                    <a:pt x="21096" y="24022"/>
                  </a:lnTo>
                  <a:lnTo>
                    <a:pt x="37680" y="24022"/>
                  </a:lnTo>
                  <a:lnTo>
                    <a:pt x="51094" y="29876"/>
                  </a:lnTo>
                  <a:lnTo>
                    <a:pt x="31583" y="31949"/>
                  </a:lnTo>
                  <a:lnTo>
                    <a:pt x="31583" y="31949"/>
                  </a:lnTo>
                  <a:lnTo>
                    <a:pt x="20730" y="31339"/>
                  </a:lnTo>
                  <a:lnTo>
                    <a:pt x="15365" y="34022"/>
                  </a:lnTo>
                  <a:lnTo>
                    <a:pt x="17803" y="35119"/>
                  </a:lnTo>
                  <a:lnTo>
                    <a:pt x="37802" y="33900"/>
                  </a:lnTo>
                  <a:lnTo>
                    <a:pt x="37802" y="33900"/>
                  </a:lnTo>
                  <a:lnTo>
                    <a:pt x="46948" y="39143"/>
                  </a:lnTo>
                  <a:lnTo>
                    <a:pt x="25974" y="44875"/>
                  </a:lnTo>
                  <a:lnTo>
                    <a:pt x="2683" y="46094"/>
                  </a:lnTo>
                  <a:lnTo>
                    <a:pt x="0" y="48655"/>
                  </a:lnTo>
                  <a:lnTo>
                    <a:pt x="7804" y="51337"/>
                  </a:lnTo>
                  <a:lnTo>
                    <a:pt x="21096" y="50484"/>
                  </a:lnTo>
                  <a:lnTo>
                    <a:pt x="27193" y="57556"/>
                  </a:lnTo>
                  <a:lnTo>
                    <a:pt x="35363" y="60361"/>
                  </a:lnTo>
                  <a:lnTo>
                    <a:pt x="41094" y="55240"/>
                  </a:lnTo>
                  <a:lnTo>
                    <a:pt x="50240" y="58898"/>
                  </a:lnTo>
                  <a:lnTo>
                    <a:pt x="57922" y="57435"/>
                  </a:lnTo>
                  <a:lnTo>
                    <a:pt x="49630" y="50728"/>
                  </a:lnTo>
                  <a:lnTo>
                    <a:pt x="72799" y="44875"/>
                  </a:lnTo>
                  <a:lnTo>
                    <a:pt x="87676" y="49386"/>
                  </a:lnTo>
                  <a:lnTo>
                    <a:pt x="71946" y="53410"/>
                  </a:lnTo>
                  <a:lnTo>
                    <a:pt x="71946" y="56581"/>
                  </a:lnTo>
                  <a:lnTo>
                    <a:pt x="79506" y="57313"/>
                  </a:lnTo>
                  <a:lnTo>
                    <a:pt x="90968" y="52923"/>
                  </a:lnTo>
                  <a:lnTo>
                    <a:pt x="100968" y="55483"/>
                  </a:lnTo>
                  <a:lnTo>
                    <a:pt x="109504" y="53045"/>
                  </a:lnTo>
                  <a:lnTo>
                    <a:pt x="126332" y="52069"/>
                  </a:lnTo>
                  <a:lnTo>
                    <a:pt x="129258" y="57313"/>
                  </a:lnTo>
                  <a:lnTo>
                    <a:pt x="119015" y="66580"/>
                  </a:lnTo>
                  <a:lnTo>
                    <a:pt x="96822" y="68287"/>
                  </a:lnTo>
                  <a:lnTo>
                    <a:pt x="89017" y="67556"/>
                  </a:lnTo>
                  <a:lnTo>
                    <a:pt x="82189" y="74141"/>
                  </a:lnTo>
                  <a:lnTo>
                    <a:pt x="68409" y="76092"/>
                  </a:lnTo>
                  <a:lnTo>
                    <a:pt x="80481" y="84506"/>
                  </a:lnTo>
                  <a:lnTo>
                    <a:pt x="95236" y="85359"/>
                  </a:lnTo>
                  <a:lnTo>
                    <a:pt x="126819" y="80481"/>
                  </a:lnTo>
                  <a:lnTo>
                    <a:pt x="133892" y="71214"/>
                  </a:lnTo>
                  <a:lnTo>
                    <a:pt x="163402" y="62800"/>
                  </a:lnTo>
                  <a:lnTo>
                    <a:pt x="166450" y="56337"/>
                  </a:lnTo>
                  <a:lnTo>
                    <a:pt x="181205" y="57435"/>
                  </a:lnTo>
                  <a:lnTo>
                    <a:pt x="181205" y="61702"/>
                  </a:lnTo>
                  <a:lnTo>
                    <a:pt x="189863" y="62312"/>
                  </a:lnTo>
                  <a:lnTo>
                    <a:pt x="197667" y="57678"/>
                  </a:lnTo>
                  <a:lnTo>
                    <a:pt x="203643" y="62190"/>
                  </a:lnTo>
                  <a:lnTo>
                    <a:pt x="228641" y="56703"/>
                  </a:lnTo>
                  <a:lnTo>
                    <a:pt x="235225" y="41460"/>
                  </a:lnTo>
                  <a:lnTo>
                    <a:pt x="237542" y="33534"/>
                  </a:lnTo>
                  <a:lnTo>
                    <a:pt x="222665" y="27681"/>
                  </a:lnTo>
                  <a:lnTo>
                    <a:pt x="217300" y="27681"/>
                  </a:lnTo>
                  <a:lnTo>
                    <a:pt x="220105" y="37924"/>
                  </a:lnTo>
                  <a:lnTo>
                    <a:pt x="208642" y="38899"/>
                  </a:lnTo>
                  <a:lnTo>
                    <a:pt x="207179" y="33168"/>
                  </a:lnTo>
                  <a:lnTo>
                    <a:pt x="202057" y="33168"/>
                  </a:lnTo>
                  <a:lnTo>
                    <a:pt x="194863" y="35485"/>
                  </a:lnTo>
                  <a:lnTo>
                    <a:pt x="194863" y="35485"/>
                  </a:lnTo>
                  <a:lnTo>
                    <a:pt x="190351" y="24998"/>
                  </a:lnTo>
                  <a:lnTo>
                    <a:pt x="180596" y="23657"/>
                  </a:lnTo>
                  <a:lnTo>
                    <a:pt x="183644" y="13901"/>
                  </a:lnTo>
                  <a:lnTo>
                    <a:pt x="175596" y="10365"/>
                  </a:lnTo>
                  <a:lnTo>
                    <a:pt x="175596" y="610"/>
                  </a:lnTo>
                  <a:lnTo>
                    <a:pt x="163768" y="0"/>
                  </a:lnTo>
                  <a:lnTo>
                    <a:pt x="159865" y="1219"/>
                  </a:lnTo>
                  <a:lnTo>
                    <a:pt x="159865" y="10243"/>
                  </a:lnTo>
                  <a:lnTo>
                    <a:pt x="144135" y="12316"/>
                  </a:lnTo>
                  <a:lnTo>
                    <a:pt x="141330" y="13536"/>
                  </a:lnTo>
                  <a:lnTo>
                    <a:pt x="141940" y="14267"/>
                  </a:lnTo>
                  <a:lnTo>
                    <a:pt x="161938" y="16218"/>
                  </a:lnTo>
                  <a:lnTo>
                    <a:pt x="166328" y="24754"/>
                  </a:lnTo>
                  <a:lnTo>
                    <a:pt x="152183" y="30973"/>
                  </a:lnTo>
                  <a:lnTo>
                    <a:pt x="152793" y="31461"/>
                  </a:lnTo>
                  <a:lnTo>
                    <a:pt x="170962" y="31461"/>
                  </a:lnTo>
                  <a:lnTo>
                    <a:pt x="172913" y="42923"/>
                  </a:lnTo>
                  <a:lnTo>
                    <a:pt x="160719" y="47435"/>
                  </a:lnTo>
                  <a:lnTo>
                    <a:pt x="141818" y="41826"/>
                  </a:lnTo>
                  <a:lnTo>
                    <a:pt x="119747" y="40485"/>
                  </a:lnTo>
                  <a:lnTo>
                    <a:pt x="115113" y="33900"/>
                  </a:lnTo>
                  <a:lnTo>
                    <a:pt x="91944" y="17803"/>
                  </a:lnTo>
                  <a:lnTo>
                    <a:pt x="65848" y="19145"/>
                  </a:lnTo>
                  <a:lnTo>
                    <a:pt x="61459" y="11584"/>
                  </a:lnTo>
                  <a:lnTo>
                    <a:pt x="45972" y="9877"/>
                  </a:lnTo>
                  <a:lnTo>
                    <a:pt x="41582" y="11219"/>
                  </a:lnTo>
                  <a:lnTo>
                    <a:pt x="49264" y="14999"/>
                  </a:lnTo>
                  <a:lnTo>
                    <a:pt x="49264" y="21218"/>
                  </a:lnTo>
                  <a:lnTo>
                    <a:pt x="49264" y="2121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1" name="Freihandform: Form 590">
              <a:extLst>
                <a:ext uri="{FF2B5EF4-FFF2-40B4-BE49-F238E27FC236}">
                  <a16:creationId xmlns:a16="http://schemas.microsoft.com/office/drawing/2014/main" id="{6790C3DC-8676-4829-9243-233B82E4A3B4}"/>
                </a:ext>
              </a:extLst>
            </p:cNvPr>
            <p:cNvSpPr/>
            <p:nvPr/>
          </p:nvSpPr>
          <p:spPr>
            <a:xfrm>
              <a:off x="1940622" y="2337281"/>
              <a:ext cx="1136130" cy="593977"/>
            </a:xfrm>
            <a:custGeom>
              <a:avLst/>
              <a:gdLst>
                <a:gd name="connsiteX0" fmla="*/ 162182 w 1136130"/>
                <a:gd name="connsiteY0" fmla="*/ 419479 h 593977"/>
                <a:gd name="connsiteX1" fmla="*/ 163036 w 1136130"/>
                <a:gd name="connsiteY1" fmla="*/ 419479 h 593977"/>
                <a:gd name="connsiteX2" fmla="*/ 196936 w 1136130"/>
                <a:gd name="connsiteY2" fmla="*/ 418016 h 593977"/>
                <a:gd name="connsiteX3" fmla="*/ 198521 w 1136130"/>
                <a:gd name="connsiteY3" fmla="*/ 418016 h 593977"/>
                <a:gd name="connsiteX4" fmla="*/ 199862 w 1136130"/>
                <a:gd name="connsiteY4" fmla="*/ 418626 h 593977"/>
                <a:gd name="connsiteX5" fmla="*/ 222056 w 1136130"/>
                <a:gd name="connsiteY5" fmla="*/ 428991 h 593977"/>
                <a:gd name="connsiteX6" fmla="*/ 229738 w 1136130"/>
                <a:gd name="connsiteY6" fmla="*/ 432527 h 593977"/>
                <a:gd name="connsiteX7" fmla="*/ 230104 w 1136130"/>
                <a:gd name="connsiteY7" fmla="*/ 432649 h 593977"/>
                <a:gd name="connsiteX8" fmla="*/ 230348 w 1136130"/>
                <a:gd name="connsiteY8" fmla="*/ 432893 h 593977"/>
                <a:gd name="connsiteX9" fmla="*/ 240713 w 1136130"/>
                <a:gd name="connsiteY9" fmla="*/ 439234 h 593977"/>
                <a:gd name="connsiteX10" fmla="*/ 257297 w 1136130"/>
                <a:gd name="connsiteY10" fmla="*/ 449477 h 593977"/>
                <a:gd name="connsiteX11" fmla="*/ 267418 w 1136130"/>
                <a:gd name="connsiteY11" fmla="*/ 451306 h 593977"/>
                <a:gd name="connsiteX12" fmla="*/ 309244 w 1136130"/>
                <a:gd name="connsiteY12" fmla="*/ 452038 h 593977"/>
                <a:gd name="connsiteX13" fmla="*/ 317536 w 1136130"/>
                <a:gd name="connsiteY13" fmla="*/ 449843 h 593977"/>
                <a:gd name="connsiteX14" fmla="*/ 325096 w 1136130"/>
                <a:gd name="connsiteY14" fmla="*/ 447770 h 593977"/>
                <a:gd name="connsiteX15" fmla="*/ 328145 w 1136130"/>
                <a:gd name="connsiteY15" fmla="*/ 439112 h 593977"/>
                <a:gd name="connsiteX16" fmla="*/ 329608 w 1136130"/>
                <a:gd name="connsiteY16" fmla="*/ 434966 h 593977"/>
                <a:gd name="connsiteX17" fmla="*/ 334120 w 1136130"/>
                <a:gd name="connsiteY17" fmla="*/ 435088 h 593977"/>
                <a:gd name="connsiteX18" fmla="*/ 350826 w 1136130"/>
                <a:gd name="connsiteY18" fmla="*/ 435698 h 593977"/>
                <a:gd name="connsiteX19" fmla="*/ 351314 w 1136130"/>
                <a:gd name="connsiteY19" fmla="*/ 435819 h 593977"/>
                <a:gd name="connsiteX20" fmla="*/ 351802 w 1136130"/>
                <a:gd name="connsiteY20" fmla="*/ 435941 h 593977"/>
                <a:gd name="connsiteX21" fmla="*/ 361191 w 1136130"/>
                <a:gd name="connsiteY21" fmla="*/ 437892 h 593977"/>
                <a:gd name="connsiteX22" fmla="*/ 370946 w 1136130"/>
                <a:gd name="connsiteY22" fmla="*/ 439965 h 593977"/>
                <a:gd name="connsiteX23" fmla="*/ 372654 w 1136130"/>
                <a:gd name="connsiteY23" fmla="*/ 440331 h 593977"/>
                <a:gd name="connsiteX24" fmla="*/ 373873 w 1136130"/>
                <a:gd name="connsiteY24" fmla="*/ 441551 h 593977"/>
                <a:gd name="connsiteX25" fmla="*/ 390701 w 1136130"/>
                <a:gd name="connsiteY25" fmla="*/ 457769 h 593977"/>
                <a:gd name="connsiteX26" fmla="*/ 397895 w 1136130"/>
                <a:gd name="connsiteY26" fmla="*/ 457769 h 593977"/>
                <a:gd name="connsiteX27" fmla="*/ 399725 w 1136130"/>
                <a:gd name="connsiteY27" fmla="*/ 459476 h 593977"/>
                <a:gd name="connsiteX28" fmla="*/ 405578 w 1136130"/>
                <a:gd name="connsiteY28" fmla="*/ 465451 h 593977"/>
                <a:gd name="connsiteX29" fmla="*/ 407163 w 1136130"/>
                <a:gd name="connsiteY29" fmla="*/ 467036 h 593977"/>
                <a:gd name="connsiteX30" fmla="*/ 407407 w 1136130"/>
                <a:gd name="connsiteY30" fmla="*/ 469232 h 593977"/>
                <a:gd name="connsiteX31" fmla="*/ 408626 w 1136130"/>
                <a:gd name="connsiteY31" fmla="*/ 484718 h 593977"/>
                <a:gd name="connsiteX32" fmla="*/ 422528 w 1136130"/>
                <a:gd name="connsiteY32" fmla="*/ 498010 h 593977"/>
                <a:gd name="connsiteX33" fmla="*/ 433259 w 1136130"/>
                <a:gd name="connsiteY33" fmla="*/ 501912 h 593977"/>
                <a:gd name="connsiteX34" fmla="*/ 433624 w 1136130"/>
                <a:gd name="connsiteY34" fmla="*/ 501790 h 593977"/>
                <a:gd name="connsiteX35" fmla="*/ 432771 w 1136130"/>
                <a:gd name="connsiteY35" fmla="*/ 497644 h 593977"/>
                <a:gd name="connsiteX36" fmla="*/ 432283 w 1136130"/>
                <a:gd name="connsiteY36" fmla="*/ 495693 h 593977"/>
                <a:gd name="connsiteX37" fmla="*/ 431551 w 1136130"/>
                <a:gd name="connsiteY37" fmla="*/ 492035 h 593977"/>
                <a:gd name="connsiteX38" fmla="*/ 434600 w 1136130"/>
                <a:gd name="connsiteY38" fmla="*/ 489718 h 593977"/>
                <a:gd name="connsiteX39" fmla="*/ 438258 w 1136130"/>
                <a:gd name="connsiteY39" fmla="*/ 486791 h 593977"/>
                <a:gd name="connsiteX40" fmla="*/ 445209 w 1136130"/>
                <a:gd name="connsiteY40" fmla="*/ 481304 h 593977"/>
                <a:gd name="connsiteX41" fmla="*/ 448257 w 1136130"/>
                <a:gd name="connsiteY41" fmla="*/ 478987 h 593977"/>
                <a:gd name="connsiteX42" fmla="*/ 451672 w 1136130"/>
                <a:gd name="connsiteY42" fmla="*/ 480694 h 593977"/>
                <a:gd name="connsiteX43" fmla="*/ 479718 w 1136130"/>
                <a:gd name="connsiteY43" fmla="*/ 494717 h 593977"/>
                <a:gd name="connsiteX44" fmla="*/ 481304 w 1136130"/>
                <a:gd name="connsiteY44" fmla="*/ 495449 h 593977"/>
                <a:gd name="connsiteX45" fmla="*/ 482157 w 1136130"/>
                <a:gd name="connsiteY45" fmla="*/ 496912 h 593977"/>
                <a:gd name="connsiteX46" fmla="*/ 489352 w 1136130"/>
                <a:gd name="connsiteY46" fmla="*/ 508375 h 593977"/>
                <a:gd name="connsiteX47" fmla="*/ 507887 w 1136130"/>
                <a:gd name="connsiteY47" fmla="*/ 538007 h 593977"/>
                <a:gd name="connsiteX48" fmla="*/ 508497 w 1136130"/>
                <a:gd name="connsiteY48" fmla="*/ 538860 h 593977"/>
                <a:gd name="connsiteX49" fmla="*/ 508740 w 1136130"/>
                <a:gd name="connsiteY49" fmla="*/ 539836 h 593977"/>
                <a:gd name="connsiteX50" fmla="*/ 511179 w 1136130"/>
                <a:gd name="connsiteY50" fmla="*/ 550932 h 593977"/>
                <a:gd name="connsiteX51" fmla="*/ 531909 w 1136130"/>
                <a:gd name="connsiteY51" fmla="*/ 567151 h 593977"/>
                <a:gd name="connsiteX52" fmla="*/ 541665 w 1136130"/>
                <a:gd name="connsiteY52" fmla="*/ 568980 h 593977"/>
                <a:gd name="connsiteX53" fmla="*/ 547274 w 1136130"/>
                <a:gd name="connsiteY53" fmla="*/ 569955 h 593977"/>
                <a:gd name="connsiteX54" fmla="*/ 547274 w 1136130"/>
                <a:gd name="connsiteY54" fmla="*/ 565931 h 593977"/>
                <a:gd name="connsiteX55" fmla="*/ 545811 w 1136130"/>
                <a:gd name="connsiteY55" fmla="*/ 551176 h 593977"/>
                <a:gd name="connsiteX56" fmla="*/ 545811 w 1136130"/>
                <a:gd name="connsiteY56" fmla="*/ 551176 h 593977"/>
                <a:gd name="connsiteX57" fmla="*/ 551786 w 1136130"/>
                <a:gd name="connsiteY57" fmla="*/ 542274 h 593977"/>
                <a:gd name="connsiteX58" fmla="*/ 554591 w 1136130"/>
                <a:gd name="connsiteY58" fmla="*/ 533739 h 593977"/>
                <a:gd name="connsiteX59" fmla="*/ 575199 w 1136130"/>
                <a:gd name="connsiteY59" fmla="*/ 508741 h 593977"/>
                <a:gd name="connsiteX60" fmla="*/ 595319 w 1136130"/>
                <a:gd name="connsiteY60" fmla="*/ 503009 h 593977"/>
                <a:gd name="connsiteX61" fmla="*/ 604952 w 1136130"/>
                <a:gd name="connsiteY61" fmla="*/ 496181 h 593977"/>
                <a:gd name="connsiteX62" fmla="*/ 619707 w 1136130"/>
                <a:gd name="connsiteY62" fmla="*/ 487279 h 593977"/>
                <a:gd name="connsiteX63" fmla="*/ 632145 w 1136130"/>
                <a:gd name="connsiteY63" fmla="*/ 487279 h 593977"/>
                <a:gd name="connsiteX64" fmla="*/ 651412 w 1136130"/>
                <a:gd name="connsiteY64" fmla="*/ 491425 h 593977"/>
                <a:gd name="connsiteX65" fmla="*/ 661899 w 1136130"/>
                <a:gd name="connsiteY65" fmla="*/ 488498 h 593977"/>
                <a:gd name="connsiteX66" fmla="*/ 680312 w 1136130"/>
                <a:gd name="connsiteY66" fmla="*/ 502643 h 593977"/>
                <a:gd name="connsiteX67" fmla="*/ 690068 w 1136130"/>
                <a:gd name="connsiteY67" fmla="*/ 499839 h 593977"/>
                <a:gd name="connsiteX68" fmla="*/ 704457 w 1136130"/>
                <a:gd name="connsiteY68" fmla="*/ 507155 h 593977"/>
                <a:gd name="connsiteX69" fmla="*/ 711163 w 1136130"/>
                <a:gd name="connsiteY69" fmla="*/ 507155 h 593977"/>
                <a:gd name="connsiteX70" fmla="*/ 711651 w 1136130"/>
                <a:gd name="connsiteY70" fmla="*/ 503253 h 593977"/>
                <a:gd name="connsiteX71" fmla="*/ 703237 w 1136130"/>
                <a:gd name="connsiteY71" fmla="*/ 493864 h 593977"/>
                <a:gd name="connsiteX72" fmla="*/ 704457 w 1136130"/>
                <a:gd name="connsiteY72" fmla="*/ 480938 h 593977"/>
                <a:gd name="connsiteX73" fmla="*/ 720065 w 1136130"/>
                <a:gd name="connsiteY73" fmla="*/ 478743 h 593977"/>
                <a:gd name="connsiteX74" fmla="*/ 739942 w 1136130"/>
                <a:gd name="connsiteY74" fmla="*/ 472890 h 593977"/>
                <a:gd name="connsiteX75" fmla="*/ 744697 w 1136130"/>
                <a:gd name="connsiteY75" fmla="*/ 476670 h 593977"/>
                <a:gd name="connsiteX76" fmla="*/ 762989 w 1136130"/>
                <a:gd name="connsiteY76" fmla="*/ 473012 h 593977"/>
                <a:gd name="connsiteX77" fmla="*/ 775914 w 1136130"/>
                <a:gd name="connsiteY77" fmla="*/ 474109 h 593977"/>
                <a:gd name="connsiteX78" fmla="*/ 788231 w 1136130"/>
                <a:gd name="connsiteY78" fmla="*/ 480206 h 593977"/>
                <a:gd name="connsiteX79" fmla="*/ 792864 w 1136130"/>
                <a:gd name="connsiteY79" fmla="*/ 488498 h 593977"/>
                <a:gd name="connsiteX80" fmla="*/ 798961 w 1136130"/>
                <a:gd name="connsiteY80" fmla="*/ 489840 h 593977"/>
                <a:gd name="connsiteX81" fmla="*/ 802376 w 1136130"/>
                <a:gd name="connsiteY81" fmla="*/ 483742 h 593977"/>
                <a:gd name="connsiteX82" fmla="*/ 813472 w 1136130"/>
                <a:gd name="connsiteY82" fmla="*/ 481426 h 593977"/>
                <a:gd name="connsiteX83" fmla="*/ 826032 w 1136130"/>
                <a:gd name="connsiteY83" fmla="*/ 487767 h 593977"/>
                <a:gd name="connsiteX84" fmla="*/ 835666 w 1136130"/>
                <a:gd name="connsiteY84" fmla="*/ 502278 h 593977"/>
                <a:gd name="connsiteX85" fmla="*/ 843714 w 1136130"/>
                <a:gd name="connsiteY85" fmla="*/ 511179 h 593977"/>
                <a:gd name="connsiteX86" fmla="*/ 843714 w 1136130"/>
                <a:gd name="connsiteY86" fmla="*/ 519349 h 593977"/>
                <a:gd name="connsiteX87" fmla="*/ 840909 w 1136130"/>
                <a:gd name="connsiteY87" fmla="*/ 523130 h 593977"/>
                <a:gd name="connsiteX88" fmla="*/ 841763 w 1136130"/>
                <a:gd name="connsiteY88" fmla="*/ 540567 h 593977"/>
                <a:gd name="connsiteX89" fmla="*/ 848348 w 1136130"/>
                <a:gd name="connsiteY89" fmla="*/ 548981 h 593977"/>
                <a:gd name="connsiteX90" fmla="*/ 850177 w 1136130"/>
                <a:gd name="connsiteY90" fmla="*/ 563980 h 593977"/>
                <a:gd name="connsiteX91" fmla="*/ 862371 w 1136130"/>
                <a:gd name="connsiteY91" fmla="*/ 577028 h 593977"/>
                <a:gd name="connsiteX92" fmla="*/ 868590 w 1136130"/>
                <a:gd name="connsiteY92" fmla="*/ 593246 h 593977"/>
                <a:gd name="connsiteX93" fmla="*/ 873468 w 1136130"/>
                <a:gd name="connsiteY93" fmla="*/ 593978 h 593977"/>
                <a:gd name="connsiteX94" fmla="*/ 883101 w 1136130"/>
                <a:gd name="connsiteY94" fmla="*/ 589954 h 593977"/>
                <a:gd name="connsiteX95" fmla="*/ 886759 w 1136130"/>
                <a:gd name="connsiteY95" fmla="*/ 561297 h 593977"/>
                <a:gd name="connsiteX96" fmla="*/ 878346 w 1136130"/>
                <a:gd name="connsiteY96" fmla="*/ 527642 h 593977"/>
                <a:gd name="connsiteX97" fmla="*/ 868956 w 1136130"/>
                <a:gd name="connsiteY97" fmla="*/ 497644 h 593977"/>
                <a:gd name="connsiteX98" fmla="*/ 861274 w 1136130"/>
                <a:gd name="connsiteY98" fmla="*/ 481304 h 593977"/>
                <a:gd name="connsiteX99" fmla="*/ 861274 w 1136130"/>
                <a:gd name="connsiteY99" fmla="*/ 458501 h 593977"/>
                <a:gd name="connsiteX100" fmla="*/ 873590 w 1136130"/>
                <a:gd name="connsiteY100" fmla="*/ 437527 h 593977"/>
                <a:gd name="connsiteX101" fmla="*/ 875785 w 1136130"/>
                <a:gd name="connsiteY101" fmla="*/ 426918 h 593977"/>
                <a:gd name="connsiteX102" fmla="*/ 885052 w 1136130"/>
                <a:gd name="connsiteY102" fmla="*/ 425942 h 593977"/>
                <a:gd name="connsiteX103" fmla="*/ 914318 w 1136130"/>
                <a:gd name="connsiteY103" fmla="*/ 397652 h 593977"/>
                <a:gd name="connsiteX104" fmla="*/ 929195 w 1136130"/>
                <a:gd name="connsiteY104" fmla="*/ 394847 h 593977"/>
                <a:gd name="connsiteX105" fmla="*/ 938585 w 1136130"/>
                <a:gd name="connsiteY105" fmla="*/ 381799 h 593977"/>
                <a:gd name="connsiteX106" fmla="*/ 946633 w 1136130"/>
                <a:gd name="connsiteY106" fmla="*/ 375702 h 593977"/>
                <a:gd name="connsiteX107" fmla="*/ 950413 w 1136130"/>
                <a:gd name="connsiteY107" fmla="*/ 363264 h 593977"/>
                <a:gd name="connsiteX108" fmla="*/ 962729 w 1136130"/>
                <a:gd name="connsiteY108" fmla="*/ 355704 h 593977"/>
                <a:gd name="connsiteX109" fmla="*/ 964070 w 1136130"/>
                <a:gd name="connsiteY109" fmla="*/ 350948 h 593977"/>
                <a:gd name="connsiteX110" fmla="*/ 956144 w 1136130"/>
                <a:gd name="connsiteY110" fmla="*/ 342046 h 593977"/>
                <a:gd name="connsiteX111" fmla="*/ 961388 w 1136130"/>
                <a:gd name="connsiteY111" fmla="*/ 334730 h 593977"/>
                <a:gd name="connsiteX112" fmla="*/ 960534 w 1136130"/>
                <a:gd name="connsiteY112" fmla="*/ 327535 h 593977"/>
                <a:gd name="connsiteX113" fmla="*/ 953827 w 1136130"/>
                <a:gd name="connsiteY113" fmla="*/ 316073 h 593977"/>
                <a:gd name="connsiteX114" fmla="*/ 953827 w 1136130"/>
                <a:gd name="connsiteY114" fmla="*/ 288514 h 593977"/>
                <a:gd name="connsiteX115" fmla="*/ 946145 w 1136130"/>
                <a:gd name="connsiteY115" fmla="*/ 272052 h 593977"/>
                <a:gd name="connsiteX116" fmla="*/ 946145 w 1136130"/>
                <a:gd name="connsiteY116" fmla="*/ 272052 h 593977"/>
                <a:gd name="connsiteX117" fmla="*/ 952608 w 1136130"/>
                <a:gd name="connsiteY117" fmla="*/ 256809 h 593977"/>
                <a:gd name="connsiteX118" fmla="*/ 967972 w 1136130"/>
                <a:gd name="connsiteY118" fmla="*/ 255468 h 593977"/>
                <a:gd name="connsiteX119" fmla="*/ 964802 w 1136130"/>
                <a:gd name="connsiteY119" fmla="*/ 273027 h 593977"/>
                <a:gd name="connsiteX120" fmla="*/ 967485 w 1136130"/>
                <a:gd name="connsiteY120" fmla="*/ 293270 h 593977"/>
                <a:gd name="connsiteX121" fmla="*/ 971021 w 1136130"/>
                <a:gd name="connsiteY121" fmla="*/ 305586 h 593977"/>
                <a:gd name="connsiteX122" fmla="*/ 973094 w 1136130"/>
                <a:gd name="connsiteY122" fmla="*/ 306805 h 593977"/>
                <a:gd name="connsiteX123" fmla="*/ 980411 w 1136130"/>
                <a:gd name="connsiteY123" fmla="*/ 292172 h 593977"/>
                <a:gd name="connsiteX124" fmla="*/ 982118 w 1136130"/>
                <a:gd name="connsiteY124" fmla="*/ 275344 h 593977"/>
                <a:gd name="connsiteX125" fmla="*/ 979435 w 1136130"/>
                <a:gd name="connsiteY125" fmla="*/ 270954 h 593977"/>
                <a:gd name="connsiteX126" fmla="*/ 975045 w 1136130"/>
                <a:gd name="connsiteY126" fmla="*/ 264126 h 593977"/>
                <a:gd name="connsiteX127" fmla="*/ 981386 w 1136130"/>
                <a:gd name="connsiteY127" fmla="*/ 257785 h 593977"/>
                <a:gd name="connsiteX128" fmla="*/ 989069 w 1136130"/>
                <a:gd name="connsiteY128" fmla="*/ 264491 h 593977"/>
                <a:gd name="connsiteX129" fmla="*/ 997604 w 1136130"/>
                <a:gd name="connsiteY129" fmla="*/ 256687 h 593977"/>
                <a:gd name="connsiteX130" fmla="*/ 1000409 w 1136130"/>
                <a:gd name="connsiteY130" fmla="*/ 245590 h 593977"/>
                <a:gd name="connsiteX131" fmla="*/ 1009555 w 1136130"/>
                <a:gd name="connsiteY131" fmla="*/ 233640 h 593977"/>
                <a:gd name="connsiteX132" fmla="*/ 1007969 w 1136130"/>
                <a:gd name="connsiteY132" fmla="*/ 225958 h 593977"/>
                <a:gd name="connsiteX133" fmla="*/ 1001994 w 1136130"/>
                <a:gd name="connsiteY133" fmla="*/ 221446 h 593977"/>
                <a:gd name="connsiteX134" fmla="*/ 1012969 w 1136130"/>
                <a:gd name="connsiteY134" fmla="*/ 216568 h 593977"/>
                <a:gd name="connsiteX135" fmla="*/ 1016871 w 1136130"/>
                <a:gd name="connsiteY135" fmla="*/ 205838 h 593977"/>
                <a:gd name="connsiteX136" fmla="*/ 1026383 w 1136130"/>
                <a:gd name="connsiteY136" fmla="*/ 204618 h 593977"/>
                <a:gd name="connsiteX137" fmla="*/ 1034797 w 1136130"/>
                <a:gd name="connsiteY137" fmla="*/ 209252 h 593977"/>
                <a:gd name="connsiteX138" fmla="*/ 1043942 w 1136130"/>
                <a:gd name="connsiteY138" fmla="*/ 206813 h 593977"/>
                <a:gd name="connsiteX139" fmla="*/ 1055649 w 1136130"/>
                <a:gd name="connsiteY139" fmla="*/ 198277 h 593977"/>
                <a:gd name="connsiteX140" fmla="*/ 1062599 w 1136130"/>
                <a:gd name="connsiteY140" fmla="*/ 206325 h 593977"/>
                <a:gd name="connsiteX141" fmla="*/ 1071257 w 1136130"/>
                <a:gd name="connsiteY141" fmla="*/ 204008 h 593977"/>
                <a:gd name="connsiteX142" fmla="*/ 1076013 w 1136130"/>
                <a:gd name="connsiteY142" fmla="*/ 199131 h 593977"/>
                <a:gd name="connsiteX143" fmla="*/ 1067355 w 1136130"/>
                <a:gd name="connsiteY143" fmla="*/ 195960 h 593977"/>
                <a:gd name="connsiteX144" fmla="*/ 1067355 w 1136130"/>
                <a:gd name="connsiteY144" fmla="*/ 186937 h 593977"/>
                <a:gd name="connsiteX145" fmla="*/ 1060160 w 1136130"/>
                <a:gd name="connsiteY145" fmla="*/ 179620 h 593977"/>
                <a:gd name="connsiteX146" fmla="*/ 1070282 w 1136130"/>
                <a:gd name="connsiteY146" fmla="*/ 164377 h 593977"/>
                <a:gd name="connsiteX147" fmla="*/ 1072233 w 1136130"/>
                <a:gd name="connsiteY147" fmla="*/ 156695 h 593977"/>
                <a:gd name="connsiteX148" fmla="*/ 1079671 w 1136130"/>
                <a:gd name="connsiteY148" fmla="*/ 146452 h 593977"/>
                <a:gd name="connsiteX149" fmla="*/ 1080769 w 1136130"/>
                <a:gd name="connsiteY149" fmla="*/ 137550 h 593977"/>
                <a:gd name="connsiteX150" fmla="*/ 1098694 w 1136130"/>
                <a:gd name="connsiteY150" fmla="*/ 137550 h 593977"/>
                <a:gd name="connsiteX151" fmla="*/ 1101621 w 1136130"/>
                <a:gd name="connsiteY151" fmla="*/ 134014 h 593977"/>
                <a:gd name="connsiteX152" fmla="*/ 1104547 w 1136130"/>
                <a:gd name="connsiteY152" fmla="*/ 125112 h 593977"/>
                <a:gd name="connsiteX153" fmla="*/ 1109425 w 1136130"/>
                <a:gd name="connsiteY153" fmla="*/ 121820 h 593977"/>
                <a:gd name="connsiteX154" fmla="*/ 1113693 w 1136130"/>
                <a:gd name="connsiteY154" fmla="*/ 126210 h 593977"/>
                <a:gd name="connsiteX155" fmla="*/ 1120765 w 1136130"/>
                <a:gd name="connsiteY155" fmla="*/ 125356 h 593977"/>
                <a:gd name="connsiteX156" fmla="*/ 1136130 w 1136130"/>
                <a:gd name="connsiteY156" fmla="*/ 116454 h 593977"/>
                <a:gd name="connsiteX157" fmla="*/ 1135886 w 1136130"/>
                <a:gd name="connsiteY157" fmla="*/ 113772 h 593977"/>
                <a:gd name="connsiteX158" fmla="*/ 1134179 w 1136130"/>
                <a:gd name="connsiteY158" fmla="*/ 98041 h 593977"/>
                <a:gd name="connsiteX159" fmla="*/ 1122229 w 1136130"/>
                <a:gd name="connsiteY159" fmla="*/ 79506 h 593977"/>
                <a:gd name="connsiteX160" fmla="*/ 1121253 w 1136130"/>
                <a:gd name="connsiteY160" fmla="*/ 78043 h 593977"/>
                <a:gd name="connsiteX161" fmla="*/ 1121253 w 1136130"/>
                <a:gd name="connsiteY161" fmla="*/ 54020 h 593977"/>
                <a:gd name="connsiteX162" fmla="*/ 1101621 w 1136130"/>
                <a:gd name="connsiteY162" fmla="*/ 45972 h 593977"/>
                <a:gd name="connsiteX163" fmla="*/ 1101255 w 1136130"/>
                <a:gd name="connsiteY163" fmla="*/ 45728 h 593977"/>
                <a:gd name="connsiteX164" fmla="*/ 1099791 w 1136130"/>
                <a:gd name="connsiteY164" fmla="*/ 46582 h 593977"/>
                <a:gd name="connsiteX165" fmla="*/ 1092719 w 1136130"/>
                <a:gd name="connsiteY165" fmla="*/ 50118 h 593977"/>
                <a:gd name="connsiteX166" fmla="*/ 1075159 w 1136130"/>
                <a:gd name="connsiteY166" fmla="*/ 83164 h 593977"/>
                <a:gd name="connsiteX167" fmla="*/ 1064550 w 1136130"/>
                <a:gd name="connsiteY167" fmla="*/ 101456 h 593977"/>
                <a:gd name="connsiteX168" fmla="*/ 1062843 w 1136130"/>
                <a:gd name="connsiteY168" fmla="*/ 104382 h 593977"/>
                <a:gd name="connsiteX169" fmla="*/ 1059429 w 1136130"/>
                <a:gd name="connsiteY169" fmla="*/ 104504 h 593977"/>
                <a:gd name="connsiteX170" fmla="*/ 1028334 w 1136130"/>
                <a:gd name="connsiteY170" fmla="*/ 104870 h 593977"/>
                <a:gd name="connsiteX171" fmla="*/ 1025163 w 1136130"/>
                <a:gd name="connsiteY171" fmla="*/ 105845 h 593977"/>
                <a:gd name="connsiteX172" fmla="*/ 1024553 w 1136130"/>
                <a:gd name="connsiteY172" fmla="*/ 105967 h 593977"/>
                <a:gd name="connsiteX173" fmla="*/ 1023822 w 1136130"/>
                <a:gd name="connsiteY173" fmla="*/ 105967 h 593977"/>
                <a:gd name="connsiteX174" fmla="*/ 1016505 w 1136130"/>
                <a:gd name="connsiteY174" fmla="*/ 106455 h 593977"/>
                <a:gd name="connsiteX175" fmla="*/ 999068 w 1136130"/>
                <a:gd name="connsiteY175" fmla="*/ 106333 h 593977"/>
                <a:gd name="connsiteX176" fmla="*/ 989434 w 1136130"/>
                <a:gd name="connsiteY176" fmla="*/ 114869 h 593977"/>
                <a:gd name="connsiteX177" fmla="*/ 964802 w 1136130"/>
                <a:gd name="connsiteY177" fmla="*/ 147671 h 593977"/>
                <a:gd name="connsiteX178" fmla="*/ 963217 w 1136130"/>
                <a:gd name="connsiteY178" fmla="*/ 149866 h 593977"/>
                <a:gd name="connsiteX179" fmla="*/ 960412 w 1136130"/>
                <a:gd name="connsiteY179" fmla="*/ 150110 h 593977"/>
                <a:gd name="connsiteX180" fmla="*/ 917245 w 1136130"/>
                <a:gd name="connsiteY180" fmla="*/ 153890 h 593977"/>
                <a:gd name="connsiteX181" fmla="*/ 916147 w 1136130"/>
                <a:gd name="connsiteY181" fmla="*/ 156573 h 593977"/>
                <a:gd name="connsiteX182" fmla="*/ 911514 w 1136130"/>
                <a:gd name="connsiteY182" fmla="*/ 167670 h 593977"/>
                <a:gd name="connsiteX183" fmla="*/ 910538 w 1136130"/>
                <a:gd name="connsiteY183" fmla="*/ 169865 h 593977"/>
                <a:gd name="connsiteX184" fmla="*/ 908465 w 1136130"/>
                <a:gd name="connsiteY184" fmla="*/ 170840 h 593977"/>
                <a:gd name="connsiteX185" fmla="*/ 848226 w 1136130"/>
                <a:gd name="connsiteY185" fmla="*/ 198521 h 593977"/>
                <a:gd name="connsiteX186" fmla="*/ 842129 w 1136130"/>
                <a:gd name="connsiteY186" fmla="*/ 201326 h 593977"/>
                <a:gd name="connsiteX187" fmla="*/ 839934 w 1136130"/>
                <a:gd name="connsiteY187" fmla="*/ 195107 h 593977"/>
                <a:gd name="connsiteX188" fmla="*/ 838105 w 1136130"/>
                <a:gd name="connsiteY188" fmla="*/ 190107 h 593977"/>
                <a:gd name="connsiteX189" fmla="*/ 834325 w 1136130"/>
                <a:gd name="connsiteY189" fmla="*/ 179498 h 593977"/>
                <a:gd name="connsiteX190" fmla="*/ 833715 w 1136130"/>
                <a:gd name="connsiteY190" fmla="*/ 177547 h 593977"/>
                <a:gd name="connsiteX191" fmla="*/ 834325 w 1136130"/>
                <a:gd name="connsiteY191" fmla="*/ 175596 h 593977"/>
                <a:gd name="connsiteX192" fmla="*/ 840422 w 1136130"/>
                <a:gd name="connsiteY192" fmla="*/ 157061 h 593977"/>
                <a:gd name="connsiteX193" fmla="*/ 844690 w 1136130"/>
                <a:gd name="connsiteY193" fmla="*/ 144379 h 593977"/>
                <a:gd name="connsiteX194" fmla="*/ 843348 w 1136130"/>
                <a:gd name="connsiteY194" fmla="*/ 121088 h 593977"/>
                <a:gd name="connsiteX195" fmla="*/ 827008 w 1136130"/>
                <a:gd name="connsiteY195" fmla="*/ 104016 h 593977"/>
                <a:gd name="connsiteX196" fmla="*/ 807741 w 1136130"/>
                <a:gd name="connsiteY196" fmla="*/ 84140 h 593977"/>
                <a:gd name="connsiteX197" fmla="*/ 807131 w 1136130"/>
                <a:gd name="connsiteY197" fmla="*/ 83408 h 593977"/>
                <a:gd name="connsiteX198" fmla="*/ 806644 w 1136130"/>
                <a:gd name="connsiteY198" fmla="*/ 82555 h 593977"/>
                <a:gd name="connsiteX199" fmla="*/ 800303 w 1136130"/>
                <a:gd name="connsiteY199" fmla="*/ 69995 h 593977"/>
                <a:gd name="connsiteX200" fmla="*/ 793230 w 1136130"/>
                <a:gd name="connsiteY200" fmla="*/ 55727 h 593977"/>
                <a:gd name="connsiteX201" fmla="*/ 753477 w 1136130"/>
                <a:gd name="connsiteY201" fmla="*/ 34875 h 593977"/>
                <a:gd name="connsiteX202" fmla="*/ 732991 w 1136130"/>
                <a:gd name="connsiteY202" fmla="*/ 24266 h 593977"/>
                <a:gd name="connsiteX203" fmla="*/ 706774 w 1136130"/>
                <a:gd name="connsiteY203" fmla="*/ 26096 h 593977"/>
                <a:gd name="connsiteX204" fmla="*/ 696165 w 1136130"/>
                <a:gd name="connsiteY204" fmla="*/ 26949 h 593977"/>
                <a:gd name="connsiteX205" fmla="*/ 695067 w 1136130"/>
                <a:gd name="connsiteY205" fmla="*/ 27071 h 593977"/>
                <a:gd name="connsiteX206" fmla="*/ 694092 w 1136130"/>
                <a:gd name="connsiteY206" fmla="*/ 26705 h 593977"/>
                <a:gd name="connsiteX207" fmla="*/ 691165 w 1136130"/>
                <a:gd name="connsiteY207" fmla="*/ 25974 h 593977"/>
                <a:gd name="connsiteX208" fmla="*/ 679459 w 1136130"/>
                <a:gd name="connsiteY208" fmla="*/ 22681 h 593977"/>
                <a:gd name="connsiteX209" fmla="*/ 656534 w 1136130"/>
                <a:gd name="connsiteY209" fmla="*/ 24023 h 593977"/>
                <a:gd name="connsiteX210" fmla="*/ 655070 w 1136130"/>
                <a:gd name="connsiteY210" fmla="*/ 24144 h 593977"/>
                <a:gd name="connsiteX211" fmla="*/ 653607 w 1136130"/>
                <a:gd name="connsiteY211" fmla="*/ 23535 h 593977"/>
                <a:gd name="connsiteX212" fmla="*/ 637999 w 1136130"/>
                <a:gd name="connsiteY212" fmla="*/ 16340 h 593977"/>
                <a:gd name="connsiteX213" fmla="*/ 636413 w 1136130"/>
                <a:gd name="connsiteY213" fmla="*/ 15609 h 593977"/>
                <a:gd name="connsiteX214" fmla="*/ 614342 w 1136130"/>
                <a:gd name="connsiteY214" fmla="*/ 11341 h 593977"/>
                <a:gd name="connsiteX215" fmla="*/ 613123 w 1136130"/>
                <a:gd name="connsiteY215" fmla="*/ 11097 h 593977"/>
                <a:gd name="connsiteX216" fmla="*/ 612147 w 1136130"/>
                <a:gd name="connsiteY216" fmla="*/ 10487 h 593977"/>
                <a:gd name="connsiteX217" fmla="*/ 596416 w 1136130"/>
                <a:gd name="connsiteY217" fmla="*/ 0 h 593977"/>
                <a:gd name="connsiteX218" fmla="*/ 47069 w 1136130"/>
                <a:gd name="connsiteY218" fmla="*/ 0 h 593977"/>
                <a:gd name="connsiteX219" fmla="*/ 48533 w 1136130"/>
                <a:gd name="connsiteY219" fmla="*/ 13536 h 593977"/>
                <a:gd name="connsiteX220" fmla="*/ 53776 w 1136130"/>
                <a:gd name="connsiteY220" fmla="*/ 27071 h 593977"/>
                <a:gd name="connsiteX221" fmla="*/ 50484 w 1136130"/>
                <a:gd name="connsiteY221" fmla="*/ 42070 h 593977"/>
                <a:gd name="connsiteX222" fmla="*/ 39265 w 1136130"/>
                <a:gd name="connsiteY222" fmla="*/ 42070 h 593977"/>
                <a:gd name="connsiteX223" fmla="*/ 42070 w 1136130"/>
                <a:gd name="connsiteY223" fmla="*/ 19633 h 593977"/>
                <a:gd name="connsiteX224" fmla="*/ 22925 w 1136130"/>
                <a:gd name="connsiteY224" fmla="*/ 20852 h 593977"/>
                <a:gd name="connsiteX225" fmla="*/ 10121 w 1136130"/>
                <a:gd name="connsiteY225" fmla="*/ 16584 h 593977"/>
                <a:gd name="connsiteX226" fmla="*/ 1951 w 1136130"/>
                <a:gd name="connsiteY226" fmla="*/ 16584 h 593977"/>
                <a:gd name="connsiteX227" fmla="*/ 0 w 1136130"/>
                <a:gd name="connsiteY227" fmla="*/ 21462 h 593977"/>
                <a:gd name="connsiteX228" fmla="*/ 13901 w 1136130"/>
                <a:gd name="connsiteY228" fmla="*/ 46338 h 593977"/>
                <a:gd name="connsiteX229" fmla="*/ 16828 w 1136130"/>
                <a:gd name="connsiteY229" fmla="*/ 69751 h 593977"/>
                <a:gd name="connsiteX230" fmla="*/ 12560 w 1136130"/>
                <a:gd name="connsiteY230" fmla="*/ 94017 h 593977"/>
                <a:gd name="connsiteX231" fmla="*/ 14023 w 1136130"/>
                <a:gd name="connsiteY231" fmla="*/ 130965 h 593977"/>
                <a:gd name="connsiteX232" fmla="*/ 4146 w 1136130"/>
                <a:gd name="connsiteY232" fmla="*/ 159256 h 593977"/>
                <a:gd name="connsiteX233" fmla="*/ 6829 w 1136130"/>
                <a:gd name="connsiteY233" fmla="*/ 175718 h 593977"/>
                <a:gd name="connsiteX234" fmla="*/ 14023 w 1136130"/>
                <a:gd name="connsiteY234" fmla="*/ 202789 h 593977"/>
                <a:gd name="connsiteX235" fmla="*/ 12560 w 1136130"/>
                <a:gd name="connsiteY235" fmla="*/ 221812 h 593977"/>
                <a:gd name="connsiteX236" fmla="*/ 9877 w 1136130"/>
                <a:gd name="connsiteY236" fmla="*/ 235226 h 593977"/>
                <a:gd name="connsiteX237" fmla="*/ 16828 w 1136130"/>
                <a:gd name="connsiteY237" fmla="*/ 246200 h 593977"/>
                <a:gd name="connsiteX238" fmla="*/ 18169 w 1136130"/>
                <a:gd name="connsiteY238" fmla="*/ 261443 h 593977"/>
                <a:gd name="connsiteX239" fmla="*/ 32193 w 1136130"/>
                <a:gd name="connsiteY239" fmla="*/ 272662 h 593977"/>
                <a:gd name="connsiteX240" fmla="*/ 36217 w 1136130"/>
                <a:gd name="connsiteY240" fmla="*/ 289002 h 593977"/>
                <a:gd name="connsiteX241" fmla="*/ 48289 w 1136130"/>
                <a:gd name="connsiteY241" fmla="*/ 290831 h 593977"/>
                <a:gd name="connsiteX242" fmla="*/ 53532 w 1136130"/>
                <a:gd name="connsiteY242" fmla="*/ 296074 h 593977"/>
                <a:gd name="connsiteX243" fmla="*/ 53532 w 1136130"/>
                <a:gd name="connsiteY243" fmla="*/ 296074 h 593977"/>
                <a:gd name="connsiteX244" fmla="*/ 49508 w 1136130"/>
                <a:gd name="connsiteY244" fmla="*/ 306195 h 593977"/>
                <a:gd name="connsiteX245" fmla="*/ 52069 w 1136130"/>
                <a:gd name="connsiteY245" fmla="*/ 317292 h 593977"/>
                <a:gd name="connsiteX246" fmla="*/ 58776 w 1136130"/>
                <a:gd name="connsiteY246" fmla="*/ 323999 h 593977"/>
                <a:gd name="connsiteX247" fmla="*/ 59751 w 1136130"/>
                <a:gd name="connsiteY247" fmla="*/ 335462 h 593977"/>
                <a:gd name="connsiteX248" fmla="*/ 62922 w 1136130"/>
                <a:gd name="connsiteY248" fmla="*/ 339364 h 593977"/>
                <a:gd name="connsiteX249" fmla="*/ 66946 w 1136130"/>
                <a:gd name="connsiteY249" fmla="*/ 344363 h 593977"/>
                <a:gd name="connsiteX250" fmla="*/ 80481 w 1136130"/>
                <a:gd name="connsiteY250" fmla="*/ 359850 h 593977"/>
                <a:gd name="connsiteX251" fmla="*/ 84018 w 1136130"/>
                <a:gd name="connsiteY251" fmla="*/ 377653 h 593977"/>
                <a:gd name="connsiteX252" fmla="*/ 93041 w 1136130"/>
                <a:gd name="connsiteY252" fmla="*/ 377653 h 593977"/>
                <a:gd name="connsiteX253" fmla="*/ 105358 w 1136130"/>
                <a:gd name="connsiteY253" fmla="*/ 381677 h 593977"/>
                <a:gd name="connsiteX254" fmla="*/ 113650 w 1136130"/>
                <a:gd name="connsiteY254" fmla="*/ 391920 h 593977"/>
                <a:gd name="connsiteX255" fmla="*/ 118405 w 1136130"/>
                <a:gd name="connsiteY255" fmla="*/ 392774 h 593977"/>
                <a:gd name="connsiteX256" fmla="*/ 125478 w 1136130"/>
                <a:gd name="connsiteY256" fmla="*/ 392774 h 593977"/>
                <a:gd name="connsiteX257" fmla="*/ 141696 w 1136130"/>
                <a:gd name="connsiteY257" fmla="*/ 401920 h 593977"/>
                <a:gd name="connsiteX258" fmla="*/ 148525 w 1136130"/>
                <a:gd name="connsiteY258" fmla="*/ 418382 h 593977"/>
                <a:gd name="connsiteX259" fmla="*/ 151939 w 1136130"/>
                <a:gd name="connsiteY259" fmla="*/ 422894 h 593977"/>
                <a:gd name="connsiteX260" fmla="*/ 152793 w 1136130"/>
                <a:gd name="connsiteY260" fmla="*/ 422650 h 593977"/>
                <a:gd name="connsiteX261" fmla="*/ 161329 w 1136130"/>
                <a:gd name="connsiteY261" fmla="*/ 419723 h 593977"/>
                <a:gd name="connsiteX262" fmla="*/ 162182 w 1136130"/>
                <a:gd name="connsiteY262" fmla="*/ 419479 h 59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1136130" h="593977">
                  <a:moveTo>
                    <a:pt x="162182" y="419479"/>
                  </a:moveTo>
                  <a:lnTo>
                    <a:pt x="163036" y="419479"/>
                  </a:lnTo>
                  <a:lnTo>
                    <a:pt x="196936" y="418016"/>
                  </a:lnTo>
                  <a:lnTo>
                    <a:pt x="198521" y="418016"/>
                  </a:lnTo>
                  <a:lnTo>
                    <a:pt x="199862" y="418626"/>
                  </a:lnTo>
                  <a:lnTo>
                    <a:pt x="222056" y="428991"/>
                  </a:lnTo>
                  <a:lnTo>
                    <a:pt x="229738" y="432527"/>
                  </a:lnTo>
                  <a:lnTo>
                    <a:pt x="230104" y="432649"/>
                  </a:lnTo>
                  <a:lnTo>
                    <a:pt x="230348" y="432893"/>
                  </a:lnTo>
                  <a:lnTo>
                    <a:pt x="240713" y="439234"/>
                  </a:lnTo>
                  <a:lnTo>
                    <a:pt x="257297" y="449477"/>
                  </a:lnTo>
                  <a:lnTo>
                    <a:pt x="267418" y="451306"/>
                  </a:lnTo>
                  <a:lnTo>
                    <a:pt x="309244" y="452038"/>
                  </a:lnTo>
                  <a:lnTo>
                    <a:pt x="317536" y="449843"/>
                  </a:lnTo>
                  <a:lnTo>
                    <a:pt x="325096" y="447770"/>
                  </a:lnTo>
                  <a:lnTo>
                    <a:pt x="328145" y="439112"/>
                  </a:lnTo>
                  <a:lnTo>
                    <a:pt x="329608" y="434966"/>
                  </a:lnTo>
                  <a:lnTo>
                    <a:pt x="334120" y="435088"/>
                  </a:lnTo>
                  <a:lnTo>
                    <a:pt x="350826" y="435698"/>
                  </a:lnTo>
                  <a:lnTo>
                    <a:pt x="351314" y="435819"/>
                  </a:lnTo>
                  <a:lnTo>
                    <a:pt x="351802" y="435941"/>
                  </a:lnTo>
                  <a:lnTo>
                    <a:pt x="361191" y="437892"/>
                  </a:lnTo>
                  <a:lnTo>
                    <a:pt x="370946" y="439965"/>
                  </a:lnTo>
                  <a:lnTo>
                    <a:pt x="372654" y="440331"/>
                  </a:lnTo>
                  <a:lnTo>
                    <a:pt x="373873" y="441551"/>
                  </a:lnTo>
                  <a:lnTo>
                    <a:pt x="390701" y="457769"/>
                  </a:lnTo>
                  <a:lnTo>
                    <a:pt x="397895" y="457769"/>
                  </a:lnTo>
                  <a:lnTo>
                    <a:pt x="399725" y="459476"/>
                  </a:lnTo>
                  <a:lnTo>
                    <a:pt x="405578" y="465451"/>
                  </a:lnTo>
                  <a:lnTo>
                    <a:pt x="407163" y="467036"/>
                  </a:lnTo>
                  <a:lnTo>
                    <a:pt x="407407" y="469232"/>
                  </a:lnTo>
                  <a:lnTo>
                    <a:pt x="408626" y="484718"/>
                  </a:lnTo>
                  <a:lnTo>
                    <a:pt x="422528" y="498010"/>
                  </a:lnTo>
                  <a:lnTo>
                    <a:pt x="433259" y="501912"/>
                  </a:lnTo>
                  <a:lnTo>
                    <a:pt x="433624" y="501790"/>
                  </a:lnTo>
                  <a:lnTo>
                    <a:pt x="432771" y="497644"/>
                  </a:lnTo>
                  <a:lnTo>
                    <a:pt x="432283" y="495693"/>
                  </a:lnTo>
                  <a:lnTo>
                    <a:pt x="431551" y="492035"/>
                  </a:lnTo>
                  <a:lnTo>
                    <a:pt x="434600" y="489718"/>
                  </a:lnTo>
                  <a:lnTo>
                    <a:pt x="438258" y="486791"/>
                  </a:lnTo>
                  <a:lnTo>
                    <a:pt x="445209" y="481304"/>
                  </a:lnTo>
                  <a:lnTo>
                    <a:pt x="448257" y="478987"/>
                  </a:lnTo>
                  <a:lnTo>
                    <a:pt x="451672" y="480694"/>
                  </a:lnTo>
                  <a:lnTo>
                    <a:pt x="479718" y="494717"/>
                  </a:lnTo>
                  <a:lnTo>
                    <a:pt x="481304" y="495449"/>
                  </a:lnTo>
                  <a:lnTo>
                    <a:pt x="482157" y="496912"/>
                  </a:lnTo>
                  <a:lnTo>
                    <a:pt x="489352" y="508375"/>
                  </a:lnTo>
                  <a:lnTo>
                    <a:pt x="507887" y="538007"/>
                  </a:lnTo>
                  <a:lnTo>
                    <a:pt x="508497" y="538860"/>
                  </a:lnTo>
                  <a:lnTo>
                    <a:pt x="508740" y="539836"/>
                  </a:lnTo>
                  <a:lnTo>
                    <a:pt x="511179" y="550932"/>
                  </a:lnTo>
                  <a:lnTo>
                    <a:pt x="531909" y="567151"/>
                  </a:lnTo>
                  <a:lnTo>
                    <a:pt x="541665" y="568980"/>
                  </a:lnTo>
                  <a:lnTo>
                    <a:pt x="547274" y="569955"/>
                  </a:lnTo>
                  <a:lnTo>
                    <a:pt x="547274" y="565931"/>
                  </a:lnTo>
                  <a:lnTo>
                    <a:pt x="545811" y="551176"/>
                  </a:lnTo>
                  <a:lnTo>
                    <a:pt x="545811" y="551176"/>
                  </a:lnTo>
                  <a:lnTo>
                    <a:pt x="551786" y="542274"/>
                  </a:lnTo>
                  <a:lnTo>
                    <a:pt x="554591" y="533739"/>
                  </a:lnTo>
                  <a:lnTo>
                    <a:pt x="575199" y="508741"/>
                  </a:lnTo>
                  <a:lnTo>
                    <a:pt x="595319" y="503009"/>
                  </a:lnTo>
                  <a:lnTo>
                    <a:pt x="604952" y="496181"/>
                  </a:lnTo>
                  <a:lnTo>
                    <a:pt x="619707" y="487279"/>
                  </a:lnTo>
                  <a:lnTo>
                    <a:pt x="632145" y="487279"/>
                  </a:lnTo>
                  <a:lnTo>
                    <a:pt x="651412" y="491425"/>
                  </a:lnTo>
                  <a:lnTo>
                    <a:pt x="661899" y="488498"/>
                  </a:lnTo>
                  <a:lnTo>
                    <a:pt x="680312" y="502643"/>
                  </a:lnTo>
                  <a:lnTo>
                    <a:pt x="690068" y="499839"/>
                  </a:lnTo>
                  <a:lnTo>
                    <a:pt x="704457" y="507155"/>
                  </a:lnTo>
                  <a:lnTo>
                    <a:pt x="711163" y="507155"/>
                  </a:lnTo>
                  <a:lnTo>
                    <a:pt x="711651" y="503253"/>
                  </a:lnTo>
                  <a:lnTo>
                    <a:pt x="703237" y="493864"/>
                  </a:lnTo>
                  <a:lnTo>
                    <a:pt x="704457" y="480938"/>
                  </a:lnTo>
                  <a:lnTo>
                    <a:pt x="720065" y="478743"/>
                  </a:lnTo>
                  <a:lnTo>
                    <a:pt x="739942" y="472890"/>
                  </a:lnTo>
                  <a:lnTo>
                    <a:pt x="744697" y="476670"/>
                  </a:lnTo>
                  <a:lnTo>
                    <a:pt x="762989" y="473012"/>
                  </a:lnTo>
                  <a:lnTo>
                    <a:pt x="775914" y="474109"/>
                  </a:lnTo>
                  <a:lnTo>
                    <a:pt x="788231" y="480206"/>
                  </a:lnTo>
                  <a:lnTo>
                    <a:pt x="792864" y="488498"/>
                  </a:lnTo>
                  <a:lnTo>
                    <a:pt x="798961" y="489840"/>
                  </a:lnTo>
                  <a:lnTo>
                    <a:pt x="802376" y="483742"/>
                  </a:lnTo>
                  <a:lnTo>
                    <a:pt x="813472" y="481426"/>
                  </a:lnTo>
                  <a:lnTo>
                    <a:pt x="826032" y="487767"/>
                  </a:lnTo>
                  <a:lnTo>
                    <a:pt x="835666" y="502278"/>
                  </a:lnTo>
                  <a:lnTo>
                    <a:pt x="843714" y="511179"/>
                  </a:lnTo>
                  <a:lnTo>
                    <a:pt x="843714" y="519349"/>
                  </a:lnTo>
                  <a:lnTo>
                    <a:pt x="840909" y="523130"/>
                  </a:lnTo>
                  <a:lnTo>
                    <a:pt x="841763" y="540567"/>
                  </a:lnTo>
                  <a:lnTo>
                    <a:pt x="848348" y="548981"/>
                  </a:lnTo>
                  <a:lnTo>
                    <a:pt x="850177" y="563980"/>
                  </a:lnTo>
                  <a:lnTo>
                    <a:pt x="862371" y="577028"/>
                  </a:lnTo>
                  <a:lnTo>
                    <a:pt x="868590" y="593246"/>
                  </a:lnTo>
                  <a:lnTo>
                    <a:pt x="873468" y="593978"/>
                  </a:lnTo>
                  <a:lnTo>
                    <a:pt x="883101" y="589954"/>
                  </a:lnTo>
                  <a:lnTo>
                    <a:pt x="886759" y="561297"/>
                  </a:lnTo>
                  <a:lnTo>
                    <a:pt x="878346" y="527642"/>
                  </a:lnTo>
                  <a:lnTo>
                    <a:pt x="868956" y="497644"/>
                  </a:lnTo>
                  <a:lnTo>
                    <a:pt x="861274" y="481304"/>
                  </a:lnTo>
                  <a:lnTo>
                    <a:pt x="861274" y="458501"/>
                  </a:lnTo>
                  <a:lnTo>
                    <a:pt x="873590" y="437527"/>
                  </a:lnTo>
                  <a:lnTo>
                    <a:pt x="875785" y="426918"/>
                  </a:lnTo>
                  <a:lnTo>
                    <a:pt x="885052" y="425942"/>
                  </a:lnTo>
                  <a:lnTo>
                    <a:pt x="914318" y="397652"/>
                  </a:lnTo>
                  <a:lnTo>
                    <a:pt x="929195" y="394847"/>
                  </a:lnTo>
                  <a:lnTo>
                    <a:pt x="938585" y="381799"/>
                  </a:lnTo>
                  <a:lnTo>
                    <a:pt x="946633" y="375702"/>
                  </a:lnTo>
                  <a:lnTo>
                    <a:pt x="950413" y="363264"/>
                  </a:lnTo>
                  <a:lnTo>
                    <a:pt x="962729" y="355704"/>
                  </a:lnTo>
                  <a:lnTo>
                    <a:pt x="964070" y="350948"/>
                  </a:lnTo>
                  <a:lnTo>
                    <a:pt x="956144" y="342046"/>
                  </a:lnTo>
                  <a:lnTo>
                    <a:pt x="961388" y="334730"/>
                  </a:lnTo>
                  <a:lnTo>
                    <a:pt x="960534" y="327535"/>
                  </a:lnTo>
                  <a:lnTo>
                    <a:pt x="953827" y="316073"/>
                  </a:lnTo>
                  <a:lnTo>
                    <a:pt x="953827" y="288514"/>
                  </a:lnTo>
                  <a:lnTo>
                    <a:pt x="946145" y="272052"/>
                  </a:lnTo>
                  <a:lnTo>
                    <a:pt x="946145" y="272052"/>
                  </a:lnTo>
                  <a:lnTo>
                    <a:pt x="952608" y="256809"/>
                  </a:lnTo>
                  <a:lnTo>
                    <a:pt x="967972" y="255468"/>
                  </a:lnTo>
                  <a:lnTo>
                    <a:pt x="964802" y="273027"/>
                  </a:lnTo>
                  <a:lnTo>
                    <a:pt x="967485" y="293270"/>
                  </a:lnTo>
                  <a:lnTo>
                    <a:pt x="971021" y="305586"/>
                  </a:lnTo>
                  <a:lnTo>
                    <a:pt x="973094" y="306805"/>
                  </a:lnTo>
                  <a:lnTo>
                    <a:pt x="980411" y="292172"/>
                  </a:lnTo>
                  <a:lnTo>
                    <a:pt x="982118" y="275344"/>
                  </a:lnTo>
                  <a:lnTo>
                    <a:pt x="979435" y="270954"/>
                  </a:lnTo>
                  <a:lnTo>
                    <a:pt x="975045" y="264126"/>
                  </a:lnTo>
                  <a:lnTo>
                    <a:pt x="981386" y="257785"/>
                  </a:lnTo>
                  <a:lnTo>
                    <a:pt x="989069" y="264491"/>
                  </a:lnTo>
                  <a:lnTo>
                    <a:pt x="997604" y="256687"/>
                  </a:lnTo>
                  <a:lnTo>
                    <a:pt x="1000409" y="245590"/>
                  </a:lnTo>
                  <a:lnTo>
                    <a:pt x="1009555" y="233640"/>
                  </a:lnTo>
                  <a:lnTo>
                    <a:pt x="1007969" y="225958"/>
                  </a:lnTo>
                  <a:lnTo>
                    <a:pt x="1001994" y="221446"/>
                  </a:lnTo>
                  <a:lnTo>
                    <a:pt x="1012969" y="216568"/>
                  </a:lnTo>
                  <a:lnTo>
                    <a:pt x="1016871" y="205838"/>
                  </a:lnTo>
                  <a:lnTo>
                    <a:pt x="1026383" y="204618"/>
                  </a:lnTo>
                  <a:lnTo>
                    <a:pt x="1034797" y="209252"/>
                  </a:lnTo>
                  <a:lnTo>
                    <a:pt x="1043942" y="206813"/>
                  </a:lnTo>
                  <a:lnTo>
                    <a:pt x="1055649" y="198277"/>
                  </a:lnTo>
                  <a:lnTo>
                    <a:pt x="1062599" y="206325"/>
                  </a:lnTo>
                  <a:lnTo>
                    <a:pt x="1071257" y="204008"/>
                  </a:lnTo>
                  <a:lnTo>
                    <a:pt x="1076013" y="199131"/>
                  </a:lnTo>
                  <a:lnTo>
                    <a:pt x="1067355" y="195960"/>
                  </a:lnTo>
                  <a:lnTo>
                    <a:pt x="1067355" y="186937"/>
                  </a:lnTo>
                  <a:lnTo>
                    <a:pt x="1060160" y="179620"/>
                  </a:lnTo>
                  <a:lnTo>
                    <a:pt x="1070282" y="164377"/>
                  </a:lnTo>
                  <a:lnTo>
                    <a:pt x="1072233" y="156695"/>
                  </a:lnTo>
                  <a:lnTo>
                    <a:pt x="1079671" y="146452"/>
                  </a:lnTo>
                  <a:lnTo>
                    <a:pt x="1080769" y="137550"/>
                  </a:lnTo>
                  <a:lnTo>
                    <a:pt x="1098694" y="137550"/>
                  </a:lnTo>
                  <a:lnTo>
                    <a:pt x="1101621" y="134014"/>
                  </a:lnTo>
                  <a:lnTo>
                    <a:pt x="1104547" y="125112"/>
                  </a:lnTo>
                  <a:lnTo>
                    <a:pt x="1109425" y="121820"/>
                  </a:lnTo>
                  <a:lnTo>
                    <a:pt x="1113693" y="126210"/>
                  </a:lnTo>
                  <a:lnTo>
                    <a:pt x="1120765" y="125356"/>
                  </a:lnTo>
                  <a:lnTo>
                    <a:pt x="1136130" y="116454"/>
                  </a:lnTo>
                  <a:lnTo>
                    <a:pt x="1135886" y="113772"/>
                  </a:lnTo>
                  <a:lnTo>
                    <a:pt x="1134179" y="98041"/>
                  </a:lnTo>
                  <a:lnTo>
                    <a:pt x="1122229" y="79506"/>
                  </a:lnTo>
                  <a:lnTo>
                    <a:pt x="1121253" y="78043"/>
                  </a:lnTo>
                  <a:lnTo>
                    <a:pt x="1121253" y="54020"/>
                  </a:lnTo>
                  <a:lnTo>
                    <a:pt x="1101621" y="45972"/>
                  </a:lnTo>
                  <a:lnTo>
                    <a:pt x="1101255" y="45728"/>
                  </a:lnTo>
                  <a:lnTo>
                    <a:pt x="1099791" y="46582"/>
                  </a:lnTo>
                  <a:lnTo>
                    <a:pt x="1092719" y="50118"/>
                  </a:lnTo>
                  <a:lnTo>
                    <a:pt x="1075159" y="83164"/>
                  </a:lnTo>
                  <a:lnTo>
                    <a:pt x="1064550" y="101456"/>
                  </a:lnTo>
                  <a:lnTo>
                    <a:pt x="1062843" y="104382"/>
                  </a:lnTo>
                  <a:lnTo>
                    <a:pt x="1059429" y="104504"/>
                  </a:lnTo>
                  <a:lnTo>
                    <a:pt x="1028334" y="104870"/>
                  </a:lnTo>
                  <a:lnTo>
                    <a:pt x="1025163" y="105845"/>
                  </a:lnTo>
                  <a:lnTo>
                    <a:pt x="1024553" y="105967"/>
                  </a:lnTo>
                  <a:lnTo>
                    <a:pt x="1023822" y="105967"/>
                  </a:lnTo>
                  <a:lnTo>
                    <a:pt x="1016505" y="106455"/>
                  </a:lnTo>
                  <a:lnTo>
                    <a:pt x="999068" y="106333"/>
                  </a:lnTo>
                  <a:lnTo>
                    <a:pt x="989434" y="114869"/>
                  </a:lnTo>
                  <a:lnTo>
                    <a:pt x="964802" y="147671"/>
                  </a:lnTo>
                  <a:lnTo>
                    <a:pt x="963217" y="149866"/>
                  </a:lnTo>
                  <a:lnTo>
                    <a:pt x="960412" y="150110"/>
                  </a:lnTo>
                  <a:lnTo>
                    <a:pt x="917245" y="153890"/>
                  </a:lnTo>
                  <a:lnTo>
                    <a:pt x="916147" y="156573"/>
                  </a:lnTo>
                  <a:lnTo>
                    <a:pt x="911514" y="167670"/>
                  </a:lnTo>
                  <a:lnTo>
                    <a:pt x="910538" y="169865"/>
                  </a:lnTo>
                  <a:lnTo>
                    <a:pt x="908465" y="170840"/>
                  </a:lnTo>
                  <a:lnTo>
                    <a:pt x="848226" y="198521"/>
                  </a:lnTo>
                  <a:lnTo>
                    <a:pt x="842129" y="201326"/>
                  </a:lnTo>
                  <a:lnTo>
                    <a:pt x="839934" y="195107"/>
                  </a:lnTo>
                  <a:lnTo>
                    <a:pt x="838105" y="190107"/>
                  </a:lnTo>
                  <a:lnTo>
                    <a:pt x="834325" y="179498"/>
                  </a:lnTo>
                  <a:lnTo>
                    <a:pt x="833715" y="177547"/>
                  </a:lnTo>
                  <a:lnTo>
                    <a:pt x="834325" y="175596"/>
                  </a:lnTo>
                  <a:lnTo>
                    <a:pt x="840422" y="157061"/>
                  </a:lnTo>
                  <a:lnTo>
                    <a:pt x="844690" y="144379"/>
                  </a:lnTo>
                  <a:lnTo>
                    <a:pt x="843348" y="121088"/>
                  </a:lnTo>
                  <a:lnTo>
                    <a:pt x="827008" y="104016"/>
                  </a:lnTo>
                  <a:lnTo>
                    <a:pt x="807741" y="84140"/>
                  </a:lnTo>
                  <a:lnTo>
                    <a:pt x="807131" y="83408"/>
                  </a:lnTo>
                  <a:lnTo>
                    <a:pt x="806644" y="82555"/>
                  </a:lnTo>
                  <a:lnTo>
                    <a:pt x="800303" y="69995"/>
                  </a:lnTo>
                  <a:lnTo>
                    <a:pt x="793230" y="55727"/>
                  </a:lnTo>
                  <a:lnTo>
                    <a:pt x="753477" y="34875"/>
                  </a:lnTo>
                  <a:lnTo>
                    <a:pt x="732991" y="24266"/>
                  </a:lnTo>
                  <a:lnTo>
                    <a:pt x="706774" y="26096"/>
                  </a:lnTo>
                  <a:lnTo>
                    <a:pt x="696165" y="26949"/>
                  </a:lnTo>
                  <a:lnTo>
                    <a:pt x="695067" y="27071"/>
                  </a:lnTo>
                  <a:lnTo>
                    <a:pt x="694092" y="26705"/>
                  </a:lnTo>
                  <a:lnTo>
                    <a:pt x="691165" y="25974"/>
                  </a:lnTo>
                  <a:lnTo>
                    <a:pt x="679459" y="22681"/>
                  </a:lnTo>
                  <a:lnTo>
                    <a:pt x="656534" y="24023"/>
                  </a:lnTo>
                  <a:lnTo>
                    <a:pt x="655070" y="24144"/>
                  </a:lnTo>
                  <a:lnTo>
                    <a:pt x="653607" y="23535"/>
                  </a:lnTo>
                  <a:lnTo>
                    <a:pt x="637999" y="16340"/>
                  </a:lnTo>
                  <a:lnTo>
                    <a:pt x="636413" y="15609"/>
                  </a:lnTo>
                  <a:lnTo>
                    <a:pt x="614342" y="11341"/>
                  </a:lnTo>
                  <a:lnTo>
                    <a:pt x="613123" y="11097"/>
                  </a:lnTo>
                  <a:lnTo>
                    <a:pt x="612147" y="10487"/>
                  </a:lnTo>
                  <a:lnTo>
                    <a:pt x="596416" y="0"/>
                  </a:lnTo>
                  <a:lnTo>
                    <a:pt x="47069" y="0"/>
                  </a:lnTo>
                  <a:lnTo>
                    <a:pt x="48533" y="13536"/>
                  </a:lnTo>
                  <a:lnTo>
                    <a:pt x="53776" y="27071"/>
                  </a:lnTo>
                  <a:lnTo>
                    <a:pt x="50484" y="42070"/>
                  </a:lnTo>
                  <a:lnTo>
                    <a:pt x="39265" y="42070"/>
                  </a:lnTo>
                  <a:lnTo>
                    <a:pt x="42070" y="19633"/>
                  </a:lnTo>
                  <a:lnTo>
                    <a:pt x="22925" y="20852"/>
                  </a:lnTo>
                  <a:lnTo>
                    <a:pt x="10121" y="16584"/>
                  </a:lnTo>
                  <a:lnTo>
                    <a:pt x="1951" y="16584"/>
                  </a:lnTo>
                  <a:lnTo>
                    <a:pt x="0" y="21462"/>
                  </a:lnTo>
                  <a:lnTo>
                    <a:pt x="13901" y="46338"/>
                  </a:lnTo>
                  <a:lnTo>
                    <a:pt x="16828" y="69751"/>
                  </a:lnTo>
                  <a:lnTo>
                    <a:pt x="12560" y="94017"/>
                  </a:lnTo>
                  <a:lnTo>
                    <a:pt x="14023" y="130965"/>
                  </a:lnTo>
                  <a:lnTo>
                    <a:pt x="4146" y="159256"/>
                  </a:lnTo>
                  <a:lnTo>
                    <a:pt x="6829" y="175718"/>
                  </a:lnTo>
                  <a:lnTo>
                    <a:pt x="14023" y="202789"/>
                  </a:lnTo>
                  <a:lnTo>
                    <a:pt x="12560" y="221812"/>
                  </a:lnTo>
                  <a:lnTo>
                    <a:pt x="9877" y="235226"/>
                  </a:lnTo>
                  <a:lnTo>
                    <a:pt x="16828" y="246200"/>
                  </a:lnTo>
                  <a:lnTo>
                    <a:pt x="18169" y="261443"/>
                  </a:lnTo>
                  <a:lnTo>
                    <a:pt x="32193" y="272662"/>
                  </a:lnTo>
                  <a:lnTo>
                    <a:pt x="36217" y="289002"/>
                  </a:lnTo>
                  <a:lnTo>
                    <a:pt x="48289" y="290831"/>
                  </a:lnTo>
                  <a:lnTo>
                    <a:pt x="53532" y="296074"/>
                  </a:lnTo>
                  <a:lnTo>
                    <a:pt x="53532" y="296074"/>
                  </a:lnTo>
                  <a:lnTo>
                    <a:pt x="49508" y="306195"/>
                  </a:lnTo>
                  <a:lnTo>
                    <a:pt x="52069" y="317292"/>
                  </a:lnTo>
                  <a:lnTo>
                    <a:pt x="58776" y="323999"/>
                  </a:lnTo>
                  <a:lnTo>
                    <a:pt x="59751" y="335462"/>
                  </a:lnTo>
                  <a:lnTo>
                    <a:pt x="62922" y="339364"/>
                  </a:lnTo>
                  <a:lnTo>
                    <a:pt x="66946" y="344363"/>
                  </a:lnTo>
                  <a:lnTo>
                    <a:pt x="80481" y="359850"/>
                  </a:lnTo>
                  <a:lnTo>
                    <a:pt x="84018" y="377653"/>
                  </a:lnTo>
                  <a:lnTo>
                    <a:pt x="93041" y="377653"/>
                  </a:lnTo>
                  <a:lnTo>
                    <a:pt x="105358" y="381677"/>
                  </a:lnTo>
                  <a:lnTo>
                    <a:pt x="113650" y="391920"/>
                  </a:lnTo>
                  <a:lnTo>
                    <a:pt x="118405" y="392774"/>
                  </a:lnTo>
                  <a:lnTo>
                    <a:pt x="125478" y="392774"/>
                  </a:lnTo>
                  <a:lnTo>
                    <a:pt x="141696" y="401920"/>
                  </a:lnTo>
                  <a:lnTo>
                    <a:pt x="148525" y="418382"/>
                  </a:lnTo>
                  <a:lnTo>
                    <a:pt x="151939" y="422894"/>
                  </a:lnTo>
                  <a:lnTo>
                    <a:pt x="152793" y="422650"/>
                  </a:lnTo>
                  <a:lnTo>
                    <a:pt x="161329" y="419723"/>
                  </a:lnTo>
                  <a:lnTo>
                    <a:pt x="162182" y="41947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2" name="Freihandform: Form 591">
              <a:extLst>
                <a:ext uri="{FF2B5EF4-FFF2-40B4-BE49-F238E27FC236}">
                  <a16:creationId xmlns:a16="http://schemas.microsoft.com/office/drawing/2014/main" id="{B6BFDF6E-BFD6-4FC2-8D1A-AD34025254EC}"/>
                </a:ext>
              </a:extLst>
            </p:cNvPr>
            <p:cNvSpPr/>
            <p:nvPr/>
          </p:nvSpPr>
          <p:spPr>
            <a:xfrm>
              <a:off x="1476268" y="1943410"/>
              <a:ext cx="14633" cy="15486"/>
            </a:xfrm>
            <a:custGeom>
              <a:avLst/>
              <a:gdLst>
                <a:gd name="connsiteX0" fmla="*/ 244 w 14633"/>
                <a:gd name="connsiteY0" fmla="*/ 13779 h 15486"/>
                <a:gd name="connsiteX1" fmla="*/ 0 w 14633"/>
                <a:gd name="connsiteY1" fmla="*/ 15487 h 15486"/>
                <a:gd name="connsiteX2" fmla="*/ 4268 w 14633"/>
                <a:gd name="connsiteY2" fmla="*/ 15121 h 15486"/>
                <a:gd name="connsiteX3" fmla="*/ 14633 w 14633"/>
                <a:gd name="connsiteY3" fmla="*/ 2805 h 15486"/>
                <a:gd name="connsiteX4" fmla="*/ 14633 w 14633"/>
                <a:gd name="connsiteY4" fmla="*/ 0 h 15486"/>
                <a:gd name="connsiteX5" fmla="*/ 12194 w 14633"/>
                <a:gd name="connsiteY5" fmla="*/ 610 h 15486"/>
                <a:gd name="connsiteX6" fmla="*/ 244 w 14633"/>
                <a:gd name="connsiteY6" fmla="*/ 13779 h 15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3" h="15486">
                  <a:moveTo>
                    <a:pt x="244" y="13779"/>
                  </a:moveTo>
                  <a:lnTo>
                    <a:pt x="0" y="15487"/>
                  </a:lnTo>
                  <a:lnTo>
                    <a:pt x="4268" y="15121"/>
                  </a:lnTo>
                  <a:lnTo>
                    <a:pt x="14633" y="2805"/>
                  </a:lnTo>
                  <a:lnTo>
                    <a:pt x="14633" y="0"/>
                  </a:lnTo>
                  <a:lnTo>
                    <a:pt x="12194" y="610"/>
                  </a:lnTo>
                  <a:lnTo>
                    <a:pt x="244" y="1377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3" name="Freihandform: Form 592">
              <a:extLst>
                <a:ext uri="{FF2B5EF4-FFF2-40B4-BE49-F238E27FC236}">
                  <a16:creationId xmlns:a16="http://schemas.microsoft.com/office/drawing/2014/main" id="{34D5070E-1110-45FB-8A86-D6FBE4443015}"/>
                </a:ext>
              </a:extLst>
            </p:cNvPr>
            <p:cNvSpPr/>
            <p:nvPr/>
          </p:nvSpPr>
          <p:spPr>
            <a:xfrm>
              <a:off x="1338474" y="2039134"/>
              <a:ext cx="47801" cy="27924"/>
            </a:xfrm>
            <a:custGeom>
              <a:avLst/>
              <a:gdLst>
                <a:gd name="connsiteX0" fmla="*/ 24632 w 47801"/>
                <a:gd name="connsiteY0" fmla="*/ 732 h 27924"/>
                <a:gd name="connsiteX1" fmla="*/ 14755 w 47801"/>
                <a:gd name="connsiteY1" fmla="*/ 6341 h 27924"/>
                <a:gd name="connsiteX2" fmla="*/ 3292 w 47801"/>
                <a:gd name="connsiteY2" fmla="*/ 7804 h 27924"/>
                <a:gd name="connsiteX3" fmla="*/ 0 w 47801"/>
                <a:gd name="connsiteY3" fmla="*/ 9146 h 27924"/>
                <a:gd name="connsiteX4" fmla="*/ 488 w 47801"/>
                <a:gd name="connsiteY4" fmla="*/ 15852 h 27924"/>
                <a:gd name="connsiteX5" fmla="*/ 8414 w 47801"/>
                <a:gd name="connsiteY5" fmla="*/ 20852 h 27924"/>
                <a:gd name="connsiteX6" fmla="*/ 8414 w 47801"/>
                <a:gd name="connsiteY6" fmla="*/ 25608 h 27924"/>
                <a:gd name="connsiteX7" fmla="*/ 13535 w 47801"/>
                <a:gd name="connsiteY7" fmla="*/ 27925 h 27924"/>
                <a:gd name="connsiteX8" fmla="*/ 17316 w 47801"/>
                <a:gd name="connsiteY8" fmla="*/ 23535 h 27924"/>
                <a:gd name="connsiteX9" fmla="*/ 29022 w 47801"/>
                <a:gd name="connsiteY9" fmla="*/ 22193 h 27924"/>
                <a:gd name="connsiteX10" fmla="*/ 29022 w 47801"/>
                <a:gd name="connsiteY10" fmla="*/ 18047 h 27924"/>
                <a:gd name="connsiteX11" fmla="*/ 44509 w 47801"/>
                <a:gd name="connsiteY11" fmla="*/ 8414 h 27924"/>
                <a:gd name="connsiteX12" fmla="*/ 47801 w 47801"/>
                <a:gd name="connsiteY12" fmla="*/ 3414 h 27924"/>
                <a:gd name="connsiteX13" fmla="*/ 46094 w 47801"/>
                <a:gd name="connsiteY13" fmla="*/ 0 h 27924"/>
                <a:gd name="connsiteX14" fmla="*/ 24632 w 47801"/>
                <a:gd name="connsiteY14" fmla="*/ 732 h 2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801" h="27924">
                  <a:moveTo>
                    <a:pt x="24632" y="732"/>
                  </a:moveTo>
                  <a:lnTo>
                    <a:pt x="14755" y="6341"/>
                  </a:lnTo>
                  <a:lnTo>
                    <a:pt x="3292" y="7804"/>
                  </a:lnTo>
                  <a:lnTo>
                    <a:pt x="0" y="9146"/>
                  </a:lnTo>
                  <a:lnTo>
                    <a:pt x="488" y="15852"/>
                  </a:lnTo>
                  <a:lnTo>
                    <a:pt x="8414" y="20852"/>
                  </a:lnTo>
                  <a:lnTo>
                    <a:pt x="8414" y="25608"/>
                  </a:lnTo>
                  <a:lnTo>
                    <a:pt x="13535" y="27925"/>
                  </a:lnTo>
                  <a:lnTo>
                    <a:pt x="17316" y="23535"/>
                  </a:lnTo>
                  <a:lnTo>
                    <a:pt x="29022" y="22193"/>
                  </a:lnTo>
                  <a:lnTo>
                    <a:pt x="29022" y="18047"/>
                  </a:lnTo>
                  <a:lnTo>
                    <a:pt x="44509" y="8414"/>
                  </a:lnTo>
                  <a:lnTo>
                    <a:pt x="47801" y="3414"/>
                  </a:lnTo>
                  <a:lnTo>
                    <a:pt x="46094" y="0"/>
                  </a:lnTo>
                  <a:lnTo>
                    <a:pt x="24632" y="7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4" name="Freihandform: Form 593">
              <a:extLst>
                <a:ext uri="{FF2B5EF4-FFF2-40B4-BE49-F238E27FC236}">
                  <a16:creationId xmlns:a16="http://schemas.microsoft.com/office/drawing/2014/main" id="{61574010-65F7-4592-8B9E-E7F7C5A1321E}"/>
                </a:ext>
              </a:extLst>
            </p:cNvPr>
            <p:cNvSpPr/>
            <p:nvPr/>
          </p:nvSpPr>
          <p:spPr>
            <a:xfrm>
              <a:off x="1500168" y="1933776"/>
              <a:ext cx="6706" cy="6340"/>
            </a:xfrm>
            <a:custGeom>
              <a:avLst/>
              <a:gdLst>
                <a:gd name="connsiteX0" fmla="*/ 366 w 6706"/>
                <a:gd name="connsiteY0" fmla="*/ 976 h 6340"/>
                <a:gd name="connsiteX1" fmla="*/ 0 w 6706"/>
                <a:gd name="connsiteY1" fmla="*/ 3414 h 6340"/>
                <a:gd name="connsiteX2" fmla="*/ 2439 w 6706"/>
                <a:gd name="connsiteY2" fmla="*/ 6341 h 6340"/>
                <a:gd name="connsiteX3" fmla="*/ 6707 w 6706"/>
                <a:gd name="connsiteY3" fmla="*/ 3658 h 6340"/>
                <a:gd name="connsiteX4" fmla="*/ 5975 w 6706"/>
                <a:gd name="connsiteY4" fmla="*/ 0 h 6340"/>
                <a:gd name="connsiteX5" fmla="*/ 366 w 6706"/>
                <a:gd name="connsiteY5" fmla="*/ 976 h 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06" h="6340">
                  <a:moveTo>
                    <a:pt x="366" y="976"/>
                  </a:moveTo>
                  <a:lnTo>
                    <a:pt x="0" y="3414"/>
                  </a:lnTo>
                  <a:lnTo>
                    <a:pt x="2439" y="6341"/>
                  </a:lnTo>
                  <a:lnTo>
                    <a:pt x="6707" y="3658"/>
                  </a:lnTo>
                  <a:lnTo>
                    <a:pt x="5975" y="0"/>
                  </a:lnTo>
                  <a:lnTo>
                    <a:pt x="366" y="97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5" name="Freihandform: Form 594">
              <a:extLst>
                <a:ext uri="{FF2B5EF4-FFF2-40B4-BE49-F238E27FC236}">
                  <a16:creationId xmlns:a16="http://schemas.microsoft.com/office/drawing/2014/main" id="{7873CA32-927A-493D-92A3-2FD03E3EE051}"/>
                </a:ext>
              </a:extLst>
            </p:cNvPr>
            <p:cNvSpPr/>
            <p:nvPr/>
          </p:nvSpPr>
          <p:spPr>
            <a:xfrm>
              <a:off x="1774537" y="2167294"/>
              <a:ext cx="18779" cy="25851"/>
            </a:xfrm>
            <a:custGeom>
              <a:avLst/>
              <a:gdLst>
                <a:gd name="connsiteX0" fmla="*/ 11097 w 18779"/>
                <a:gd name="connsiteY0" fmla="*/ 1951 h 25851"/>
                <a:gd name="connsiteX1" fmla="*/ 7804 w 18779"/>
                <a:gd name="connsiteY1" fmla="*/ 0 h 25851"/>
                <a:gd name="connsiteX2" fmla="*/ 854 w 18779"/>
                <a:gd name="connsiteY2" fmla="*/ 1463 h 25851"/>
                <a:gd name="connsiteX3" fmla="*/ 0 w 18779"/>
                <a:gd name="connsiteY3" fmla="*/ 13414 h 25851"/>
                <a:gd name="connsiteX4" fmla="*/ 6585 w 18779"/>
                <a:gd name="connsiteY4" fmla="*/ 25852 h 25851"/>
                <a:gd name="connsiteX5" fmla="*/ 15852 w 18779"/>
                <a:gd name="connsiteY5" fmla="*/ 25120 h 25851"/>
                <a:gd name="connsiteX6" fmla="*/ 17560 w 18779"/>
                <a:gd name="connsiteY6" fmla="*/ 13536 h 25851"/>
                <a:gd name="connsiteX7" fmla="*/ 18779 w 18779"/>
                <a:gd name="connsiteY7" fmla="*/ 5853 h 25851"/>
                <a:gd name="connsiteX8" fmla="*/ 12316 w 18779"/>
                <a:gd name="connsiteY8" fmla="*/ 8170 h 25851"/>
                <a:gd name="connsiteX9" fmla="*/ 11097 w 18779"/>
                <a:gd name="connsiteY9" fmla="*/ 1951 h 2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79" h="25851">
                  <a:moveTo>
                    <a:pt x="11097" y="1951"/>
                  </a:moveTo>
                  <a:lnTo>
                    <a:pt x="7804" y="0"/>
                  </a:lnTo>
                  <a:lnTo>
                    <a:pt x="854" y="1463"/>
                  </a:lnTo>
                  <a:lnTo>
                    <a:pt x="0" y="13414"/>
                  </a:lnTo>
                  <a:lnTo>
                    <a:pt x="6585" y="25852"/>
                  </a:lnTo>
                  <a:lnTo>
                    <a:pt x="15852" y="25120"/>
                  </a:lnTo>
                  <a:lnTo>
                    <a:pt x="17560" y="13536"/>
                  </a:lnTo>
                  <a:lnTo>
                    <a:pt x="18779" y="5853"/>
                  </a:lnTo>
                  <a:lnTo>
                    <a:pt x="12316" y="8170"/>
                  </a:lnTo>
                  <a:lnTo>
                    <a:pt x="11097" y="19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6" name="Freihandform: Form 595">
              <a:extLst>
                <a:ext uri="{FF2B5EF4-FFF2-40B4-BE49-F238E27FC236}">
                  <a16:creationId xmlns:a16="http://schemas.microsoft.com/office/drawing/2014/main" id="{92750FE2-F588-4C5F-BF68-3BDFC48587C1}"/>
                </a:ext>
              </a:extLst>
            </p:cNvPr>
            <p:cNvSpPr/>
            <p:nvPr/>
          </p:nvSpPr>
          <p:spPr>
            <a:xfrm>
              <a:off x="1076299" y="1505517"/>
              <a:ext cx="754086" cy="634340"/>
            </a:xfrm>
            <a:custGeom>
              <a:avLst/>
              <a:gdLst>
                <a:gd name="connsiteX0" fmla="*/ 750795 w 754086"/>
                <a:gd name="connsiteY0" fmla="*/ 615074 h 634340"/>
                <a:gd name="connsiteX1" fmla="*/ 750673 w 754086"/>
                <a:gd name="connsiteY1" fmla="*/ 614098 h 634340"/>
                <a:gd name="connsiteX2" fmla="*/ 750916 w 754086"/>
                <a:gd name="connsiteY2" fmla="*/ 613123 h 634340"/>
                <a:gd name="connsiteX3" fmla="*/ 754087 w 754086"/>
                <a:gd name="connsiteY3" fmla="*/ 597270 h 634340"/>
                <a:gd name="connsiteX4" fmla="*/ 730064 w 754086"/>
                <a:gd name="connsiteY4" fmla="*/ 581783 h 634340"/>
                <a:gd name="connsiteX5" fmla="*/ 729455 w 754086"/>
                <a:gd name="connsiteY5" fmla="*/ 581418 h 634340"/>
                <a:gd name="connsiteX6" fmla="*/ 729089 w 754086"/>
                <a:gd name="connsiteY6" fmla="*/ 580930 h 634340"/>
                <a:gd name="connsiteX7" fmla="*/ 714334 w 754086"/>
                <a:gd name="connsiteY7" fmla="*/ 566297 h 634340"/>
                <a:gd name="connsiteX8" fmla="*/ 713480 w 754086"/>
                <a:gd name="connsiteY8" fmla="*/ 565443 h 634340"/>
                <a:gd name="connsiteX9" fmla="*/ 713115 w 754086"/>
                <a:gd name="connsiteY9" fmla="*/ 564468 h 634340"/>
                <a:gd name="connsiteX10" fmla="*/ 689092 w 754086"/>
                <a:gd name="connsiteY10" fmla="*/ 509106 h 634340"/>
                <a:gd name="connsiteX11" fmla="*/ 677142 w 754086"/>
                <a:gd name="connsiteY11" fmla="*/ 500570 h 634340"/>
                <a:gd name="connsiteX12" fmla="*/ 676044 w 754086"/>
                <a:gd name="connsiteY12" fmla="*/ 499717 h 634340"/>
                <a:gd name="connsiteX13" fmla="*/ 675435 w 754086"/>
                <a:gd name="connsiteY13" fmla="*/ 498619 h 634340"/>
                <a:gd name="connsiteX14" fmla="*/ 670435 w 754086"/>
                <a:gd name="connsiteY14" fmla="*/ 489961 h 634340"/>
                <a:gd name="connsiteX15" fmla="*/ 660924 w 754086"/>
                <a:gd name="connsiteY15" fmla="*/ 473255 h 634340"/>
                <a:gd name="connsiteX16" fmla="*/ 656046 w 754086"/>
                <a:gd name="connsiteY16" fmla="*/ 469719 h 634340"/>
                <a:gd name="connsiteX17" fmla="*/ 647998 w 754086"/>
                <a:gd name="connsiteY17" fmla="*/ 463500 h 634340"/>
                <a:gd name="connsiteX18" fmla="*/ 635804 w 754086"/>
                <a:gd name="connsiteY18" fmla="*/ 466549 h 634340"/>
                <a:gd name="connsiteX19" fmla="*/ 622146 w 754086"/>
                <a:gd name="connsiteY19" fmla="*/ 482035 h 634340"/>
                <a:gd name="connsiteX20" fmla="*/ 620317 w 754086"/>
                <a:gd name="connsiteY20" fmla="*/ 483986 h 634340"/>
                <a:gd name="connsiteX21" fmla="*/ 607025 w 754086"/>
                <a:gd name="connsiteY21" fmla="*/ 483986 h 634340"/>
                <a:gd name="connsiteX22" fmla="*/ 605196 w 754086"/>
                <a:gd name="connsiteY22" fmla="*/ 481304 h 634340"/>
                <a:gd name="connsiteX23" fmla="*/ 589344 w 754086"/>
                <a:gd name="connsiteY23" fmla="*/ 457525 h 634340"/>
                <a:gd name="connsiteX24" fmla="*/ 575686 w 754086"/>
                <a:gd name="connsiteY24" fmla="*/ 437161 h 634340"/>
                <a:gd name="connsiteX25" fmla="*/ 573979 w 754086"/>
                <a:gd name="connsiteY25" fmla="*/ 435088 h 634340"/>
                <a:gd name="connsiteX26" fmla="*/ 568736 w 754086"/>
                <a:gd name="connsiteY26" fmla="*/ 428747 h 634340"/>
                <a:gd name="connsiteX27" fmla="*/ 565321 w 754086"/>
                <a:gd name="connsiteY27" fmla="*/ 431430 h 634340"/>
                <a:gd name="connsiteX28" fmla="*/ 562639 w 754086"/>
                <a:gd name="connsiteY28" fmla="*/ 440453 h 634340"/>
                <a:gd name="connsiteX29" fmla="*/ 560322 w 754086"/>
                <a:gd name="connsiteY29" fmla="*/ 448623 h 634340"/>
                <a:gd name="connsiteX30" fmla="*/ 553371 w 754086"/>
                <a:gd name="connsiteY30" fmla="*/ 443868 h 634340"/>
                <a:gd name="connsiteX31" fmla="*/ 543738 w 754086"/>
                <a:gd name="connsiteY31" fmla="*/ 437283 h 634340"/>
                <a:gd name="connsiteX32" fmla="*/ 534592 w 754086"/>
                <a:gd name="connsiteY32" fmla="*/ 431064 h 634340"/>
                <a:gd name="connsiteX33" fmla="*/ 532031 w 754086"/>
                <a:gd name="connsiteY33" fmla="*/ 429235 h 634340"/>
                <a:gd name="connsiteX34" fmla="*/ 532031 w 754086"/>
                <a:gd name="connsiteY34" fmla="*/ 57069 h 634340"/>
                <a:gd name="connsiteX35" fmla="*/ 512399 w 754086"/>
                <a:gd name="connsiteY35" fmla="*/ 49752 h 634340"/>
                <a:gd name="connsiteX36" fmla="*/ 503619 w 754086"/>
                <a:gd name="connsiteY36" fmla="*/ 47191 h 634340"/>
                <a:gd name="connsiteX37" fmla="*/ 499595 w 754086"/>
                <a:gd name="connsiteY37" fmla="*/ 43899 h 634340"/>
                <a:gd name="connsiteX38" fmla="*/ 482035 w 754086"/>
                <a:gd name="connsiteY38" fmla="*/ 43167 h 634340"/>
                <a:gd name="connsiteX39" fmla="*/ 456184 w 754086"/>
                <a:gd name="connsiteY39" fmla="*/ 47435 h 634340"/>
                <a:gd name="connsiteX40" fmla="*/ 433259 w 754086"/>
                <a:gd name="connsiteY40" fmla="*/ 39631 h 634340"/>
                <a:gd name="connsiteX41" fmla="*/ 419845 w 754086"/>
                <a:gd name="connsiteY41" fmla="*/ 38899 h 634340"/>
                <a:gd name="connsiteX42" fmla="*/ 413992 w 754086"/>
                <a:gd name="connsiteY42" fmla="*/ 40607 h 634340"/>
                <a:gd name="connsiteX43" fmla="*/ 388994 w 754086"/>
                <a:gd name="connsiteY43" fmla="*/ 36217 h 634340"/>
                <a:gd name="connsiteX44" fmla="*/ 374970 w 754086"/>
                <a:gd name="connsiteY44" fmla="*/ 28656 h 634340"/>
                <a:gd name="connsiteX45" fmla="*/ 357167 w 754086"/>
                <a:gd name="connsiteY45" fmla="*/ 27803 h 634340"/>
                <a:gd name="connsiteX46" fmla="*/ 336071 w 754086"/>
                <a:gd name="connsiteY46" fmla="*/ 30363 h 634340"/>
                <a:gd name="connsiteX47" fmla="*/ 321560 w 754086"/>
                <a:gd name="connsiteY47" fmla="*/ 32924 h 634340"/>
                <a:gd name="connsiteX48" fmla="*/ 306317 w 754086"/>
                <a:gd name="connsiteY48" fmla="*/ 29022 h 634340"/>
                <a:gd name="connsiteX49" fmla="*/ 314609 w 754086"/>
                <a:gd name="connsiteY49" fmla="*/ 24022 h 634340"/>
                <a:gd name="connsiteX50" fmla="*/ 296562 w 754086"/>
                <a:gd name="connsiteY50" fmla="*/ 20242 h 634340"/>
                <a:gd name="connsiteX51" fmla="*/ 301562 w 754086"/>
                <a:gd name="connsiteY51" fmla="*/ 14145 h 634340"/>
                <a:gd name="connsiteX52" fmla="*/ 287904 w 754086"/>
                <a:gd name="connsiteY52" fmla="*/ 14145 h 634340"/>
                <a:gd name="connsiteX53" fmla="*/ 273149 w 754086"/>
                <a:gd name="connsiteY53" fmla="*/ 18657 h 634340"/>
                <a:gd name="connsiteX54" fmla="*/ 257419 w 754086"/>
                <a:gd name="connsiteY54" fmla="*/ 9999 h 634340"/>
                <a:gd name="connsiteX55" fmla="*/ 249249 w 754086"/>
                <a:gd name="connsiteY55" fmla="*/ 10731 h 634340"/>
                <a:gd name="connsiteX56" fmla="*/ 246444 w 754086"/>
                <a:gd name="connsiteY56" fmla="*/ 16706 h 634340"/>
                <a:gd name="connsiteX57" fmla="*/ 237420 w 754086"/>
                <a:gd name="connsiteY57" fmla="*/ 16706 h 634340"/>
                <a:gd name="connsiteX58" fmla="*/ 223275 w 754086"/>
                <a:gd name="connsiteY58" fmla="*/ 9511 h 634340"/>
                <a:gd name="connsiteX59" fmla="*/ 234616 w 754086"/>
                <a:gd name="connsiteY59" fmla="*/ 4024 h 634340"/>
                <a:gd name="connsiteX60" fmla="*/ 233030 w 754086"/>
                <a:gd name="connsiteY60" fmla="*/ 3902 h 634340"/>
                <a:gd name="connsiteX61" fmla="*/ 222665 w 754086"/>
                <a:gd name="connsiteY61" fmla="*/ 0 h 634340"/>
                <a:gd name="connsiteX62" fmla="*/ 197545 w 754086"/>
                <a:gd name="connsiteY62" fmla="*/ 15852 h 634340"/>
                <a:gd name="connsiteX63" fmla="*/ 175230 w 754086"/>
                <a:gd name="connsiteY63" fmla="*/ 16706 h 634340"/>
                <a:gd name="connsiteX64" fmla="*/ 171450 w 754086"/>
                <a:gd name="connsiteY64" fmla="*/ 15243 h 634340"/>
                <a:gd name="connsiteX65" fmla="*/ 132185 w 754086"/>
                <a:gd name="connsiteY65" fmla="*/ 35485 h 634340"/>
                <a:gd name="connsiteX66" fmla="*/ 124868 w 754086"/>
                <a:gd name="connsiteY66" fmla="*/ 35485 h 634340"/>
                <a:gd name="connsiteX67" fmla="*/ 105845 w 754086"/>
                <a:gd name="connsiteY67" fmla="*/ 41948 h 634340"/>
                <a:gd name="connsiteX68" fmla="*/ 96578 w 754086"/>
                <a:gd name="connsiteY68" fmla="*/ 52313 h 634340"/>
                <a:gd name="connsiteX69" fmla="*/ 89383 w 754086"/>
                <a:gd name="connsiteY69" fmla="*/ 74750 h 634340"/>
                <a:gd name="connsiteX70" fmla="*/ 69751 w 754086"/>
                <a:gd name="connsiteY70" fmla="*/ 85603 h 634340"/>
                <a:gd name="connsiteX71" fmla="*/ 29998 w 754086"/>
                <a:gd name="connsiteY71" fmla="*/ 86457 h 634340"/>
                <a:gd name="connsiteX72" fmla="*/ 28656 w 754086"/>
                <a:gd name="connsiteY72" fmla="*/ 98895 h 634340"/>
                <a:gd name="connsiteX73" fmla="*/ 24510 w 754086"/>
                <a:gd name="connsiteY73" fmla="*/ 99748 h 634340"/>
                <a:gd name="connsiteX74" fmla="*/ 28900 w 754086"/>
                <a:gd name="connsiteY74" fmla="*/ 101943 h 634340"/>
                <a:gd name="connsiteX75" fmla="*/ 38655 w 754086"/>
                <a:gd name="connsiteY75" fmla="*/ 105358 h 634340"/>
                <a:gd name="connsiteX76" fmla="*/ 57678 w 754086"/>
                <a:gd name="connsiteY76" fmla="*/ 113284 h 634340"/>
                <a:gd name="connsiteX77" fmla="*/ 76823 w 754086"/>
                <a:gd name="connsiteY77" fmla="*/ 126575 h 634340"/>
                <a:gd name="connsiteX78" fmla="*/ 78165 w 754086"/>
                <a:gd name="connsiteY78" fmla="*/ 137916 h 634340"/>
                <a:gd name="connsiteX79" fmla="*/ 85237 w 754086"/>
                <a:gd name="connsiteY79" fmla="*/ 139257 h 634340"/>
                <a:gd name="connsiteX80" fmla="*/ 93529 w 754086"/>
                <a:gd name="connsiteY80" fmla="*/ 140111 h 634340"/>
                <a:gd name="connsiteX81" fmla="*/ 111577 w 754086"/>
                <a:gd name="connsiteY81" fmla="*/ 140111 h 634340"/>
                <a:gd name="connsiteX82" fmla="*/ 117674 w 754086"/>
                <a:gd name="connsiteY82" fmla="*/ 139257 h 634340"/>
                <a:gd name="connsiteX83" fmla="*/ 127795 w 754086"/>
                <a:gd name="connsiteY83" fmla="*/ 142794 h 634340"/>
                <a:gd name="connsiteX84" fmla="*/ 123283 w 754086"/>
                <a:gd name="connsiteY84" fmla="*/ 149622 h 634340"/>
                <a:gd name="connsiteX85" fmla="*/ 119259 w 754086"/>
                <a:gd name="connsiteY85" fmla="*/ 154012 h 634340"/>
                <a:gd name="connsiteX86" fmla="*/ 128892 w 754086"/>
                <a:gd name="connsiteY86" fmla="*/ 160475 h 634340"/>
                <a:gd name="connsiteX87" fmla="*/ 139501 w 754086"/>
                <a:gd name="connsiteY87" fmla="*/ 155232 h 634340"/>
                <a:gd name="connsiteX88" fmla="*/ 158158 w 754086"/>
                <a:gd name="connsiteY88" fmla="*/ 153646 h 634340"/>
                <a:gd name="connsiteX89" fmla="*/ 165841 w 754086"/>
                <a:gd name="connsiteY89" fmla="*/ 163280 h 634340"/>
                <a:gd name="connsiteX90" fmla="*/ 158036 w 754086"/>
                <a:gd name="connsiteY90" fmla="*/ 169255 h 634340"/>
                <a:gd name="connsiteX91" fmla="*/ 138891 w 754086"/>
                <a:gd name="connsiteY91" fmla="*/ 171938 h 634340"/>
                <a:gd name="connsiteX92" fmla="*/ 134502 w 754086"/>
                <a:gd name="connsiteY92" fmla="*/ 184985 h 634340"/>
                <a:gd name="connsiteX93" fmla="*/ 125234 w 754086"/>
                <a:gd name="connsiteY93" fmla="*/ 184985 h 634340"/>
                <a:gd name="connsiteX94" fmla="*/ 116454 w 754086"/>
                <a:gd name="connsiteY94" fmla="*/ 192302 h 634340"/>
                <a:gd name="connsiteX95" fmla="*/ 93163 w 754086"/>
                <a:gd name="connsiteY95" fmla="*/ 184985 h 634340"/>
                <a:gd name="connsiteX96" fmla="*/ 70848 w 754086"/>
                <a:gd name="connsiteY96" fmla="*/ 188156 h 634340"/>
                <a:gd name="connsiteX97" fmla="*/ 72799 w 754086"/>
                <a:gd name="connsiteY97" fmla="*/ 176815 h 634340"/>
                <a:gd name="connsiteX98" fmla="*/ 73775 w 754086"/>
                <a:gd name="connsiteY98" fmla="*/ 169499 h 634340"/>
                <a:gd name="connsiteX99" fmla="*/ 58166 w 754086"/>
                <a:gd name="connsiteY99" fmla="*/ 170718 h 634340"/>
                <a:gd name="connsiteX100" fmla="*/ 42192 w 754086"/>
                <a:gd name="connsiteY100" fmla="*/ 174742 h 634340"/>
                <a:gd name="connsiteX101" fmla="*/ 36339 w 754086"/>
                <a:gd name="connsiteY101" fmla="*/ 183400 h 634340"/>
                <a:gd name="connsiteX102" fmla="*/ 22437 w 754086"/>
                <a:gd name="connsiteY102" fmla="*/ 184742 h 634340"/>
                <a:gd name="connsiteX103" fmla="*/ 18413 w 754086"/>
                <a:gd name="connsiteY103" fmla="*/ 195716 h 634340"/>
                <a:gd name="connsiteX104" fmla="*/ 10853 w 754086"/>
                <a:gd name="connsiteY104" fmla="*/ 198765 h 634340"/>
                <a:gd name="connsiteX105" fmla="*/ 0 w 754086"/>
                <a:gd name="connsiteY105" fmla="*/ 209618 h 634340"/>
                <a:gd name="connsiteX106" fmla="*/ 9024 w 754086"/>
                <a:gd name="connsiteY106" fmla="*/ 217544 h 634340"/>
                <a:gd name="connsiteX107" fmla="*/ 15487 w 754086"/>
                <a:gd name="connsiteY107" fmla="*/ 217544 h 634340"/>
                <a:gd name="connsiteX108" fmla="*/ 29022 w 754086"/>
                <a:gd name="connsiteY108" fmla="*/ 219007 h 634340"/>
                <a:gd name="connsiteX109" fmla="*/ 37314 w 754086"/>
                <a:gd name="connsiteY109" fmla="*/ 227299 h 634340"/>
                <a:gd name="connsiteX110" fmla="*/ 28534 w 754086"/>
                <a:gd name="connsiteY110" fmla="*/ 231689 h 634340"/>
                <a:gd name="connsiteX111" fmla="*/ 19267 w 754086"/>
                <a:gd name="connsiteY111" fmla="*/ 231689 h 634340"/>
                <a:gd name="connsiteX112" fmla="*/ 27071 w 754086"/>
                <a:gd name="connsiteY112" fmla="*/ 243030 h 634340"/>
                <a:gd name="connsiteX113" fmla="*/ 34875 w 754086"/>
                <a:gd name="connsiteY113" fmla="*/ 254370 h 634340"/>
                <a:gd name="connsiteX114" fmla="*/ 53288 w 754086"/>
                <a:gd name="connsiteY114" fmla="*/ 254370 h 634340"/>
                <a:gd name="connsiteX115" fmla="*/ 68043 w 754086"/>
                <a:gd name="connsiteY115" fmla="*/ 249980 h 634340"/>
                <a:gd name="connsiteX116" fmla="*/ 79750 w 754086"/>
                <a:gd name="connsiteY116" fmla="*/ 255834 h 634340"/>
                <a:gd name="connsiteX117" fmla="*/ 96578 w 754086"/>
                <a:gd name="connsiteY117" fmla="*/ 257175 h 634340"/>
                <a:gd name="connsiteX118" fmla="*/ 103406 w 754086"/>
                <a:gd name="connsiteY118" fmla="*/ 247542 h 634340"/>
                <a:gd name="connsiteX119" fmla="*/ 114869 w 754086"/>
                <a:gd name="connsiteY119" fmla="*/ 244737 h 634340"/>
                <a:gd name="connsiteX120" fmla="*/ 122551 w 754086"/>
                <a:gd name="connsiteY120" fmla="*/ 237055 h 634340"/>
                <a:gd name="connsiteX121" fmla="*/ 142306 w 754086"/>
                <a:gd name="connsiteY121" fmla="*/ 243639 h 634340"/>
                <a:gd name="connsiteX122" fmla="*/ 142306 w 754086"/>
                <a:gd name="connsiteY122" fmla="*/ 258638 h 634340"/>
                <a:gd name="connsiteX123" fmla="*/ 130356 w 754086"/>
                <a:gd name="connsiteY123" fmla="*/ 258638 h 634340"/>
                <a:gd name="connsiteX124" fmla="*/ 129746 w 754086"/>
                <a:gd name="connsiteY124" fmla="*/ 260223 h 634340"/>
                <a:gd name="connsiteX125" fmla="*/ 142184 w 754086"/>
                <a:gd name="connsiteY125" fmla="*/ 274003 h 634340"/>
                <a:gd name="connsiteX126" fmla="*/ 143769 w 754086"/>
                <a:gd name="connsiteY126" fmla="*/ 291197 h 634340"/>
                <a:gd name="connsiteX127" fmla="*/ 123771 w 754086"/>
                <a:gd name="connsiteY127" fmla="*/ 315707 h 634340"/>
                <a:gd name="connsiteX128" fmla="*/ 111820 w 754086"/>
                <a:gd name="connsiteY128" fmla="*/ 311317 h 634340"/>
                <a:gd name="connsiteX129" fmla="*/ 99870 w 754086"/>
                <a:gd name="connsiteY129" fmla="*/ 316560 h 634340"/>
                <a:gd name="connsiteX130" fmla="*/ 80116 w 754086"/>
                <a:gd name="connsiteY130" fmla="*/ 325706 h 634340"/>
                <a:gd name="connsiteX131" fmla="*/ 72189 w 754086"/>
                <a:gd name="connsiteY131" fmla="*/ 317780 h 634340"/>
                <a:gd name="connsiteX132" fmla="*/ 59873 w 754086"/>
                <a:gd name="connsiteY132" fmla="*/ 333998 h 634340"/>
                <a:gd name="connsiteX133" fmla="*/ 56947 w 754086"/>
                <a:gd name="connsiteY133" fmla="*/ 349973 h 634340"/>
                <a:gd name="connsiteX134" fmla="*/ 49630 w 754086"/>
                <a:gd name="connsiteY134" fmla="*/ 354362 h 634340"/>
                <a:gd name="connsiteX135" fmla="*/ 39753 w 754086"/>
                <a:gd name="connsiteY135" fmla="*/ 378141 h 634340"/>
                <a:gd name="connsiteX136" fmla="*/ 36095 w 754086"/>
                <a:gd name="connsiteY136" fmla="*/ 381921 h 634340"/>
                <a:gd name="connsiteX137" fmla="*/ 38534 w 754086"/>
                <a:gd name="connsiteY137" fmla="*/ 393140 h 634340"/>
                <a:gd name="connsiteX138" fmla="*/ 45972 w 754086"/>
                <a:gd name="connsiteY138" fmla="*/ 404358 h 634340"/>
                <a:gd name="connsiteX139" fmla="*/ 51581 w 754086"/>
                <a:gd name="connsiteY139" fmla="*/ 403017 h 634340"/>
                <a:gd name="connsiteX140" fmla="*/ 57313 w 754086"/>
                <a:gd name="connsiteY140" fmla="*/ 410578 h 634340"/>
                <a:gd name="connsiteX141" fmla="*/ 52435 w 754086"/>
                <a:gd name="connsiteY141" fmla="*/ 428503 h 634340"/>
                <a:gd name="connsiteX142" fmla="*/ 46948 w 754086"/>
                <a:gd name="connsiteY142" fmla="*/ 429356 h 634340"/>
                <a:gd name="connsiteX143" fmla="*/ 74141 w 754086"/>
                <a:gd name="connsiteY143" fmla="*/ 454233 h 634340"/>
                <a:gd name="connsiteX144" fmla="*/ 87188 w 754086"/>
                <a:gd name="connsiteY144" fmla="*/ 452891 h 634340"/>
                <a:gd name="connsiteX145" fmla="*/ 101333 w 754086"/>
                <a:gd name="connsiteY145" fmla="*/ 449111 h 634340"/>
                <a:gd name="connsiteX146" fmla="*/ 102187 w 754086"/>
                <a:gd name="connsiteY146" fmla="*/ 440697 h 634340"/>
                <a:gd name="connsiteX147" fmla="*/ 111942 w 754086"/>
                <a:gd name="connsiteY147" fmla="*/ 437405 h 634340"/>
                <a:gd name="connsiteX148" fmla="*/ 111942 w 754086"/>
                <a:gd name="connsiteY148" fmla="*/ 453257 h 634340"/>
                <a:gd name="connsiteX149" fmla="*/ 115723 w 754086"/>
                <a:gd name="connsiteY149" fmla="*/ 466183 h 634340"/>
                <a:gd name="connsiteX150" fmla="*/ 119625 w 754086"/>
                <a:gd name="connsiteY150" fmla="*/ 487645 h 634340"/>
                <a:gd name="connsiteX151" fmla="*/ 116576 w 754086"/>
                <a:gd name="connsiteY151" fmla="*/ 499473 h 634340"/>
                <a:gd name="connsiteX152" fmla="*/ 124137 w 754086"/>
                <a:gd name="connsiteY152" fmla="*/ 497034 h 634340"/>
                <a:gd name="connsiteX153" fmla="*/ 145964 w 754086"/>
                <a:gd name="connsiteY153" fmla="*/ 485084 h 634340"/>
                <a:gd name="connsiteX154" fmla="*/ 154256 w 754086"/>
                <a:gd name="connsiteY154" fmla="*/ 491303 h 634340"/>
                <a:gd name="connsiteX155" fmla="*/ 162182 w 754086"/>
                <a:gd name="connsiteY155" fmla="*/ 493254 h 634340"/>
                <a:gd name="connsiteX156" fmla="*/ 169865 w 754086"/>
                <a:gd name="connsiteY156" fmla="*/ 504716 h 634340"/>
                <a:gd name="connsiteX157" fmla="*/ 172791 w 754086"/>
                <a:gd name="connsiteY157" fmla="*/ 505692 h 634340"/>
                <a:gd name="connsiteX158" fmla="*/ 178644 w 754086"/>
                <a:gd name="connsiteY158" fmla="*/ 488254 h 634340"/>
                <a:gd name="connsiteX159" fmla="*/ 190229 w 754086"/>
                <a:gd name="connsiteY159" fmla="*/ 495083 h 634340"/>
                <a:gd name="connsiteX160" fmla="*/ 195107 w 754086"/>
                <a:gd name="connsiteY160" fmla="*/ 496790 h 634340"/>
                <a:gd name="connsiteX161" fmla="*/ 203521 w 754086"/>
                <a:gd name="connsiteY161" fmla="*/ 495083 h 634340"/>
                <a:gd name="connsiteX162" fmla="*/ 215105 w 754086"/>
                <a:gd name="connsiteY162" fmla="*/ 485815 h 634340"/>
                <a:gd name="connsiteX163" fmla="*/ 217910 w 754086"/>
                <a:gd name="connsiteY163" fmla="*/ 497156 h 634340"/>
                <a:gd name="connsiteX164" fmla="*/ 206569 w 754086"/>
                <a:gd name="connsiteY164" fmla="*/ 525812 h 634340"/>
                <a:gd name="connsiteX165" fmla="*/ 206569 w 754086"/>
                <a:gd name="connsiteY165" fmla="*/ 545811 h 634340"/>
                <a:gd name="connsiteX166" fmla="*/ 190595 w 754086"/>
                <a:gd name="connsiteY166" fmla="*/ 551786 h 634340"/>
                <a:gd name="connsiteX167" fmla="*/ 177303 w 754086"/>
                <a:gd name="connsiteY167" fmla="*/ 568736 h 634340"/>
                <a:gd name="connsiteX168" fmla="*/ 158524 w 754086"/>
                <a:gd name="connsiteY168" fmla="*/ 581783 h 634340"/>
                <a:gd name="connsiteX169" fmla="*/ 150598 w 754086"/>
                <a:gd name="connsiteY169" fmla="*/ 590685 h 634340"/>
                <a:gd name="connsiteX170" fmla="*/ 147549 w 754086"/>
                <a:gd name="connsiteY170" fmla="*/ 602392 h 634340"/>
                <a:gd name="connsiteX171" fmla="*/ 140111 w 754086"/>
                <a:gd name="connsiteY171" fmla="*/ 606172 h 634340"/>
                <a:gd name="connsiteX172" fmla="*/ 131331 w 754086"/>
                <a:gd name="connsiteY172" fmla="*/ 601782 h 634340"/>
                <a:gd name="connsiteX173" fmla="*/ 119747 w 754086"/>
                <a:gd name="connsiteY173" fmla="*/ 604343 h 634340"/>
                <a:gd name="connsiteX174" fmla="*/ 104870 w 754086"/>
                <a:gd name="connsiteY174" fmla="*/ 616537 h 634340"/>
                <a:gd name="connsiteX175" fmla="*/ 96334 w 754086"/>
                <a:gd name="connsiteY175" fmla="*/ 629341 h 634340"/>
                <a:gd name="connsiteX176" fmla="*/ 89993 w 754086"/>
                <a:gd name="connsiteY176" fmla="*/ 634340 h 634340"/>
                <a:gd name="connsiteX177" fmla="*/ 95602 w 754086"/>
                <a:gd name="connsiteY177" fmla="*/ 634340 h 634340"/>
                <a:gd name="connsiteX178" fmla="*/ 112796 w 754086"/>
                <a:gd name="connsiteY178" fmla="*/ 625073 h 634340"/>
                <a:gd name="connsiteX179" fmla="*/ 117430 w 754086"/>
                <a:gd name="connsiteY179" fmla="*/ 611171 h 634340"/>
                <a:gd name="connsiteX180" fmla="*/ 125600 w 754086"/>
                <a:gd name="connsiteY180" fmla="*/ 613244 h 634340"/>
                <a:gd name="connsiteX181" fmla="*/ 129624 w 754086"/>
                <a:gd name="connsiteY181" fmla="*/ 617269 h 634340"/>
                <a:gd name="connsiteX182" fmla="*/ 138160 w 754086"/>
                <a:gd name="connsiteY182" fmla="*/ 617269 h 634340"/>
                <a:gd name="connsiteX183" fmla="*/ 157549 w 754086"/>
                <a:gd name="connsiteY183" fmla="*/ 606172 h 634340"/>
                <a:gd name="connsiteX184" fmla="*/ 169255 w 754086"/>
                <a:gd name="connsiteY184" fmla="*/ 598977 h 634340"/>
                <a:gd name="connsiteX185" fmla="*/ 180839 w 754086"/>
                <a:gd name="connsiteY185" fmla="*/ 595075 h 634340"/>
                <a:gd name="connsiteX186" fmla="*/ 182181 w 754086"/>
                <a:gd name="connsiteY186" fmla="*/ 589832 h 634340"/>
                <a:gd name="connsiteX187" fmla="*/ 214008 w 754086"/>
                <a:gd name="connsiteY187" fmla="*/ 565321 h 634340"/>
                <a:gd name="connsiteX188" fmla="*/ 221690 w 754086"/>
                <a:gd name="connsiteY188" fmla="*/ 558858 h 634340"/>
                <a:gd name="connsiteX189" fmla="*/ 221690 w 754086"/>
                <a:gd name="connsiteY189" fmla="*/ 548859 h 634340"/>
                <a:gd name="connsiteX190" fmla="*/ 241079 w 754086"/>
                <a:gd name="connsiteY190" fmla="*/ 535446 h 634340"/>
                <a:gd name="connsiteX191" fmla="*/ 254004 w 754086"/>
                <a:gd name="connsiteY191" fmla="*/ 525447 h 634340"/>
                <a:gd name="connsiteX192" fmla="*/ 268759 w 754086"/>
                <a:gd name="connsiteY192" fmla="*/ 517398 h 634340"/>
                <a:gd name="connsiteX193" fmla="*/ 271564 w 754086"/>
                <a:gd name="connsiteY193" fmla="*/ 501546 h 634340"/>
                <a:gd name="connsiteX194" fmla="*/ 281075 w 754086"/>
                <a:gd name="connsiteY194" fmla="*/ 498741 h 634340"/>
                <a:gd name="connsiteX195" fmla="*/ 279978 w 754086"/>
                <a:gd name="connsiteY195" fmla="*/ 485450 h 634340"/>
                <a:gd name="connsiteX196" fmla="*/ 270223 w 754086"/>
                <a:gd name="connsiteY196" fmla="*/ 485450 h 634340"/>
                <a:gd name="connsiteX197" fmla="*/ 268393 w 754086"/>
                <a:gd name="connsiteY197" fmla="*/ 475816 h 634340"/>
                <a:gd name="connsiteX198" fmla="*/ 279368 w 754086"/>
                <a:gd name="connsiteY198" fmla="*/ 459964 h 634340"/>
                <a:gd name="connsiteX199" fmla="*/ 292294 w 754086"/>
                <a:gd name="connsiteY199" fmla="*/ 459964 h 634340"/>
                <a:gd name="connsiteX200" fmla="*/ 300952 w 754086"/>
                <a:gd name="connsiteY200" fmla="*/ 450209 h 634340"/>
                <a:gd name="connsiteX201" fmla="*/ 298147 w 754086"/>
                <a:gd name="connsiteY201" fmla="*/ 437405 h 634340"/>
                <a:gd name="connsiteX202" fmla="*/ 336315 w 754086"/>
                <a:gd name="connsiteY202" fmla="*/ 388994 h 634340"/>
                <a:gd name="connsiteX203" fmla="*/ 350582 w 754086"/>
                <a:gd name="connsiteY203" fmla="*/ 390335 h 634340"/>
                <a:gd name="connsiteX204" fmla="*/ 357533 w 754086"/>
                <a:gd name="connsiteY204" fmla="*/ 382043 h 634340"/>
                <a:gd name="connsiteX205" fmla="*/ 368142 w 754086"/>
                <a:gd name="connsiteY205" fmla="*/ 382043 h 634340"/>
                <a:gd name="connsiteX206" fmla="*/ 363020 w 754086"/>
                <a:gd name="connsiteY206" fmla="*/ 407651 h 634340"/>
                <a:gd name="connsiteX207" fmla="*/ 363020 w 754086"/>
                <a:gd name="connsiteY207" fmla="*/ 407651 h 634340"/>
                <a:gd name="connsiteX208" fmla="*/ 349241 w 754086"/>
                <a:gd name="connsiteY208" fmla="*/ 406188 h 634340"/>
                <a:gd name="connsiteX209" fmla="*/ 331071 w 754086"/>
                <a:gd name="connsiteY209" fmla="*/ 419113 h 634340"/>
                <a:gd name="connsiteX210" fmla="*/ 332413 w 754086"/>
                <a:gd name="connsiteY210" fmla="*/ 426918 h 634340"/>
                <a:gd name="connsiteX211" fmla="*/ 321072 w 754086"/>
                <a:gd name="connsiteY211" fmla="*/ 455086 h 634340"/>
                <a:gd name="connsiteX212" fmla="*/ 321804 w 754086"/>
                <a:gd name="connsiteY212" fmla="*/ 457891 h 634340"/>
                <a:gd name="connsiteX213" fmla="*/ 324852 w 754086"/>
                <a:gd name="connsiteY213" fmla="*/ 456915 h 634340"/>
                <a:gd name="connsiteX214" fmla="*/ 332047 w 754086"/>
                <a:gd name="connsiteY214" fmla="*/ 461793 h 634340"/>
                <a:gd name="connsiteX215" fmla="*/ 325706 w 754086"/>
                <a:gd name="connsiteY215" fmla="*/ 468012 h 634340"/>
                <a:gd name="connsiteX216" fmla="*/ 320341 w 754086"/>
                <a:gd name="connsiteY216" fmla="*/ 470695 h 634340"/>
                <a:gd name="connsiteX217" fmla="*/ 319365 w 754086"/>
                <a:gd name="connsiteY217" fmla="*/ 472768 h 634340"/>
                <a:gd name="connsiteX218" fmla="*/ 332413 w 754086"/>
                <a:gd name="connsiteY218" fmla="*/ 472768 h 634340"/>
                <a:gd name="connsiteX219" fmla="*/ 352777 w 754086"/>
                <a:gd name="connsiteY219" fmla="*/ 460452 h 634340"/>
                <a:gd name="connsiteX220" fmla="*/ 363142 w 754086"/>
                <a:gd name="connsiteY220" fmla="*/ 445819 h 634340"/>
                <a:gd name="connsiteX221" fmla="*/ 383994 w 754086"/>
                <a:gd name="connsiteY221" fmla="*/ 445819 h 634340"/>
                <a:gd name="connsiteX222" fmla="*/ 388994 w 754086"/>
                <a:gd name="connsiteY222" fmla="*/ 430942 h 634340"/>
                <a:gd name="connsiteX223" fmla="*/ 385945 w 754086"/>
                <a:gd name="connsiteY223" fmla="*/ 422040 h 634340"/>
                <a:gd name="connsiteX224" fmla="*/ 388018 w 754086"/>
                <a:gd name="connsiteY224" fmla="*/ 419113 h 634340"/>
                <a:gd name="connsiteX225" fmla="*/ 380458 w 754086"/>
                <a:gd name="connsiteY225" fmla="*/ 416065 h 634340"/>
                <a:gd name="connsiteX226" fmla="*/ 397530 w 754086"/>
                <a:gd name="connsiteY226" fmla="*/ 397408 h 634340"/>
                <a:gd name="connsiteX227" fmla="*/ 406675 w 754086"/>
                <a:gd name="connsiteY227" fmla="*/ 399603 h 634340"/>
                <a:gd name="connsiteX228" fmla="*/ 403993 w 754086"/>
                <a:gd name="connsiteY228" fmla="*/ 407529 h 634340"/>
                <a:gd name="connsiteX229" fmla="*/ 409236 w 754086"/>
                <a:gd name="connsiteY229" fmla="*/ 407529 h 634340"/>
                <a:gd name="connsiteX230" fmla="*/ 423503 w 754086"/>
                <a:gd name="connsiteY230" fmla="*/ 402773 h 634340"/>
                <a:gd name="connsiteX231" fmla="*/ 428259 w 754086"/>
                <a:gd name="connsiteY231" fmla="*/ 413870 h 634340"/>
                <a:gd name="connsiteX232" fmla="*/ 446794 w 754086"/>
                <a:gd name="connsiteY232" fmla="*/ 425820 h 634340"/>
                <a:gd name="connsiteX233" fmla="*/ 458500 w 754086"/>
                <a:gd name="connsiteY233" fmla="*/ 422894 h 634340"/>
                <a:gd name="connsiteX234" fmla="*/ 463988 w 754086"/>
                <a:gd name="connsiteY234" fmla="*/ 428503 h 634340"/>
                <a:gd name="connsiteX235" fmla="*/ 466671 w 754086"/>
                <a:gd name="connsiteY235" fmla="*/ 442892 h 634340"/>
                <a:gd name="connsiteX236" fmla="*/ 490693 w 754086"/>
                <a:gd name="connsiteY236" fmla="*/ 443014 h 634340"/>
                <a:gd name="connsiteX237" fmla="*/ 502521 w 754086"/>
                <a:gd name="connsiteY237" fmla="*/ 444477 h 634340"/>
                <a:gd name="connsiteX238" fmla="*/ 509228 w 754086"/>
                <a:gd name="connsiteY238" fmla="*/ 447160 h 634340"/>
                <a:gd name="connsiteX239" fmla="*/ 529592 w 754086"/>
                <a:gd name="connsiteY239" fmla="*/ 447160 h 634340"/>
                <a:gd name="connsiteX240" fmla="*/ 533982 w 754086"/>
                <a:gd name="connsiteY240" fmla="*/ 451672 h 634340"/>
                <a:gd name="connsiteX241" fmla="*/ 552396 w 754086"/>
                <a:gd name="connsiteY241" fmla="*/ 455574 h 634340"/>
                <a:gd name="connsiteX242" fmla="*/ 566053 w 754086"/>
                <a:gd name="connsiteY242" fmla="*/ 447038 h 634340"/>
                <a:gd name="connsiteX243" fmla="*/ 567638 w 754086"/>
                <a:gd name="connsiteY243" fmla="*/ 467646 h 634340"/>
                <a:gd name="connsiteX244" fmla="*/ 592758 w 754086"/>
                <a:gd name="connsiteY244" fmla="*/ 477401 h 634340"/>
                <a:gd name="connsiteX245" fmla="*/ 598611 w 754086"/>
                <a:gd name="connsiteY245" fmla="*/ 493620 h 634340"/>
                <a:gd name="connsiteX246" fmla="*/ 610440 w 754086"/>
                <a:gd name="connsiteY246" fmla="*/ 506667 h 634340"/>
                <a:gd name="connsiteX247" fmla="*/ 629341 w 754086"/>
                <a:gd name="connsiteY247" fmla="*/ 505570 h 634340"/>
                <a:gd name="connsiteX248" fmla="*/ 624219 w 754086"/>
                <a:gd name="connsiteY248" fmla="*/ 499351 h 634340"/>
                <a:gd name="connsiteX249" fmla="*/ 626536 w 754086"/>
                <a:gd name="connsiteY249" fmla="*/ 492522 h 634340"/>
                <a:gd name="connsiteX250" fmla="*/ 636047 w 754086"/>
                <a:gd name="connsiteY250" fmla="*/ 492522 h 634340"/>
                <a:gd name="connsiteX251" fmla="*/ 644583 w 754086"/>
                <a:gd name="connsiteY251" fmla="*/ 502521 h 634340"/>
                <a:gd name="connsiteX252" fmla="*/ 646169 w 754086"/>
                <a:gd name="connsiteY252" fmla="*/ 502521 h 634340"/>
                <a:gd name="connsiteX253" fmla="*/ 651656 w 754086"/>
                <a:gd name="connsiteY253" fmla="*/ 480694 h 634340"/>
                <a:gd name="connsiteX254" fmla="*/ 659338 w 754086"/>
                <a:gd name="connsiteY254" fmla="*/ 500083 h 634340"/>
                <a:gd name="connsiteX255" fmla="*/ 667508 w 754086"/>
                <a:gd name="connsiteY255" fmla="*/ 502887 h 634340"/>
                <a:gd name="connsiteX256" fmla="*/ 676532 w 754086"/>
                <a:gd name="connsiteY256" fmla="*/ 508862 h 634340"/>
                <a:gd name="connsiteX257" fmla="*/ 688238 w 754086"/>
                <a:gd name="connsiteY257" fmla="*/ 536909 h 634340"/>
                <a:gd name="connsiteX258" fmla="*/ 690921 w 754086"/>
                <a:gd name="connsiteY258" fmla="*/ 554591 h 634340"/>
                <a:gd name="connsiteX259" fmla="*/ 700189 w 754086"/>
                <a:gd name="connsiteY259" fmla="*/ 563858 h 634340"/>
                <a:gd name="connsiteX260" fmla="*/ 707993 w 754086"/>
                <a:gd name="connsiteY260" fmla="*/ 568614 h 634340"/>
                <a:gd name="connsiteX261" fmla="*/ 709456 w 754086"/>
                <a:gd name="connsiteY261" fmla="*/ 586173 h 634340"/>
                <a:gd name="connsiteX262" fmla="*/ 716529 w 754086"/>
                <a:gd name="connsiteY262" fmla="*/ 597392 h 634340"/>
                <a:gd name="connsiteX263" fmla="*/ 717870 w 754086"/>
                <a:gd name="connsiteY263" fmla="*/ 606538 h 634340"/>
                <a:gd name="connsiteX264" fmla="*/ 721772 w 754086"/>
                <a:gd name="connsiteY264" fmla="*/ 607757 h 634340"/>
                <a:gd name="connsiteX265" fmla="*/ 724577 w 754086"/>
                <a:gd name="connsiteY265" fmla="*/ 614708 h 634340"/>
                <a:gd name="connsiteX266" fmla="*/ 737625 w 754086"/>
                <a:gd name="connsiteY266" fmla="*/ 617634 h 634340"/>
                <a:gd name="connsiteX267" fmla="*/ 740430 w 754086"/>
                <a:gd name="connsiteY267" fmla="*/ 632877 h 634340"/>
                <a:gd name="connsiteX268" fmla="*/ 743234 w 754086"/>
                <a:gd name="connsiteY268" fmla="*/ 632877 h 634340"/>
                <a:gd name="connsiteX269" fmla="*/ 748356 w 754086"/>
                <a:gd name="connsiteY269" fmla="*/ 633853 h 634340"/>
                <a:gd name="connsiteX270" fmla="*/ 748478 w 754086"/>
                <a:gd name="connsiteY270" fmla="*/ 633609 h 634340"/>
                <a:gd name="connsiteX271" fmla="*/ 750429 w 754086"/>
                <a:gd name="connsiteY271" fmla="*/ 631048 h 634340"/>
                <a:gd name="connsiteX272" fmla="*/ 752502 w 754086"/>
                <a:gd name="connsiteY272" fmla="*/ 628243 h 634340"/>
                <a:gd name="connsiteX273" fmla="*/ 750795 w 754086"/>
                <a:gd name="connsiteY273" fmla="*/ 615074 h 634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</a:cxnLst>
              <a:rect l="l" t="t" r="r" b="b"/>
              <a:pathLst>
                <a:path w="754086" h="634340">
                  <a:moveTo>
                    <a:pt x="750795" y="615074"/>
                  </a:moveTo>
                  <a:lnTo>
                    <a:pt x="750673" y="614098"/>
                  </a:lnTo>
                  <a:lnTo>
                    <a:pt x="750916" y="613123"/>
                  </a:lnTo>
                  <a:lnTo>
                    <a:pt x="754087" y="597270"/>
                  </a:lnTo>
                  <a:lnTo>
                    <a:pt x="730064" y="581783"/>
                  </a:lnTo>
                  <a:lnTo>
                    <a:pt x="729455" y="581418"/>
                  </a:lnTo>
                  <a:lnTo>
                    <a:pt x="729089" y="580930"/>
                  </a:lnTo>
                  <a:lnTo>
                    <a:pt x="714334" y="566297"/>
                  </a:lnTo>
                  <a:lnTo>
                    <a:pt x="713480" y="565443"/>
                  </a:lnTo>
                  <a:lnTo>
                    <a:pt x="713115" y="564468"/>
                  </a:lnTo>
                  <a:lnTo>
                    <a:pt x="689092" y="509106"/>
                  </a:lnTo>
                  <a:lnTo>
                    <a:pt x="677142" y="500570"/>
                  </a:lnTo>
                  <a:lnTo>
                    <a:pt x="676044" y="499717"/>
                  </a:lnTo>
                  <a:lnTo>
                    <a:pt x="675435" y="498619"/>
                  </a:lnTo>
                  <a:lnTo>
                    <a:pt x="670435" y="489961"/>
                  </a:lnTo>
                  <a:lnTo>
                    <a:pt x="660924" y="473255"/>
                  </a:lnTo>
                  <a:lnTo>
                    <a:pt x="656046" y="469719"/>
                  </a:lnTo>
                  <a:lnTo>
                    <a:pt x="647998" y="463500"/>
                  </a:lnTo>
                  <a:lnTo>
                    <a:pt x="635804" y="466549"/>
                  </a:lnTo>
                  <a:lnTo>
                    <a:pt x="622146" y="482035"/>
                  </a:lnTo>
                  <a:lnTo>
                    <a:pt x="620317" y="483986"/>
                  </a:lnTo>
                  <a:lnTo>
                    <a:pt x="607025" y="483986"/>
                  </a:lnTo>
                  <a:lnTo>
                    <a:pt x="605196" y="481304"/>
                  </a:lnTo>
                  <a:lnTo>
                    <a:pt x="589344" y="457525"/>
                  </a:lnTo>
                  <a:lnTo>
                    <a:pt x="575686" y="437161"/>
                  </a:lnTo>
                  <a:lnTo>
                    <a:pt x="573979" y="435088"/>
                  </a:lnTo>
                  <a:lnTo>
                    <a:pt x="568736" y="428747"/>
                  </a:lnTo>
                  <a:lnTo>
                    <a:pt x="565321" y="431430"/>
                  </a:lnTo>
                  <a:lnTo>
                    <a:pt x="562639" y="440453"/>
                  </a:lnTo>
                  <a:lnTo>
                    <a:pt x="560322" y="448623"/>
                  </a:lnTo>
                  <a:lnTo>
                    <a:pt x="553371" y="443868"/>
                  </a:lnTo>
                  <a:lnTo>
                    <a:pt x="543738" y="437283"/>
                  </a:lnTo>
                  <a:lnTo>
                    <a:pt x="534592" y="431064"/>
                  </a:lnTo>
                  <a:lnTo>
                    <a:pt x="532031" y="429235"/>
                  </a:lnTo>
                  <a:lnTo>
                    <a:pt x="532031" y="57069"/>
                  </a:lnTo>
                  <a:lnTo>
                    <a:pt x="512399" y="49752"/>
                  </a:lnTo>
                  <a:lnTo>
                    <a:pt x="503619" y="47191"/>
                  </a:lnTo>
                  <a:lnTo>
                    <a:pt x="499595" y="43899"/>
                  </a:lnTo>
                  <a:lnTo>
                    <a:pt x="482035" y="43167"/>
                  </a:lnTo>
                  <a:lnTo>
                    <a:pt x="456184" y="47435"/>
                  </a:lnTo>
                  <a:lnTo>
                    <a:pt x="433259" y="39631"/>
                  </a:lnTo>
                  <a:lnTo>
                    <a:pt x="419845" y="38899"/>
                  </a:lnTo>
                  <a:lnTo>
                    <a:pt x="413992" y="40607"/>
                  </a:lnTo>
                  <a:lnTo>
                    <a:pt x="388994" y="36217"/>
                  </a:lnTo>
                  <a:lnTo>
                    <a:pt x="374970" y="28656"/>
                  </a:lnTo>
                  <a:lnTo>
                    <a:pt x="357167" y="27803"/>
                  </a:lnTo>
                  <a:lnTo>
                    <a:pt x="336071" y="30363"/>
                  </a:lnTo>
                  <a:lnTo>
                    <a:pt x="321560" y="32924"/>
                  </a:lnTo>
                  <a:lnTo>
                    <a:pt x="306317" y="29022"/>
                  </a:lnTo>
                  <a:lnTo>
                    <a:pt x="314609" y="24022"/>
                  </a:lnTo>
                  <a:lnTo>
                    <a:pt x="296562" y="20242"/>
                  </a:lnTo>
                  <a:lnTo>
                    <a:pt x="301562" y="14145"/>
                  </a:lnTo>
                  <a:lnTo>
                    <a:pt x="287904" y="14145"/>
                  </a:lnTo>
                  <a:lnTo>
                    <a:pt x="273149" y="18657"/>
                  </a:lnTo>
                  <a:lnTo>
                    <a:pt x="257419" y="9999"/>
                  </a:lnTo>
                  <a:lnTo>
                    <a:pt x="249249" y="10731"/>
                  </a:lnTo>
                  <a:lnTo>
                    <a:pt x="246444" y="16706"/>
                  </a:lnTo>
                  <a:lnTo>
                    <a:pt x="237420" y="16706"/>
                  </a:lnTo>
                  <a:lnTo>
                    <a:pt x="223275" y="9511"/>
                  </a:lnTo>
                  <a:lnTo>
                    <a:pt x="234616" y="4024"/>
                  </a:lnTo>
                  <a:lnTo>
                    <a:pt x="233030" y="3902"/>
                  </a:lnTo>
                  <a:lnTo>
                    <a:pt x="222665" y="0"/>
                  </a:lnTo>
                  <a:lnTo>
                    <a:pt x="197545" y="15852"/>
                  </a:lnTo>
                  <a:lnTo>
                    <a:pt x="175230" y="16706"/>
                  </a:lnTo>
                  <a:lnTo>
                    <a:pt x="171450" y="15243"/>
                  </a:lnTo>
                  <a:lnTo>
                    <a:pt x="132185" y="35485"/>
                  </a:lnTo>
                  <a:lnTo>
                    <a:pt x="124868" y="35485"/>
                  </a:lnTo>
                  <a:lnTo>
                    <a:pt x="105845" y="41948"/>
                  </a:lnTo>
                  <a:lnTo>
                    <a:pt x="96578" y="52313"/>
                  </a:lnTo>
                  <a:lnTo>
                    <a:pt x="89383" y="74750"/>
                  </a:lnTo>
                  <a:lnTo>
                    <a:pt x="69751" y="85603"/>
                  </a:lnTo>
                  <a:lnTo>
                    <a:pt x="29998" y="86457"/>
                  </a:lnTo>
                  <a:lnTo>
                    <a:pt x="28656" y="98895"/>
                  </a:lnTo>
                  <a:lnTo>
                    <a:pt x="24510" y="99748"/>
                  </a:lnTo>
                  <a:lnTo>
                    <a:pt x="28900" y="101943"/>
                  </a:lnTo>
                  <a:lnTo>
                    <a:pt x="38655" y="105358"/>
                  </a:lnTo>
                  <a:lnTo>
                    <a:pt x="57678" y="113284"/>
                  </a:lnTo>
                  <a:lnTo>
                    <a:pt x="76823" y="126575"/>
                  </a:lnTo>
                  <a:lnTo>
                    <a:pt x="78165" y="137916"/>
                  </a:lnTo>
                  <a:lnTo>
                    <a:pt x="85237" y="139257"/>
                  </a:lnTo>
                  <a:lnTo>
                    <a:pt x="93529" y="140111"/>
                  </a:lnTo>
                  <a:lnTo>
                    <a:pt x="111577" y="140111"/>
                  </a:lnTo>
                  <a:lnTo>
                    <a:pt x="117674" y="139257"/>
                  </a:lnTo>
                  <a:lnTo>
                    <a:pt x="127795" y="142794"/>
                  </a:lnTo>
                  <a:lnTo>
                    <a:pt x="123283" y="149622"/>
                  </a:lnTo>
                  <a:lnTo>
                    <a:pt x="119259" y="154012"/>
                  </a:lnTo>
                  <a:lnTo>
                    <a:pt x="128892" y="160475"/>
                  </a:lnTo>
                  <a:lnTo>
                    <a:pt x="139501" y="155232"/>
                  </a:lnTo>
                  <a:lnTo>
                    <a:pt x="158158" y="153646"/>
                  </a:lnTo>
                  <a:lnTo>
                    <a:pt x="165841" y="163280"/>
                  </a:lnTo>
                  <a:lnTo>
                    <a:pt x="158036" y="169255"/>
                  </a:lnTo>
                  <a:lnTo>
                    <a:pt x="138891" y="171938"/>
                  </a:lnTo>
                  <a:lnTo>
                    <a:pt x="134502" y="184985"/>
                  </a:lnTo>
                  <a:lnTo>
                    <a:pt x="125234" y="184985"/>
                  </a:lnTo>
                  <a:lnTo>
                    <a:pt x="116454" y="192302"/>
                  </a:lnTo>
                  <a:lnTo>
                    <a:pt x="93163" y="184985"/>
                  </a:lnTo>
                  <a:lnTo>
                    <a:pt x="70848" y="188156"/>
                  </a:lnTo>
                  <a:lnTo>
                    <a:pt x="72799" y="176815"/>
                  </a:lnTo>
                  <a:lnTo>
                    <a:pt x="73775" y="169499"/>
                  </a:lnTo>
                  <a:lnTo>
                    <a:pt x="58166" y="170718"/>
                  </a:lnTo>
                  <a:lnTo>
                    <a:pt x="42192" y="174742"/>
                  </a:lnTo>
                  <a:lnTo>
                    <a:pt x="36339" y="183400"/>
                  </a:lnTo>
                  <a:lnTo>
                    <a:pt x="22437" y="184742"/>
                  </a:lnTo>
                  <a:lnTo>
                    <a:pt x="18413" y="195716"/>
                  </a:lnTo>
                  <a:lnTo>
                    <a:pt x="10853" y="198765"/>
                  </a:lnTo>
                  <a:lnTo>
                    <a:pt x="0" y="209618"/>
                  </a:lnTo>
                  <a:lnTo>
                    <a:pt x="9024" y="217544"/>
                  </a:lnTo>
                  <a:lnTo>
                    <a:pt x="15487" y="217544"/>
                  </a:lnTo>
                  <a:lnTo>
                    <a:pt x="29022" y="219007"/>
                  </a:lnTo>
                  <a:lnTo>
                    <a:pt x="37314" y="227299"/>
                  </a:lnTo>
                  <a:lnTo>
                    <a:pt x="28534" y="231689"/>
                  </a:lnTo>
                  <a:lnTo>
                    <a:pt x="19267" y="231689"/>
                  </a:lnTo>
                  <a:lnTo>
                    <a:pt x="27071" y="243030"/>
                  </a:lnTo>
                  <a:lnTo>
                    <a:pt x="34875" y="254370"/>
                  </a:lnTo>
                  <a:lnTo>
                    <a:pt x="53288" y="254370"/>
                  </a:lnTo>
                  <a:lnTo>
                    <a:pt x="68043" y="249980"/>
                  </a:lnTo>
                  <a:lnTo>
                    <a:pt x="79750" y="255834"/>
                  </a:lnTo>
                  <a:lnTo>
                    <a:pt x="96578" y="257175"/>
                  </a:lnTo>
                  <a:lnTo>
                    <a:pt x="103406" y="247542"/>
                  </a:lnTo>
                  <a:lnTo>
                    <a:pt x="114869" y="244737"/>
                  </a:lnTo>
                  <a:lnTo>
                    <a:pt x="122551" y="237055"/>
                  </a:lnTo>
                  <a:lnTo>
                    <a:pt x="142306" y="243639"/>
                  </a:lnTo>
                  <a:lnTo>
                    <a:pt x="142306" y="258638"/>
                  </a:lnTo>
                  <a:lnTo>
                    <a:pt x="130356" y="258638"/>
                  </a:lnTo>
                  <a:lnTo>
                    <a:pt x="129746" y="260223"/>
                  </a:lnTo>
                  <a:lnTo>
                    <a:pt x="142184" y="274003"/>
                  </a:lnTo>
                  <a:lnTo>
                    <a:pt x="143769" y="291197"/>
                  </a:lnTo>
                  <a:lnTo>
                    <a:pt x="123771" y="315707"/>
                  </a:lnTo>
                  <a:lnTo>
                    <a:pt x="111820" y="311317"/>
                  </a:lnTo>
                  <a:lnTo>
                    <a:pt x="99870" y="316560"/>
                  </a:lnTo>
                  <a:lnTo>
                    <a:pt x="80116" y="325706"/>
                  </a:lnTo>
                  <a:lnTo>
                    <a:pt x="72189" y="317780"/>
                  </a:lnTo>
                  <a:lnTo>
                    <a:pt x="59873" y="333998"/>
                  </a:lnTo>
                  <a:lnTo>
                    <a:pt x="56947" y="349973"/>
                  </a:lnTo>
                  <a:lnTo>
                    <a:pt x="49630" y="354362"/>
                  </a:lnTo>
                  <a:lnTo>
                    <a:pt x="39753" y="378141"/>
                  </a:lnTo>
                  <a:lnTo>
                    <a:pt x="36095" y="381921"/>
                  </a:lnTo>
                  <a:lnTo>
                    <a:pt x="38534" y="393140"/>
                  </a:lnTo>
                  <a:lnTo>
                    <a:pt x="45972" y="404358"/>
                  </a:lnTo>
                  <a:lnTo>
                    <a:pt x="51581" y="403017"/>
                  </a:lnTo>
                  <a:lnTo>
                    <a:pt x="57313" y="410578"/>
                  </a:lnTo>
                  <a:lnTo>
                    <a:pt x="52435" y="428503"/>
                  </a:lnTo>
                  <a:lnTo>
                    <a:pt x="46948" y="429356"/>
                  </a:lnTo>
                  <a:lnTo>
                    <a:pt x="74141" y="454233"/>
                  </a:lnTo>
                  <a:lnTo>
                    <a:pt x="87188" y="452891"/>
                  </a:lnTo>
                  <a:lnTo>
                    <a:pt x="101333" y="449111"/>
                  </a:lnTo>
                  <a:lnTo>
                    <a:pt x="102187" y="440697"/>
                  </a:lnTo>
                  <a:lnTo>
                    <a:pt x="111942" y="437405"/>
                  </a:lnTo>
                  <a:lnTo>
                    <a:pt x="111942" y="453257"/>
                  </a:lnTo>
                  <a:lnTo>
                    <a:pt x="115723" y="466183"/>
                  </a:lnTo>
                  <a:lnTo>
                    <a:pt x="119625" y="487645"/>
                  </a:lnTo>
                  <a:lnTo>
                    <a:pt x="116576" y="499473"/>
                  </a:lnTo>
                  <a:lnTo>
                    <a:pt x="124137" y="497034"/>
                  </a:lnTo>
                  <a:lnTo>
                    <a:pt x="145964" y="485084"/>
                  </a:lnTo>
                  <a:lnTo>
                    <a:pt x="154256" y="491303"/>
                  </a:lnTo>
                  <a:lnTo>
                    <a:pt x="162182" y="493254"/>
                  </a:lnTo>
                  <a:lnTo>
                    <a:pt x="169865" y="504716"/>
                  </a:lnTo>
                  <a:lnTo>
                    <a:pt x="172791" y="505692"/>
                  </a:lnTo>
                  <a:lnTo>
                    <a:pt x="178644" y="488254"/>
                  </a:lnTo>
                  <a:lnTo>
                    <a:pt x="190229" y="495083"/>
                  </a:lnTo>
                  <a:lnTo>
                    <a:pt x="195107" y="496790"/>
                  </a:lnTo>
                  <a:lnTo>
                    <a:pt x="203521" y="495083"/>
                  </a:lnTo>
                  <a:lnTo>
                    <a:pt x="215105" y="485815"/>
                  </a:lnTo>
                  <a:lnTo>
                    <a:pt x="217910" y="497156"/>
                  </a:lnTo>
                  <a:lnTo>
                    <a:pt x="206569" y="525812"/>
                  </a:lnTo>
                  <a:lnTo>
                    <a:pt x="206569" y="545811"/>
                  </a:lnTo>
                  <a:lnTo>
                    <a:pt x="190595" y="551786"/>
                  </a:lnTo>
                  <a:lnTo>
                    <a:pt x="177303" y="568736"/>
                  </a:lnTo>
                  <a:lnTo>
                    <a:pt x="158524" y="581783"/>
                  </a:lnTo>
                  <a:lnTo>
                    <a:pt x="150598" y="590685"/>
                  </a:lnTo>
                  <a:lnTo>
                    <a:pt x="147549" y="602392"/>
                  </a:lnTo>
                  <a:lnTo>
                    <a:pt x="140111" y="606172"/>
                  </a:lnTo>
                  <a:lnTo>
                    <a:pt x="131331" y="601782"/>
                  </a:lnTo>
                  <a:lnTo>
                    <a:pt x="119747" y="604343"/>
                  </a:lnTo>
                  <a:lnTo>
                    <a:pt x="104870" y="616537"/>
                  </a:lnTo>
                  <a:lnTo>
                    <a:pt x="96334" y="629341"/>
                  </a:lnTo>
                  <a:lnTo>
                    <a:pt x="89993" y="634340"/>
                  </a:lnTo>
                  <a:lnTo>
                    <a:pt x="95602" y="634340"/>
                  </a:lnTo>
                  <a:lnTo>
                    <a:pt x="112796" y="625073"/>
                  </a:lnTo>
                  <a:lnTo>
                    <a:pt x="117430" y="611171"/>
                  </a:lnTo>
                  <a:lnTo>
                    <a:pt x="125600" y="613244"/>
                  </a:lnTo>
                  <a:lnTo>
                    <a:pt x="129624" y="617269"/>
                  </a:lnTo>
                  <a:lnTo>
                    <a:pt x="138160" y="617269"/>
                  </a:lnTo>
                  <a:lnTo>
                    <a:pt x="157549" y="606172"/>
                  </a:lnTo>
                  <a:lnTo>
                    <a:pt x="169255" y="598977"/>
                  </a:lnTo>
                  <a:lnTo>
                    <a:pt x="180839" y="595075"/>
                  </a:lnTo>
                  <a:lnTo>
                    <a:pt x="182181" y="589832"/>
                  </a:lnTo>
                  <a:lnTo>
                    <a:pt x="214008" y="565321"/>
                  </a:lnTo>
                  <a:lnTo>
                    <a:pt x="221690" y="558858"/>
                  </a:lnTo>
                  <a:lnTo>
                    <a:pt x="221690" y="548859"/>
                  </a:lnTo>
                  <a:lnTo>
                    <a:pt x="241079" y="535446"/>
                  </a:lnTo>
                  <a:lnTo>
                    <a:pt x="254004" y="525447"/>
                  </a:lnTo>
                  <a:lnTo>
                    <a:pt x="268759" y="517398"/>
                  </a:lnTo>
                  <a:lnTo>
                    <a:pt x="271564" y="501546"/>
                  </a:lnTo>
                  <a:lnTo>
                    <a:pt x="281075" y="498741"/>
                  </a:lnTo>
                  <a:lnTo>
                    <a:pt x="279978" y="485450"/>
                  </a:lnTo>
                  <a:lnTo>
                    <a:pt x="270223" y="485450"/>
                  </a:lnTo>
                  <a:lnTo>
                    <a:pt x="268393" y="475816"/>
                  </a:lnTo>
                  <a:lnTo>
                    <a:pt x="279368" y="459964"/>
                  </a:lnTo>
                  <a:lnTo>
                    <a:pt x="292294" y="459964"/>
                  </a:lnTo>
                  <a:lnTo>
                    <a:pt x="300952" y="450209"/>
                  </a:lnTo>
                  <a:lnTo>
                    <a:pt x="298147" y="437405"/>
                  </a:lnTo>
                  <a:lnTo>
                    <a:pt x="336315" y="388994"/>
                  </a:lnTo>
                  <a:lnTo>
                    <a:pt x="350582" y="390335"/>
                  </a:lnTo>
                  <a:lnTo>
                    <a:pt x="357533" y="382043"/>
                  </a:lnTo>
                  <a:lnTo>
                    <a:pt x="368142" y="382043"/>
                  </a:lnTo>
                  <a:lnTo>
                    <a:pt x="363020" y="407651"/>
                  </a:lnTo>
                  <a:lnTo>
                    <a:pt x="363020" y="407651"/>
                  </a:lnTo>
                  <a:lnTo>
                    <a:pt x="349241" y="406188"/>
                  </a:lnTo>
                  <a:lnTo>
                    <a:pt x="331071" y="419113"/>
                  </a:lnTo>
                  <a:lnTo>
                    <a:pt x="332413" y="426918"/>
                  </a:lnTo>
                  <a:lnTo>
                    <a:pt x="321072" y="455086"/>
                  </a:lnTo>
                  <a:lnTo>
                    <a:pt x="321804" y="457891"/>
                  </a:lnTo>
                  <a:lnTo>
                    <a:pt x="324852" y="456915"/>
                  </a:lnTo>
                  <a:lnTo>
                    <a:pt x="332047" y="461793"/>
                  </a:lnTo>
                  <a:lnTo>
                    <a:pt x="325706" y="468012"/>
                  </a:lnTo>
                  <a:lnTo>
                    <a:pt x="320341" y="470695"/>
                  </a:lnTo>
                  <a:lnTo>
                    <a:pt x="319365" y="472768"/>
                  </a:lnTo>
                  <a:lnTo>
                    <a:pt x="332413" y="472768"/>
                  </a:lnTo>
                  <a:lnTo>
                    <a:pt x="352777" y="460452"/>
                  </a:lnTo>
                  <a:lnTo>
                    <a:pt x="363142" y="445819"/>
                  </a:lnTo>
                  <a:lnTo>
                    <a:pt x="383994" y="445819"/>
                  </a:lnTo>
                  <a:lnTo>
                    <a:pt x="388994" y="430942"/>
                  </a:lnTo>
                  <a:lnTo>
                    <a:pt x="385945" y="422040"/>
                  </a:lnTo>
                  <a:lnTo>
                    <a:pt x="388018" y="419113"/>
                  </a:lnTo>
                  <a:lnTo>
                    <a:pt x="380458" y="416065"/>
                  </a:lnTo>
                  <a:lnTo>
                    <a:pt x="397530" y="397408"/>
                  </a:lnTo>
                  <a:lnTo>
                    <a:pt x="406675" y="399603"/>
                  </a:lnTo>
                  <a:lnTo>
                    <a:pt x="403993" y="407529"/>
                  </a:lnTo>
                  <a:lnTo>
                    <a:pt x="409236" y="407529"/>
                  </a:lnTo>
                  <a:lnTo>
                    <a:pt x="423503" y="402773"/>
                  </a:lnTo>
                  <a:lnTo>
                    <a:pt x="428259" y="413870"/>
                  </a:lnTo>
                  <a:lnTo>
                    <a:pt x="446794" y="425820"/>
                  </a:lnTo>
                  <a:lnTo>
                    <a:pt x="458500" y="422894"/>
                  </a:lnTo>
                  <a:lnTo>
                    <a:pt x="463988" y="428503"/>
                  </a:lnTo>
                  <a:lnTo>
                    <a:pt x="466671" y="442892"/>
                  </a:lnTo>
                  <a:lnTo>
                    <a:pt x="490693" y="443014"/>
                  </a:lnTo>
                  <a:lnTo>
                    <a:pt x="502521" y="444477"/>
                  </a:lnTo>
                  <a:lnTo>
                    <a:pt x="509228" y="447160"/>
                  </a:lnTo>
                  <a:lnTo>
                    <a:pt x="529592" y="447160"/>
                  </a:lnTo>
                  <a:lnTo>
                    <a:pt x="533982" y="451672"/>
                  </a:lnTo>
                  <a:lnTo>
                    <a:pt x="552396" y="455574"/>
                  </a:lnTo>
                  <a:lnTo>
                    <a:pt x="566053" y="447038"/>
                  </a:lnTo>
                  <a:lnTo>
                    <a:pt x="567638" y="467646"/>
                  </a:lnTo>
                  <a:lnTo>
                    <a:pt x="592758" y="477401"/>
                  </a:lnTo>
                  <a:lnTo>
                    <a:pt x="598611" y="493620"/>
                  </a:lnTo>
                  <a:lnTo>
                    <a:pt x="610440" y="506667"/>
                  </a:lnTo>
                  <a:lnTo>
                    <a:pt x="629341" y="505570"/>
                  </a:lnTo>
                  <a:lnTo>
                    <a:pt x="624219" y="499351"/>
                  </a:lnTo>
                  <a:lnTo>
                    <a:pt x="626536" y="492522"/>
                  </a:lnTo>
                  <a:lnTo>
                    <a:pt x="636047" y="492522"/>
                  </a:lnTo>
                  <a:lnTo>
                    <a:pt x="644583" y="502521"/>
                  </a:lnTo>
                  <a:lnTo>
                    <a:pt x="646169" y="502521"/>
                  </a:lnTo>
                  <a:lnTo>
                    <a:pt x="651656" y="480694"/>
                  </a:lnTo>
                  <a:lnTo>
                    <a:pt x="659338" y="500083"/>
                  </a:lnTo>
                  <a:lnTo>
                    <a:pt x="667508" y="502887"/>
                  </a:lnTo>
                  <a:lnTo>
                    <a:pt x="676532" y="508862"/>
                  </a:lnTo>
                  <a:lnTo>
                    <a:pt x="688238" y="536909"/>
                  </a:lnTo>
                  <a:lnTo>
                    <a:pt x="690921" y="554591"/>
                  </a:lnTo>
                  <a:lnTo>
                    <a:pt x="700189" y="563858"/>
                  </a:lnTo>
                  <a:lnTo>
                    <a:pt x="707993" y="568614"/>
                  </a:lnTo>
                  <a:lnTo>
                    <a:pt x="709456" y="586173"/>
                  </a:lnTo>
                  <a:lnTo>
                    <a:pt x="716529" y="597392"/>
                  </a:lnTo>
                  <a:lnTo>
                    <a:pt x="717870" y="606538"/>
                  </a:lnTo>
                  <a:lnTo>
                    <a:pt x="721772" y="607757"/>
                  </a:lnTo>
                  <a:lnTo>
                    <a:pt x="724577" y="614708"/>
                  </a:lnTo>
                  <a:lnTo>
                    <a:pt x="737625" y="617634"/>
                  </a:lnTo>
                  <a:lnTo>
                    <a:pt x="740430" y="632877"/>
                  </a:lnTo>
                  <a:lnTo>
                    <a:pt x="743234" y="632877"/>
                  </a:lnTo>
                  <a:lnTo>
                    <a:pt x="748356" y="633853"/>
                  </a:lnTo>
                  <a:lnTo>
                    <a:pt x="748478" y="633609"/>
                  </a:lnTo>
                  <a:lnTo>
                    <a:pt x="750429" y="631048"/>
                  </a:lnTo>
                  <a:lnTo>
                    <a:pt x="752502" y="628243"/>
                  </a:lnTo>
                  <a:lnTo>
                    <a:pt x="750795" y="61507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7" name="Freihandform: Form 596">
              <a:extLst>
                <a:ext uri="{FF2B5EF4-FFF2-40B4-BE49-F238E27FC236}">
                  <a16:creationId xmlns:a16="http://schemas.microsoft.com/office/drawing/2014/main" id="{8784896D-3813-4050-9BA4-169F309AEB2B}"/>
                </a:ext>
              </a:extLst>
            </p:cNvPr>
            <p:cNvSpPr/>
            <p:nvPr/>
          </p:nvSpPr>
          <p:spPr>
            <a:xfrm>
              <a:off x="991794" y="1805494"/>
              <a:ext cx="63775" cy="22681"/>
            </a:xfrm>
            <a:custGeom>
              <a:avLst/>
              <a:gdLst>
                <a:gd name="connsiteX0" fmla="*/ 35851 w 63775"/>
                <a:gd name="connsiteY0" fmla="*/ 1585 h 22681"/>
                <a:gd name="connsiteX1" fmla="*/ 15365 w 63775"/>
                <a:gd name="connsiteY1" fmla="*/ 1585 h 22681"/>
                <a:gd name="connsiteX2" fmla="*/ 2073 w 63775"/>
                <a:gd name="connsiteY2" fmla="*/ 0 h 22681"/>
                <a:gd name="connsiteX3" fmla="*/ 0 w 63775"/>
                <a:gd name="connsiteY3" fmla="*/ 6829 h 22681"/>
                <a:gd name="connsiteX4" fmla="*/ 4390 w 63775"/>
                <a:gd name="connsiteY4" fmla="*/ 14145 h 22681"/>
                <a:gd name="connsiteX5" fmla="*/ 21706 w 63775"/>
                <a:gd name="connsiteY5" fmla="*/ 9511 h 22681"/>
                <a:gd name="connsiteX6" fmla="*/ 43289 w 63775"/>
                <a:gd name="connsiteY6" fmla="*/ 22681 h 22681"/>
                <a:gd name="connsiteX7" fmla="*/ 50972 w 63775"/>
                <a:gd name="connsiteY7" fmla="*/ 19267 h 22681"/>
                <a:gd name="connsiteX8" fmla="*/ 63288 w 63775"/>
                <a:gd name="connsiteY8" fmla="*/ 15730 h 22681"/>
                <a:gd name="connsiteX9" fmla="*/ 63775 w 63775"/>
                <a:gd name="connsiteY9" fmla="*/ 14511 h 22681"/>
                <a:gd name="connsiteX10" fmla="*/ 53654 w 63775"/>
                <a:gd name="connsiteY10" fmla="*/ 12926 h 22681"/>
                <a:gd name="connsiteX11" fmla="*/ 35851 w 63775"/>
                <a:gd name="connsiteY11" fmla="*/ 1585 h 2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775" h="22681">
                  <a:moveTo>
                    <a:pt x="35851" y="1585"/>
                  </a:moveTo>
                  <a:lnTo>
                    <a:pt x="15365" y="1585"/>
                  </a:lnTo>
                  <a:lnTo>
                    <a:pt x="2073" y="0"/>
                  </a:lnTo>
                  <a:lnTo>
                    <a:pt x="0" y="6829"/>
                  </a:lnTo>
                  <a:lnTo>
                    <a:pt x="4390" y="14145"/>
                  </a:lnTo>
                  <a:lnTo>
                    <a:pt x="21706" y="9511"/>
                  </a:lnTo>
                  <a:lnTo>
                    <a:pt x="43289" y="22681"/>
                  </a:lnTo>
                  <a:lnTo>
                    <a:pt x="50972" y="19267"/>
                  </a:lnTo>
                  <a:lnTo>
                    <a:pt x="63288" y="15730"/>
                  </a:lnTo>
                  <a:lnTo>
                    <a:pt x="63775" y="14511"/>
                  </a:lnTo>
                  <a:lnTo>
                    <a:pt x="53654" y="12926"/>
                  </a:lnTo>
                  <a:lnTo>
                    <a:pt x="35851" y="1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8" name="Freihandform: Form 597">
              <a:extLst>
                <a:ext uri="{FF2B5EF4-FFF2-40B4-BE49-F238E27FC236}">
                  <a16:creationId xmlns:a16="http://schemas.microsoft.com/office/drawing/2014/main" id="{7322AFCA-DC08-4ABE-B6D6-49556AB315A9}"/>
                </a:ext>
              </a:extLst>
            </p:cNvPr>
            <p:cNvSpPr/>
            <p:nvPr/>
          </p:nvSpPr>
          <p:spPr>
            <a:xfrm>
              <a:off x="1182267" y="1658188"/>
              <a:ext cx="5853" cy="6828"/>
            </a:xfrm>
            <a:custGeom>
              <a:avLst/>
              <a:gdLst>
                <a:gd name="connsiteX0" fmla="*/ 0 w 5853"/>
                <a:gd name="connsiteY0" fmla="*/ 366 h 6828"/>
                <a:gd name="connsiteX1" fmla="*/ 5609 w 5853"/>
                <a:gd name="connsiteY1" fmla="*/ 6829 h 6828"/>
                <a:gd name="connsiteX2" fmla="*/ 5853 w 5853"/>
                <a:gd name="connsiteY2" fmla="*/ 6341 h 6828"/>
                <a:gd name="connsiteX3" fmla="*/ 2195 w 5853"/>
                <a:gd name="connsiteY3" fmla="*/ 2683 h 6828"/>
                <a:gd name="connsiteX4" fmla="*/ 2195 w 5853"/>
                <a:gd name="connsiteY4" fmla="*/ 0 h 6828"/>
                <a:gd name="connsiteX5" fmla="*/ 0 w 5853"/>
                <a:gd name="connsiteY5" fmla="*/ 366 h 6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53" h="6828">
                  <a:moveTo>
                    <a:pt x="0" y="366"/>
                  </a:moveTo>
                  <a:lnTo>
                    <a:pt x="5609" y="6829"/>
                  </a:lnTo>
                  <a:lnTo>
                    <a:pt x="5853" y="6341"/>
                  </a:lnTo>
                  <a:lnTo>
                    <a:pt x="2195" y="2683"/>
                  </a:lnTo>
                  <a:lnTo>
                    <a:pt x="2195" y="0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599" name="Freihandform: Form 598">
              <a:extLst>
                <a:ext uri="{FF2B5EF4-FFF2-40B4-BE49-F238E27FC236}">
                  <a16:creationId xmlns:a16="http://schemas.microsoft.com/office/drawing/2014/main" id="{F9B9C459-8E6E-4DEC-9DFD-4929AF4C7713}"/>
                </a:ext>
              </a:extLst>
            </p:cNvPr>
            <p:cNvSpPr/>
            <p:nvPr/>
          </p:nvSpPr>
          <p:spPr>
            <a:xfrm>
              <a:off x="1088737" y="2181561"/>
              <a:ext cx="15608" cy="11218"/>
            </a:xfrm>
            <a:custGeom>
              <a:avLst/>
              <a:gdLst>
                <a:gd name="connsiteX0" fmla="*/ 13779 w 15608"/>
                <a:gd name="connsiteY0" fmla="*/ 0 h 11218"/>
                <a:gd name="connsiteX1" fmla="*/ 0 w 15608"/>
                <a:gd name="connsiteY1" fmla="*/ 11219 h 11218"/>
                <a:gd name="connsiteX2" fmla="*/ 0 w 15608"/>
                <a:gd name="connsiteY2" fmla="*/ 11219 h 11218"/>
                <a:gd name="connsiteX3" fmla="*/ 3049 w 15608"/>
                <a:gd name="connsiteY3" fmla="*/ 10853 h 11218"/>
                <a:gd name="connsiteX4" fmla="*/ 15609 w 15608"/>
                <a:gd name="connsiteY4" fmla="*/ 1585 h 11218"/>
                <a:gd name="connsiteX5" fmla="*/ 15365 w 15608"/>
                <a:gd name="connsiteY5" fmla="*/ 366 h 11218"/>
                <a:gd name="connsiteX6" fmla="*/ 13779 w 15608"/>
                <a:gd name="connsiteY6" fmla="*/ 0 h 11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8" h="11218">
                  <a:moveTo>
                    <a:pt x="13779" y="0"/>
                  </a:moveTo>
                  <a:lnTo>
                    <a:pt x="0" y="11219"/>
                  </a:lnTo>
                  <a:lnTo>
                    <a:pt x="0" y="11219"/>
                  </a:lnTo>
                  <a:lnTo>
                    <a:pt x="3049" y="10853"/>
                  </a:lnTo>
                  <a:lnTo>
                    <a:pt x="15609" y="1585"/>
                  </a:lnTo>
                  <a:lnTo>
                    <a:pt x="15365" y="366"/>
                  </a:lnTo>
                  <a:lnTo>
                    <a:pt x="1377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0" name="Freihandform: Form 599">
              <a:extLst>
                <a:ext uri="{FF2B5EF4-FFF2-40B4-BE49-F238E27FC236}">
                  <a16:creationId xmlns:a16="http://schemas.microsoft.com/office/drawing/2014/main" id="{D915E570-BF08-4643-BA6C-0BA0EA157B7E}"/>
                </a:ext>
              </a:extLst>
            </p:cNvPr>
            <p:cNvSpPr/>
            <p:nvPr/>
          </p:nvSpPr>
          <p:spPr>
            <a:xfrm>
              <a:off x="1058374" y="2192902"/>
              <a:ext cx="15242" cy="15608"/>
            </a:xfrm>
            <a:custGeom>
              <a:avLst/>
              <a:gdLst>
                <a:gd name="connsiteX0" fmla="*/ 5853 w 15242"/>
                <a:gd name="connsiteY0" fmla="*/ 2073 h 15608"/>
                <a:gd name="connsiteX1" fmla="*/ 5000 w 15242"/>
                <a:gd name="connsiteY1" fmla="*/ 7926 h 15608"/>
                <a:gd name="connsiteX2" fmla="*/ 0 w 15242"/>
                <a:gd name="connsiteY2" fmla="*/ 15365 h 15608"/>
                <a:gd name="connsiteX3" fmla="*/ 122 w 15242"/>
                <a:gd name="connsiteY3" fmla="*/ 15609 h 15608"/>
                <a:gd name="connsiteX4" fmla="*/ 15243 w 15242"/>
                <a:gd name="connsiteY4" fmla="*/ 1219 h 15608"/>
                <a:gd name="connsiteX5" fmla="*/ 12316 w 15242"/>
                <a:gd name="connsiteY5" fmla="*/ 0 h 15608"/>
                <a:gd name="connsiteX6" fmla="*/ 5853 w 15242"/>
                <a:gd name="connsiteY6" fmla="*/ 2073 h 15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42" h="15608">
                  <a:moveTo>
                    <a:pt x="5853" y="2073"/>
                  </a:moveTo>
                  <a:lnTo>
                    <a:pt x="5000" y="7926"/>
                  </a:lnTo>
                  <a:lnTo>
                    <a:pt x="0" y="15365"/>
                  </a:lnTo>
                  <a:lnTo>
                    <a:pt x="122" y="15609"/>
                  </a:lnTo>
                  <a:lnTo>
                    <a:pt x="15243" y="1219"/>
                  </a:lnTo>
                  <a:lnTo>
                    <a:pt x="12316" y="0"/>
                  </a:lnTo>
                  <a:lnTo>
                    <a:pt x="5853" y="207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1" name="Freihandform: Form 600">
              <a:extLst>
                <a:ext uri="{FF2B5EF4-FFF2-40B4-BE49-F238E27FC236}">
                  <a16:creationId xmlns:a16="http://schemas.microsoft.com/office/drawing/2014/main" id="{8BEBD822-578E-4D5E-A551-D147141F1AB6}"/>
                </a:ext>
              </a:extLst>
            </p:cNvPr>
            <p:cNvSpPr/>
            <p:nvPr/>
          </p:nvSpPr>
          <p:spPr>
            <a:xfrm>
              <a:off x="1367618" y="2017916"/>
              <a:ext cx="22681" cy="7682"/>
            </a:xfrm>
            <a:custGeom>
              <a:avLst/>
              <a:gdLst>
                <a:gd name="connsiteX0" fmla="*/ 1585 w 22681"/>
                <a:gd name="connsiteY0" fmla="*/ 1341 h 7682"/>
                <a:gd name="connsiteX1" fmla="*/ 0 w 22681"/>
                <a:gd name="connsiteY1" fmla="*/ 3414 h 7682"/>
                <a:gd name="connsiteX2" fmla="*/ 854 w 22681"/>
                <a:gd name="connsiteY2" fmla="*/ 7682 h 7682"/>
                <a:gd name="connsiteX3" fmla="*/ 21949 w 22681"/>
                <a:gd name="connsiteY3" fmla="*/ 5853 h 7682"/>
                <a:gd name="connsiteX4" fmla="*/ 22681 w 22681"/>
                <a:gd name="connsiteY4" fmla="*/ 4268 h 7682"/>
                <a:gd name="connsiteX5" fmla="*/ 16340 w 22681"/>
                <a:gd name="connsiteY5" fmla="*/ 0 h 7682"/>
                <a:gd name="connsiteX6" fmla="*/ 1585 w 22681"/>
                <a:gd name="connsiteY6" fmla="*/ 1341 h 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1" h="7682">
                  <a:moveTo>
                    <a:pt x="1585" y="1341"/>
                  </a:moveTo>
                  <a:lnTo>
                    <a:pt x="0" y="3414"/>
                  </a:lnTo>
                  <a:lnTo>
                    <a:pt x="854" y="7682"/>
                  </a:lnTo>
                  <a:lnTo>
                    <a:pt x="21949" y="5853"/>
                  </a:lnTo>
                  <a:lnTo>
                    <a:pt x="22681" y="4268"/>
                  </a:lnTo>
                  <a:lnTo>
                    <a:pt x="16340" y="0"/>
                  </a:lnTo>
                  <a:lnTo>
                    <a:pt x="1585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2" name="Freihandform: Form 601">
              <a:extLst>
                <a:ext uri="{FF2B5EF4-FFF2-40B4-BE49-F238E27FC236}">
                  <a16:creationId xmlns:a16="http://schemas.microsoft.com/office/drawing/2014/main" id="{1F462919-A7D0-44CE-A26E-4A944B971B06}"/>
                </a:ext>
              </a:extLst>
            </p:cNvPr>
            <p:cNvSpPr/>
            <p:nvPr/>
          </p:nvSpPr>
          <p:spPr>
            <a:xfrm>
              <a:off x="1085445" y="1942556"/>
              <a:ext cx="30363" cy="22437"/>
            </a:xfrm>
            <a:custGeom>
              <a:avLst/>
              <a:gdLst>
                <a:gd name="connsiteX0" fmla="*/ 19389 w 30363"/>
                <a:gd name="connsiteY0" fmla="*/ 0 h 22437"/>
                <a:gd name="connsiteX1" fmla="*/ 10365 w 30363"/>
                <a:gd name="connsiteY1" fmla="*/ 4390 h 22437"/>
                <a:gd name="connsiteX2" fmla="*/ 0 w 30363"/>
                <a:gd name="connsiteY2" fmla="*/ 6829 h 22437"/>
                <a:gd name="connsiteX3" fmla="*/ 488 w 30363"/>
                <a:gd name="connsiteY3" fmla="*/ 11097 h 22437"/>
                <a:gd name="connsiteX4" fmla="*/ 7195 w 30363"/>
                <a:gd name="connsiteY4" fmla="*/ 12682 h 22437"/>
                <a:gd name="connsiteX5" fmla="*/ 17803 w 30363"/>
                <a:gd name="connsiteY5" fmla="*/ 22437 h 22437"/>
                <a:gd name="connsiteX6" fmla="*/ 24266 w 30363"/>
                <a:gd name="connsiteY6" fmla="*/ 18291 h 22437"/>
                <a:gd name="connsiteX7" fmla="*/ 30363 w 30363"/>
                <a:gd name="connsiteY7" fmla="*/ 16096 h 22437"/>
                <a:gd name="connsiteX8" fmla="*/ 29632 w 30363"/>
                <a:gd name="connsiteY8" fmla="*/ 5487 h 22437"/>
                <a:gd name="connsiteX9" fmla="*/ 19389 w 30363"/>
                <a:gd name="connsiteY9" fmla="*/ 0 h 2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363" h="22437">
                  <a:moveTo>
                    <a:pt x="19389" y="0"/>
                  </a:moveTo>
                  <a:lnTo>
                    <a:pt x="10365" y="4390"/>
                  </a:lnTo>
                  <a:lnTo>
                    <a:pt x="0" y="6829"/>
                  </a:lnTo>
                  <a:lnTo>
                    <a:pt x="488" y="11097"/>
                  </a:lnTo>
                  <a:lnTo>
                    <a:pt x="7195" y="12682"/>
                  </a:lnTo>
                  <a:lnTo>
                    <a:pt x="17803" y="22437"/>
                  </a:lnTo>
                  <a:lnTo>
                    <a:pt x="24266" y="18291"/>
                  </a:lnTo>
                  <a:lnTo>
                    <a:pt x="30363" y="16096"/>
                  </a:lnTo>
                  <a:lnTo>
                    <a:pt x="29632" y="5487"/>
                  </a:lnTo>
                  <a:lnTo>
                    <a:pt x="1938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3" name="Freihandform: Form 602">
              <a:extLst>
                <a:ext uri="{FF2B5EF4-FFF2-40B4-BE49-F238E27FC236}">
                  <a16:creationId xmlns:a16="http://schemas.microsoft.com/office/drawing/2014/main" id="{BE849031-DE8E-4846-8BFF-598464F49722}"/>
                </a:ext>
              </a:extLst>
            </p:cNvPr>
            <p:cNvSpPr/>
            <p:nvPr/>
          </p:nvSpPr>
          <p:spPr>
            <a:xfrm>
              <a:off x="2902741" y="2939551"/>
              <a:ext cx="365" cy="2195"/>
            </a:xfrm>
            <a:custGeom>
              <a:avLst/>
              <a:gdLst>
                <a:gd name="connsiteX0" fmla="*/ 0 w 365"/>
                <a:gd name="connsiteY0" fmla="*/ 2195 h 2195"/>
                <a:gd name="connsiteX1" fmla="*/ 366 w 365"/>
                <a:gd name="connsiteY1" fmla="*/ 2195 h 2195"/>
                <a:gd name="connsiteX2" fmla="*/ 0 w 365"/>
                <a:gd name="connsiteY2" fmla="*/ 0 h 2195"/>
                <a:gd name="connsiteX3" fmla="*/ 0 w 365"/>
                <a:gd name="connsiteY3" fmla="*/ 2195 h 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" h="2195">
                  <a:moveTo>
                    <a:pt x="0" y="2195"/>
                  </a:moveTo>
                  <a:lnTo>
                    <a:pt x="366" y="2195"/>
                  </a:lnTo>
                  <a:lnTo>
                    <a:pt x="0" y="0"/>
                  </a:lnTo>
                  <a:lnTo>
                    <a:pt x="0" y="21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4" name="Freihandform: Form 603">
              <a:extLst>
                <a:ext uri="{FF2B5EF4-FFF2-40B4-BE49-F238E27FC236}">
                  <a16:creationId xmlns:a16="http://schemas.microsoft.com/office/drawing/2014/main" id="{72FBFAB7-C908-4B0C-BA6B-2C37676C38EE}"/>
                </a:ext>
              </a:extLst>
            </p:cNvPr>
            <p:cNvSpPr/>
            <p:nvPr/>
          </p:nvSpPr>
          <p:spPr>
            <a:xfrm>
              <a:off x="2167067" y="1203102"/>
              <a:ext cx="69872" cy="16584"/>
            </a:xfrm>
            <a:custGeom>
              <a:avLst/>
              <a:gdLst>
                <a:gd name="connsiteX0" fmla="*/ 13901 w 69872"/>
                <a:gd name="connsiteY0" fmla="*/ 13657 h 16584"/>
                <a:gd name="connsiteX1" fmla="*/ 23779 w 69872"/>
                <a:gd name="connsiteY1" fmla="*/ 14877 h 16584"/>
                <a:gd name="connsiteX2" fmla="*/ 32802 w 69872"/>
                <a:gd name="connsiteY2" fmla="*/ 14267 h 16584"/>
                <a:gd name="connsiteX3" fmla="*/ 37680 w 69872"/>
                <a:gd name="connsiteY3" fmla="*/ 10121 h 16584"/>
                <a:gd name="connsiteX4" fmla="*/ 49630 w 69872"/>
                <a:gd name="connsiteY4" fmla="*/ 16584 h 16584"/>
                <a:gd name="connsiteX5" fmla="*/ 69873 w 69872"/>
                <a:gd name="connsiteY5" fmla="*/ 13292 h 16584"/>
                <a:gd name="connsiteX6" fmla="*/ 69873 w 69872"/>
                <a:gd name="connsiteY6" fmla="*/ 8536 h 16584"/>
                <a:gd name="connsiteX7" fmla="*/ 61337 w 69872"/>
                <a:gd name="connsiteY7" fmla="*/ 7926 h 16584"/>
                <a:gd name="connsiteX8" fmla="*/ 50118 w 69872"/>
                <a:gd name="connsiteY8" fmla="*/ 0 h 16584"/>
                <a:gd name="connsiteX9" fmla="*/ 39875 w 69872"/>
                <a:gd name="connsiteY9" fmla="*/ 610 h 16584"/>
                <a:gd name="connsiteX10" fmla="*/ 28534 w 69872"/>
                <a:gd name="connsiteY10" fmla="*/ 6707 h 16584"/>
                <a:gd name="connsiteX11" fmla="*/ 8292 w 69872"/>
                <a:gd name="connsiteY11" fmla="*/ 7926 h 16584"/>
                <a:gd name="connsiteX12" fmla="*/ 6951 w 69872"/>
                <a:gd name="connsiteY12" fmla="*/ 11950 h 16584"/>
                <a:gd name="connsiteX13" fmla="*/ 0 w 69872"/>
                <a:gd name="connsiteY13" fmla="*/ 13536 h 16584"/>
                <a:gd name="connsiteX14" fmla="*/ 732 w 69872"/>
                <a:gd name="connsiteY14" fmla="*/ 14755 h 16584"/>
                <a:gd name="connsiteX15" fmla="*/ 13901 w 69872"/>
                <a:gd name="connsiteY15" fmla="*/ 13657 h 1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9872" h="16584">
                  <a:moveTo>
                    <a:pt x="13901" y="13657"/>
                  </a:moveTo>
                  <a:lnTo>
                    <a:pt x="23779" y="14877"/>
                  </a:lnTo>
                  <a:lnTo>
                    <a:pt x="32802" y="14267"/>
                  </a:lnTo>
                  <a:lnTo>
                    <a:pt x="37680" y="10121"/>
                  </a:lnTo>
                  <a:lnTo>
                    <a:pt x="49630" y="16584"/>
                  </a:lnTo>
                  <a:lnTo>
                    <a:pt x="69873" y="13292"/>
                  </a:lnTo>
                  <a:lnTo>
                    <a:pt x="69873" y="8536"/>
                  </a:lnTo>
                  <a:lnTo>
                    <a:pt x="61337" y="7926"/>
                  </a:lnTo>
                  <a:lnTo>
                    <a:pt x="50118" y="0"/>
                  </a:lnTo>
                  <a:lnTo>
                    <a:pt x="39875" y="610"/>
                  </a:lnTo>
                  <a:lnTo>
                    <a:pt x="28534" y="6707"/>
                  </a:lnTo>
                  <a:lnTo>
                    <a:pt x="8292" y="7926"/>
                  </a:lnTo>
                  <a:lnTo>
                    <a:pt x="6951" y="11950"/>
                  </a:lnTo>
                  <a:lnTo>
                    <a:pt x="0" y="13536"/>
                  </a:lnTo>
                  <a:lnTo>
                    <a:pt x="732" y="14755"/>
                  </a:lnTo>
                  <a:lnTo>
                    <a:pt x="13901" y="1365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5" name="Freihandform: Form 604">
              <a:extLst>
                <a:ext uri="{FF2B5EF4-FFF2-40B4-BE49-F238E27FC236}">
                  <a16:creationId xmlns:a16="http://schemas.microsoft.com/office/drawing/2014/main" id="{5463FC99-B86B-4339-A849-C7E93CCBE613}"/>
                </a:ext>
              </a:extLst>
            </p:cNvPr>
            <p:cNvSpPr/>
            <p:nvPr/>
          </p:nvSpPr>
          <p:spPr>
            <a:xfrm>
              <a:off x="2588497" y="3079540"/>
              <a:ext cx="78652" cy="80847"/>
            </a:xfrm>
            <a:custGeom>
              <a:avLst/>
              <a:gdLst>
                <a:gd name="connsiteX0" fmla="*/ 48655 w 78652"/>
                <a:gd name="connsiteY0" fmla="*/ 70726 h 80847"/>
                <a:gd name="connsiteX1" fmla="*/ 49996 w 78652"/>
                <a:gd name="connsiteY1" fmla="*/ 69385 h 80847"/>
                <a:gd name="connsiteX2" fmla="*/ 50484 w 78652"/>
                <a:gd name="connsiteY2" fmla="*/ 69507 h 80847"/>
                <a:gd name="connsiteX3" fmla="*/ 52801 w 78652"/>
                <a:gd name="connsiteY3" fmla="*/ 67921 h 80847"/>
                <a:gd name="connsiteX4" fmla="*/ 76457 w 78652"/>
                <a:gd name="connsiteY4" fmla="*/ 51947 h 80847"/>
                <a:gd name="connsiteX5" fmla="*/ 77799 w 78652"/>
                <a:gd name="connsiteY5" fmla="*/ 49264 h 80847"/>
                <a:gd name="connsiteX6" fmla="*/ 78652 w 78652"/>
                <a:gd name="connsiteY6" fmla="*/ 47557 h 80847"/>
                <a:gd name="connsiteX7" fmla="*/ 70970 w 78652"/>
                <a:gd name="connsiteY7" fmla="*/ 44265 h 80847"/>
                <a:gd name="connsiteX8" fmla="*/ 70482 w 78652"/>
                <a:gd name="connsiteY8" fmla="*/ 45118 h 80847"/>
                <a:gd name="connsiteX9" fmla="*/ 64507 w 78652"/>
                <a:gd name="connsiteY9" fmla="*/ 40972 h 80847"/>
                <a:gd name="connsiteX10" fmla="*/ 58410 w 78652"/>
                <a:gd name="connsiteY10" fmla="*/ 36704 h 80847"/>
                <a:gd name="connsiteX11" fmla="*/ 55483 w 78652"/>
                <a:gd name="connsiteY11" fmla="*/ 34753 h 80847"/>
                <a:gd name="connsiteX12" fmla="*/ 55849 w 78652"/>
                <a:gd name="connsiteY12" fmla="*/ 31095 h 80847"/>
                <a:gd name="connsiteX13" fmla="*/ 58288 w 78652"/>
                <a:gd name="connsiteY13" fmla="*/ 4024 h 80847"/>
                <a:gd name="connsiteX14" fmla="*/ 50972 w 78652"/>
                <a:gd name="connsiteY14" fmla="*/ 488 h 80847"/>
                <a:gd name="connsiteX15" fmla="*/ 45972 w 78652"/>
                <a:gd name="connsiteY15" fmla="*/ 366 h 80847"/>
                <a:gd name="connsiteX16" fmla="*/ 35241 w 78652"/>
                <a:gd name="connsiteY16" fmla="*/ 0 h 80847"/>
                <a:gd name="connsiteX17" fmla="*/ 35241 w 78652"/>
                <a:gd name="connsiteY17" fmla="*/ 11340 h 80847"/>
                <a:gd name="connsiteX18" fmla="*/ 32802 w 78652"/>
                <a:gd name="connsiteY18" fmla="*/ 13170 h 80847"/>
                <a:gd name="connsiteX19" fmla="*/ 29998 w 78652"/>
                <a:gd name="connsiteY19" fmla="*/ 15243 h 80847"/>
                <a:gd name="connsiteX20" fmla="*/ 41704 w 78652"/>
                <a:gd name="connsiteY20" fmla="*/ 24876 h 80847"/>
                <a:gd name="connsiteX21" fmla="*/ 43655 w 78652"/>
                <a:gd name="connsiteY21" fmla="*/ 26461 h 80847"/>
                <a:gd name="connsiteX22" fmla="*/ 43899 w 78652"/>
                <a:gd name="connsiteY22" fmla="*/ 28900 h 80847"/>
                <a:gd name="connsiteX23" fmla="*/ 44265 w 78652"/>
                <a:gd name="connsiteY23" fmla="*/ 32924 h 80847"/>
                <a:gd name="connsiteX24" fmla="*/ 44387 w 78652"/>
                <a:gd name="connsiteY24" fmla="*/ 33656 h 80847"/>
                <a:gd name="connsiteX25" fmla="*/ 44753 w 78652"/>
                <a:gd name="connsiteY25" fmla="*/ 38046 h 80847"/>
                <a:gd name="connsiteX26" fmla="*/ 40851 w 78652"/>
                <a:gd name="connsiteY26" fmla="*/ 39875 h 80847"/>
                <a:gd name="connsiteX27" fmla="*/ 33412 w 78652"/>
                <a:gd name="connsiteY27" fmla="*/ 43289 h 80847"/>
                <a:gd name="connsiteX28" fmla="*/ 32193 w 78652"/>
                <a:gd name="connsiteY28" fmla="*/ 43777 h 80847"/>
                <a:gd name="connsiteX29" fmla="*/ 30973 w 78652"/>
                <a:gd name="connsiteY29" fmla="*/ 43777 h 80847"/>
                <a:gd name="connsiteX30" fmla="*/ 22803 w 78652"/>
                <a:gd name="connsiteY30" fmla="*/ 44021 h 80847"/>
                <a:gd name="connsiteX31" fmla="*/ 6707 w 78652"/>
                <a:gd name="connsiteY31" fmla="*/ 44387 h 80847"/>
                <a:gd name="connsiteX32" fmla="*/ 4878 w 78652"/>
                <a:gd name="connsiteY32" fmla="*/ 51093 h 80847"/>
                <a:gd name="connsiteX33" fmla="*/ 854 w 78652"/>
                <a:gd name="connsiteY33" fmla="*/ 65239 h 80847"/>
                <a:gd name="connsiteX34" fmla="*/ 0 w 78652"/>
                <a:gd name="connsiteY34" fmla="*/ 68409 h 80847"/>
                <a:gd name="connsiteX35" fmla="*/ 2439 w 78652"/>
                <a:gd name="connsiteY35" fmla="*/ 70726 h 80847"/>
                <a:gd name="connsiteX36" fmla="*/ 6585 w 78652"/>
                <a:gd name="connsiteY36" fmla="*/ 74994 h 80847"/>
                <a:gd name="connsiteX37" fmla="*/ 38534 w 78652"/>
                <a:gd name="connsiteY37" fmla="*/ 80847 h 80847"/>
                <a:gd name="connsiteX38" fmla="*/ 43533 w 78652"/>
                <a:gd name="connsiteY38" fmla="*/ 75970 h 80847"/>
                <a:gd name="connsiteX39" fmla="*/ 41704 w 78652"/>
                <a:gd name="connsiteY39" fmla="*/ 75482 h 80847"/>
                <a:gd name="connsiteX40" fmla="*/ 48655 w 78652"/>
                <a:gd name="connsiteY40" fmla="*/ 70726 h 8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8652" h="80847">
                  <a:moveTo>
                    <a:pt x="48655" y="70726"/>
                  </a:moveTo>
                  <a:lnTo>
                    <a:pt x="49996" y="69385"/>
                  </a:lnTo>
                  <a:lnTo>
                    <a:pt x="50484" y="69507"/>
                  </a:lnTo>
                  <a:lnTo>
                    <a:pt x="52801" y="67921"/>
                  </a:lnTo>
                  <a:lnTo>
                    <a:pt x="76457" y="51947"/>
                  </a:lnTo>
                  <a:lnTo>
                    <a:pt x="77799" y="49264"/>
                  </a:lnTo>
                  <a:lnTo>
                    <a:pt x="78652" y="47557"/>
                  </a:lnTo>
                  <a:lnTo>
                    <a:pt x="70970" y="44265"/>
                  </a:lnTo>
                  <a:lnTo>
                    <a:pt x="70482" y="45118"/>
                  </a:lnTo>
                  <a:lnTo>
                    <a:pt x="64507" y="40972"/>
                  </a:lnTo>
                  <a:lnTo>
                    <a:pt x="58410" y="36704"/>
                  </a:lnTo>
                  <a:lnTo>
                    <a:pt x="55483" y="34753"/>
                  </a:lnTo>
                  <a:lnTo>
                    <a:pt x="55849" y="31095"/>
                  </a:lnTo>
                  <a:lnTo>
                    <a:pt x="58288" y="4024"/>
                  </a:lnTo>
                  <a:lnTo>
                    <a:pt x="50972" y="488"/>
                  </a:lnTo>
                  <a:lnTo>
                    <a:pt x="45972" y="366"/>
                  </a:lnTo>
                  <a:lnTo>
                    <a:pt x="35241" y="0"/>
                  </a:lnTo>
                  <a:lnTo>
                    <a:pt x="35241" y="11340"/>
                  </a:lnTo>
                  <a:lnTo>
                    <a:pt x="32802" y="13170"/>
                  </a:lnTo>
                  <a:lnTo>
                    <a:pt x="29998" y="15243"/>
                  </a:lnTo>
                  <a:lnTo>
                    <a:pt x="41704" y="24876"/>
                  </a:lnTo>
                  <a:lnTo>
                    <a:pt x="43655" y="26461"/>
                  </a:lnTo>
                  <a:lnTo>
                    <a:pt x="43899" y="28900"/>
                  </a:lnTo>
                  <a:lnTo>
                    <a:pt x="44265" y="32924"/>
                  </a:lnTo>
                  <a:lnTo>
                    <a:pt x="44387" y="33656"/>
                  </a:lnTo>
                  <a:lnTo>
                    <a:pt x="44753" y="38046"/>
                  </a:lnTo>
                  <a:lnTo>
                    <a:pt x="40851" y="39875"/>
                  </a:lnTo>
                  <a:lnTo>
                    <a:pt x="33412" y="43289"/>
                  </a:lnTo>
                  <a:lnTo>
                    <a:pt x="32193" y="43777"/>
                  </a:lnTo>
                  <a:lnTo>
                    <a:pt x="30973" y="43777"/>
                  </a:lnTo>
                  <a:lnTo>
                    <a:pt x="22803" y="44021"/>
                  </a:lnTo>
                  <a:lnTo>
                    <a:pt x="6707" y="44387"/>
                  </a:lnTo>
                  <a:lnTo>
                    <a:pt x="4878" y="51093"/>
                  </a:lnTo>
                  <a:lnTo>
                    <a:pt x="854" y="65239"/>
                  </a:lnTo>
                  <a:lnTo>
                    <a:pt x="0" y="68409"/>
                  </a:lnTo>
                  <a:lnTo>
                    <a:pt x="2439" y="70726"/>
                  </a:lnTo>
                  <a:lnTo>
                    <a:pt x="6585" y="74994"/>
                  </a:lnTo>
                  <a:lnTo>
                    <a:pt x="38534" y="80847"/>
                  </a:lnTo>
                  <a:lnTo>
                    <a:pt x="43533" y="75970"/>
                  </a:lnTo>
                  <a:lnTo>
                    <a:pt x="41704" y="75482"/>
                  </a:lnTo>
                  <a:lnTo>
                    <a:pt x="48655" y="707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6" name="Freihandform: Form 605">
              <a:extLst>
                <a:ext uri="{FF2B5EF4-FFF2-40B4-BE49-F238E27FC236}">
                  <a16:creationId xmlns:a16="http://schemas.microsoft.com/office/drawing/2014/main" id="{7FF2F00E-08CC-4E14-BB7E-E35F4D381B6E}"/>
                </a:ext>
              </a:extLst>
            </p:cNvPr>
            <p:cNvSpPr/>
            <p:nvPr/>
          </p:nvSpPr>
          <p:spPr>
            <a:xfrm>
              <a:off x="1866237" y="2270335"/>
              <a:ext cx="96211" cy="71213"/>
            </a:xfrm>
            <a:custGeom>
              <a:avLst/>
              <a:gdLst>
                <a:gd name="connsiteX0" fmla="*/ 91578 w 96211"/>
                <a:gd name="connsiteY0" fmla="*/ 71214 h 71213"/>
                <a:gd name="connsiteX1" fmla="*/ 96212 w 96211"/>
                <a:gd name="connsiteY1" fmla="*/ 69994 h 71213"/>
                <a:gd name="connsiteX2" fmla="*/ 91700 w 96211"/>
                <a:gd name="connsiteY2" fmla="*/ 58776 h 71213"/>
                <a:gd name="connsiteX3" fmla="*/ 82554 w 96211"/>
                <a:gd name="connsiteY3" fmla="*/ 53289 h 71213"/>
                <a:gd name="connsiteX4" fmla="*/ 66702 w 96211"/>
                <a:gd name="connsiteY4" fmla="*/ 39509 h 71213"/>
                <a:gd name="connsiteX5" fmla="*/ 65848 w 96211"/>
                <a:gd name="connsiteY5" fmla="*/ 30120 h 71213"/>
                <a:gd name="connsiteX6" fmla="*/ 57678 w 96211"/>
                <a:gd name="connsiteY6" fmla="*/ 23535 h 71213"/>
                <a:gd name="connsiteX7" fmla="*/ 46826 w 96211"/>
                <a:gd name="connsiteY7" fmla="*/ 24510 h 71213"/>
                <a:gd name="connsiteX8" fmla="*/ 22071 w 96211"/>
                <a:gd name="connsiteY8" fmla="*/ 16584 h 71213"/>
                <a:gd name="connsiteX9" fmla="*/ 10975 w 96211"/>
                <a:gd name="connsiteY9" fmla="*/ 0 h 71213"/>
                <a:gd name="connsiteX10" fmla="*/ 0 w 96211"/>
                <a:gd name="connsiteY10" fmla="*/ 732 h 71213"/>
                <a:gd name="connsiteX11" fmla="*/ 0 w 96211"/>
                <a:gd name="connsiteY11" fmla="*/ 4024 h 71213"/>
                <a:gd name="connsiteX12" fmla="*/ 8780 w 96211"/>
                <a:gd name="connsiteY12" fmla="*/ 26096 h 71213"/>
                <a:gd name="connsiteX13" fmla="*/ 16706 w 96211"/>
                <a:gd name="connsiteY13" fmla="*/ 26949 h 71213"/>
                <a:gd name="connsiteX14" fmla="*/ 24144 w 96211"/>
                <a:gd name="connsiteY14" fmla="*/ 33412 h 71213"/>
                <a:gd name="connsiteX15" fmla="*/ 32802 w 96211"/>
                <a:gd name="connsiteY15" fmla="*/ 33412 h 71213"/>
                <a:gd name="connsiteX16" fmla="*/ 41948 w 96211"/>
                <a:gd name="connsiteY16" fmla="*/ 42558 h 71213"/>
                <a:gd name="connsiteX17" fmla="*/ 57678 w 96211"/>
                <a:gd name="connsiteY17" fmla="*/ 59386 h 71213"/>
                <a:gd name="connsiteX18" fmla="*/ 69385 w 96211"/>
                <a:gd name="connsiteY18" fmla="*/ 64751 h 71213"/>
                <a:gd name="connsiteX19" fmla="*/ 79994 w 96211"/>
                <a:gd name="connsiteY19" fmla="*/ 66702 h 71213"/>
                <a:gd name="connsiteX20" fmla="*/ 91578 w 96211"/>
                <a:gd name="connsiteY20" fmla="*/ 71214 h 7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6211" h="71213">
                  <a:moveTo>
                    <a:pt x="91578" y="71214"/>
                  </a:moveTo>
                  <a:lnTo>
                    <a:pt x="96212" y="69994"/>
                  </a:lnTo>
                  <a:lnTo>
                    <a:pt x="91700" y="58776"/>
                  </a:lnTo>
                  <a:lnTo>
                    <a:pt x="82554" y="53289"/>
                  </a:lnTo>
                  <a:lnTo>
                    <a:pt x="66702" y="39509"/>
                  </a:lnTo>
                  <a:lnTo>
                    <a:pt x="65848" y="30120"/>
                  </a:lnTo>
                  <a:lnTo>
                    <a:pt x="57678" y="23535"/>
                  </a:lnTo>
                  <a:lnTo>
                    <a:pt x="46826" y="24510"/>
                  </a:lnTo>
                  <a:lnTo>
                    <a:pt x="22071" y="16584"/>
                  </a:lnTo>
                  <a:lnTo>
                    <a:pt x="10975" y="0"/>
                  </a:lnTo>
                  <a:lnTo>
                    <a:pt x="0" y="732"/>
                  </a:lnTo>
                  <a:lnTo>
                    <a:pt x="0" y="4024"/>
                  </a:lnTo>
                  <a:lnTo>
                    <a:pt x="8780" y="26096"/>
                  </a:lnTo>
                  <a:lnTo>
                    <a:pt x="16706" y="26949"/>
                  </a:lnTo>
                  <a:lnTo>
                    <a:pt x="24144" y="33412"/>
                  </a:lnTo>
                  <a:lnTo>
                    <a:pt x="32802" y="33412"/>
                  </a:lnTo>
                  <a:lnTo>
                    <a:pt x="41948" y="42558"/>
                  </a:lnTo>
                  <a:lnTo>
                    <a:pt x="57678" y="59386"/>
                  </a:lnTo>
                  <a:lnTo>
                    <a:pt x="69385" y="64751"/>
                  </a:lnTo>
                  <a:lnTo>
                    <a:pt x="79994" y="66702"/>
                  </a:lnTo>
                  <a:lnTo>
                    <a:pt x="91578" y="7121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7" name="Freihandform: Form 606">
              <a:extLst>
                <a:ext uri="{FF2B5EF4-FFF2-40B4-BE49-F238E27FC236}">
                  <a16:creationId xmlns:a16="http://schemas.microsoft.com/office/drawing/2014/main" id="{338A5657-AF8B-44D6-BFF7-F44C151A5A3E}"/>
                </a:ext>
              </a:extLst>
            </p:cNvPr>
            <p:cNvSpPr/>
            <p:nvPr/>
          </p:nvSpPr>
          <p:spPr>
            <a:xfrm>
              <a:off x="1919404" y="1365772"/>
              <a:ext cx="198033" cy="139501"/>
            </a:xfrm>
            <a:custGeom>
              <a:avLst/>
              <a:gdLst>
                <a:gd name="connsiteX0" fmla="*/ 43533 w 198033"/>
                <a:gd name="connsiteY0" fmla="*/ 122307 h 139501"/>
                <a:gd name="connsiteX1" fmla="*/ 46338 w 198033"/>
                <a:gd name="connsiteY1" fmla="*/ 138770 h 139501"/>
                <a:gd name="connsiteX2" fmla="*/ 55362 w 198033"/>
                <a:gd name="connsiteY2" fmla="*/ 139501 h 139501"/>
                <a:gd name="connsiteX3" fmla="*/ 66092 w 198033"/>
                <a:gd name="connsiteY3" fmla="*/ 133892 h 139501"/>
                <a:gd name="connsiteX4" fmla="*/ 82676 w 198033"/>
                <a:gd name="connsiteY4" fmla="*/ 122064 h 139501"/>
                <a:gd name="connsiteX5" fmla="*/ 88408 w 198033"/>
                <a:gd name="connsiteY5" fmla="*/ 125600 h 139501"/>
                <a:gd name="connsiteX6" fmla="*/ 100480 w 198033"/>
                <a:gd name="connsiteY6" fmla="*/ 118283 h 139501"/>
                <a:gd name="connsiteX7" fmla="*/ 100480 w 198033"/>
                <a:gd name="connsiteY7" fmla="*/ 97797 h 139501"/>
                <a:gd name="connsiteX8" fmla="*/ 114259 w 198033"/>
                <a:gd name="connsiteY8" fmla="*/ 91578 h 139501"/>
                <a:gd name="connsiteX9" fmla="*/ 118527 w 198033"/>
                <a:gd name="connsiteY9" fmla="*/ 94993 h 139501"/>
                <a:gd name="connsiteX10" fmla="*/ 122064 w 198033"/>
                <a:gd name="connsiteY10" fmla="*/ 93285 h 139501"/>
                <a:gd name="connsiteX11" fmla="*/ 124868 w 198033"/>
                <a:gd name="connsiteY11" fmla="*/ 82311 h 139501"/>
                <a:gd name="connsiteX12" fmla="*/ 144135 w 198033"/>
                <a:gd name="connsiteY12" fmla="*/ 71702 h 139501"/>
                <a:gd name="connsiteX13" fmla="*/ 152793 w 198033"/>
                <a:gd name="connsiteY13" fmla="*/ 66580 h 139501"/>
                <a:gd name="connsiteX14" fmla="*/ 185229 w 198033"/>
                <a:gd name="connsiteY14" fmla="*/ 51337 h 139501"/>
                <a:gd name="connsiteX15" fmla="*/ 191082 w 198033"/>
                <a:gd name="connsiteY15" fmla="*/ 46948 h 139501"/>
                <a:gd name="connsiteX16" fmla="*/ 198033 w 198033"/>
                <a:gd name="connsiteY16" fmla="*/ 45606 h 139501"/>
                <a:gd name="connsiteX17" fmla="*/ 197180 w 198033"/>
                <a:gd name="connsiteY17" fmla="*/ 40729 h 139501"/>
                <a:gd name="connsiteX18" fmla="*/ 160109 w 198033"/>
                <a:gd name="connsiteY18" fmla="*/ 14511 h 139501"/>
                <a:gd name="connsiteX19" fmla="*/ 138404 w 198033"/>
                <a:gd name="connsiteY19" fmla="*/ 15974 h 139501"/>
                <a:gd name="connsiteX20" fmla="*/ 137062 w 198033"/>
                <a:gd name="connsiteY20" fmla="*/ 21462 h 139501"/>
                <a:gd name="connsiteX21" fmla="*/ 127917 w 198033"/>
                <a:gd name="connsiteY21" fmla="*/ 25608 h 139501"/>
                <a:gd name="connsiteX22" fmla="*/ 126332 w 198033"/>
                <a:gd name="connsiteY22" fmla="*/ 16096 h 139501"/>
                <a:gd name="connsiteX23" fmla="*/ 123283 w 198033"/>
                <a:gd name="connsiteY23" fmla="*/ 16096 h 139501"/>
                <a:gd name="connsiteX24" fmla="*/ 116576 w 198033"/>
                <a:gd name="connsiteY24" fmla="*/ 22193 h 139501"/>
                <a:gd name="connsiteX25" fmla="*/ 116576 w 198033"/>
                <a:gd name="connsiteY25" fmla="*/ 22193 h 139501"/>
                <a:gd name="connsiteX26" fmla="*/ 116576 w 198033"/>
                <a:gd name="connsiteY26" fmla="*/ 22193 h 139501"/>
                <a:gd name="connsiteX27" fmla="*/ 111089 w 198033"/>
                <a:gd name="connsiteY27" fmla="*/ 15609 h 139501"/>
                <a:gd name="connsiteX28" fmla="*/ 90481 w 198033"/>
                <a:gd name="connsiteY28" fmla="*/ 854 h 139501"/>
                <a:gd name="connsiteX29" fmla="*/ 74628 w 198033"/>
                <a:gd name="connsiteY29" fmla="*/ 0 h 139501"/>
                <a:gd name="connsiteX30" fmla="*/ 63044 w 198033"/>
                <a:gd name="connsiteY30" fmla="*/ 4268 h 139501"/>
                <a:gd name="connsiteX31" fmla="*/ 22071 w 198033"/>
                <a:gd name="connsiteY31" fmla="*/ 7438 h 139501"/>
                <a:gd name="connsiteX32" fmla="*/ 35729 w 198033"/>
                <a:gd name="connsiteY32" fmla="*/ 37680 h 139501"/>
                <a:gd name="connsiteX33" fmla="*/ 16828 w 198033"/>
                <a:gd name="connsiteY33" fmla="*/ 52557 h 139501"/>
                <a:gd name="connsiteX34" fmla="*/ 16828 w 198033"/>
                <a:gd name="connsiteY34" fmla="*/ 57678 h 139501"/>
                <a:gd name="connsiteX35" fmla="*/ 29266 w 198033"/>
                <a:gd name="connsiteY35" fmla="*/ 63044 h 139501"/>
                <a:gd name="connsiteX36" fmla="*/ 16584 w 198033"/>
                <a:gd name="connsiteY36" fmla="*/ 70726 h 139501"/>
                <a:gd name="connsiteX37" fmla="*/ 11097 w 198033"/>
                <a:gd name="connsiteY37" fmla="*/ 69995 h 139501"/>
                <a:gd name="connsiteX38" fmla="*/ 11097 w 198033"/>
                <a:gd name="connsiteY38" fmla="*/ 74262 h 139501"/>
                <a:gd name="connsiteX39" fmla="*/ 16584 w 198033"/>
                <a:gd name="connsiteY39" fmla="*/ 78287 h 139501"/>
                <a:gd name="connsiteX40" fmla="*/ 18657 w 198033"/>
                <a:gd name="connsiteY40" fmla="*/ 85725 h 139501"/>
                <a:gd name="connsiteX41" fmla="*/ 1097 w 198033"/>
                <a:gd name="connsiteY41" fmla="*/ 94505 h 139501"/>
                <a:gd name="connsiteX42" fmla="*/ 0 w 198033"/>
                <a:gd name="connsiteY42" fmla="*/ 105723 h 139501"/>
                <a:gd name="connsiteX43" fmla="*/ 8170 w 198033"/>
                <a:gd name="connsiteY43" fmla="*/ 106333 h 139501"/>
                <a:gd name="connsiteX44" fmla="*/ 43533 w 198033"/>
                <a:gd name="connsiteY44" fmla="*/ 122307 h 139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8033" h="139501">
                  <a:moveTo>
                    <a:pt x="43533" y="122307"/>
                  </a:moveTo>
                  <a:lnTo>
                    <a:pt x="46338" y="138770"/>
                  </a:lnTo>
                  <a:lnTo>
                    <a:pt x="55362" y="139501"/>
                  </a:lnTo>
                  <a:lnTo>
                    <a:pt x="66092" y="133892"/>
                  </a:lnTo>
                  <a:lnTo>
                    <a:pt x="82676" y="122064"/>
                  </a:lnTo>
                  <a:lnTo>
                    <a:pt x="88408" y="125600"/>
                  </a:lnTo>
                  <a:lnTo>
                    <a:pt x="100480" y="118283"/>
                  </a:lnTo>
                  <a:lnTo>
                    <a:pt x="100480" y="97797"/>
                  </a:lnTo>
                  <a:lnTo>
                    <a:pt x="114259" y="91578"/>
                  </a:lnTo>
                  <a:lnTo>
                    <a:pt x="118527" y="94993"/>
                  </a:lnTo>
                  <a:lnTo>
                    <a:pt x="122064" y="93285"/>
                  </a:lnTo>
                  <a:lnTo>
                    <a:pt x="124868" y="82311"/>
                  </a:lnTo>
                  <a:lnTo>
                    <a:pt x="144135" y="71702"/>
                  </a:lnTo>
                  <a:lnTo>
                    <a:pt x="152793" y="66580"/>
                  </a:lnTo>
                  <a:lnTo>
                    <a:pt x="185229" y="51337"/>
                  </a:lnTo>
                  <a:lnTo>
                    <a:pt x="191082" y="46948"/>
                  </a:lnTo>
                  <a:lnTo>
                    <a:pt x="198033" y="45606"/>
                  </a:lnTo>
                  <a:lnTo>
                    <a:pt x="197180" y="40729"/>
                  </a:lnTo>
                  <a:lnTo>
                    <a:pt x="160109" y="14511"/>
                  </a:lnTo>
                  <a:lnTo>
                    <a:pt x="138404" y="15974"/>
                  </a:lnTo>
                  <a:lnTo>
                    <a:pt x="137062" y="21462"/>
                  </a:lnTo>
                  <a:lnTo>
                    <a:pt x="127917" y="25608"/>
                  </a:lnTo>
                  <a:lnTo>
                    <a:pt x="126332" y="16096"/>
                  </a:lnTo>
                  <a:lnTo>
                    <a:pt x="123283" y="16096"/>
                  </a:lnTo>
                  <a:lnTo>
                    <a:pt x="116576" y="22193"/>
                  </a:lnTo>
                  <a:lnTo>
                    <a:pt x="116576" y="22193"/>
                  </a:lnTo>
                  <a:lnTo>
                    <a:pt x="116576" y="22193"/>
                  </a:lnTo>
                  <a:lnTo>
                    <a:pt x="111089" y="15609"/>
                  </a:lnTo>
                  <a:lnTo>
                    <a:pt x="90481" y="854"/>
                  </a:lnTo>
                  <a:lnTo>
                    <a:pt x="74628" y="0"/>
                  </a:lnTo>
                  <a:lnTo>
                    <a:pt x="63044" y="4268"/>
                  </a:lnTo>
                  <a:lnTo>
                    <a:pt x="22071" y="7438"/>
                  </a:lnTo>
                  <a:lnTo>
                    <a:pt x="35729" y="37680"/>
                  </a:lnTo>
                  <a:lnTo>
                    <a:pt x="16828" y="52557"/>
                  </a:lnTo>
                  <a:lnTo>
                    <a:pt x="16828" y="57678"/>
                  </a:lnTo>
                  <a:lnTo>
                    <a:pt x="29266" y="63044"/>
                  </a:lnTo>
                  <a:lnTo>
                    <a:pt x="16584" y="70726"/>
                  </a:lnTo>
                  <a:lnTo>
                    <a:pt x="11097" y="69995"/>
                  </a:lnTo>
                  <a:lnTo>
                    <a:pt x="11097" y="74262"/>
                  </a:lnTo>
                  <a:lnTo>
                    <a:pt x="16584" y="78287"/>
                  </a:lnTo>
                  <a:lnTo>
                    <a:pt x="18657" y="85725"/>
                  </a:lnTo>
                  <a:lnTo>
                    <a:pt x="1097" y="94505"/>
                  </a:lnTo>
                  <a:lnTo>
                    <a:pt x="0" y="105723"/>
                  </a:lnTo>
                  <a:lnTo>
                    <a:pt x="8170" y="106333"/>
                  </a:lnTo>
                  <a:lnTo>
                    <a:pt x="43533" y="1223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8" name="Freihandform: Form 607">
              <a:extLst>
                <a:ext uri="{FF2B5EF4-FFF2-40B4-BE49-F238E27FC236}">
                  <a16:creationId xmlns:a16="http://schemas.microsoft.com/office/drawing/2014/main" id="{E8ADF759-0E21-4E95-B9B5-ACC65708C682}"/>
                </a:ext>
              </a:extLst>
            </p:cNvPr>
            <p:cNvSpPr/>
            <p:nvPr/>
          </p:nvSpPr>
          <p:spPr>
            <a:xfrm>
              <a:off x="2442899" y="1139814"/>
              <a:ext cx="18779" cy="13901"/>
            </a:xfrm>
            <a:custGeom>
              <a:avLst/>
              <a:gdLst>
                <a:gd name="connsiteX0" fmla="*/ 10243 w 18779"/>
                <a:gd name="connsiteY0" fmla="*/ 11584 h 13901"/>
                <a:gd name="connsiteX1" fmla="*/ 14633 w 18779"/>
                <a:gd name="connsiteY1" fmla="*/ 13901 h 13901"/>
                <a:gd name="connsiteX2" fmla="*/ 18779 w 18779"/>
                <a:gd name="connsiteY2" fmla="*/ 0 h 13901"/>
                <a:gd name="connsiteX3" fmla="*/ 6707 w 18779"/>
                <a:gd name="connsiteY3" fmla="*/ 0 h 13901"/>
                <a:gd name="connsiteX4" fmla="*/ 0 w 18779"/>
                <a:gd name="connsiteY4" fmla="*/ 4756 h 13901"/>
                <a:gd name="connsiteX5" fmla="*/ 5853 w 18779"/>
                <a:gd name="connsiteY5" fmla="*/ 5731 h 13901"/>
                <a:gd name="connsiteX6" fmla="*/ 10243 w 18779"/>
                <a:gd name="connsiteY6" fmla="*/ 11584 h 1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79" h="13901">
                  <a:moveTo>
                    <a:pt x="10243" y="11584"/>
                  </a:moveTo>
                  <a:lnTo>
                    <a:pt x="14633" y="13901"/>
                  </a:lnTo>
                  <a:lnTo>
                    <a:pt x="18779" y="0"/>
                  </a:lnTo>
                  <a:lnTo>
                    <a:pt x="6707" y="0"/>
                  </a:lnTo>
                  <a:lnTo>
                    <a:pt x="0" y="4756"/>
                  </a:lnTo>
                  <a:lnTo>
                    <a:pt x="5853" y="5731"/>
                  </a:lnTo>
                  <a:lnTo>
                    <a:pt x="10243" y="115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09" name="Freihandform: Form 608">
              <a:extLst>
                <a:ext uri="{FF2B5EF4-FFF2-40B4-BE49-F238E27FC236}">
                  <a16:creationId xmlns:a16="http://schemas.microsoft.com/office/drawing/2014/main" id="{69DCD8E0-64D7-4B89-8C7F-C5DBABE0A3EC}"/>
                </a:ext>
              </a:extLst>
            </p:cNvPr>
            <p:cNvSpPr/>
            <p:nvPr/>
          </p:nvSpPr>
          <p:spPr>
            <a:xfrm>
              <a:off x="2472043" y="1195176"/>
              <a:ext cx="63531" cy="41947"/>
            </a:xfrm>
            <a:custGeom>
              <a:avLst/>
              <a:gdLst>
                <a:gd name="connsiteX0" fmla="*/ 1341 w 63531"/>
                <a:gd name="connsiteY0" fmla="*/ 10365 h 41947"/>
                <a:gd name="connsiteX1" fmla="*/ 6219 w 63531"/>
                <a:gd name="connsiteY1" fmla="*/ 22071 h 41947"/>
                <a:gd name="connsiteX2" fmla="*/ 16706 w 63531"/>
                <a:gd name="connsiteY2" fmla="*/ 22803 h 41947"/>
                <a:gd name="connsiteX3" fmla="*/ 26583 w 63531"/>
                <a:gd name="connsiteY3" fmla="*/ 27681 h 41947"/>
                <a:gd name="connsiteX4" fmla="*/ 18657 w 63531"/>
                <a:gd name="connsiteY4" fmla="*/ 34509 h 41947"/>
                <a:gd name="connsiteX5" fmla="*/ 11219 w 63531"/>
                <a:gd name="connsiteY5" fmla="*/ 33412 h 41947"/>
                <a:gd name="connsiteX6" fmla="*/ 19633 w 63531"/>
                <a:gd name="connsiteY6" fmla="*/ 37680 h 41947"/>
                <a:gd name="connsiteX7" fmla="*/ 21340 w 63531"/>
                <a:gd name="connsiteY7" fmla="*/ 41704 h 41947"/>
                <a:gd name="connsiteX8" fmla="*/ 25120 w 63531"/>
                <a:gd name="connsiteY8" fmla="*/ 41948 h 41947"/>
                <a:gd name="connsiteX9" fmla="*/ 30607 w 63531"/>
                <a:gd name="connsiteY9" fmla="*/ 38777 h 41947"/>
                <a:gd name="connsiteX10" fmla="*/ 49020 w 63531"/>
                <a:gd name="connsiteY10" fmla="*/ 36704 h 41947"/>
                <a:gd name="connsiteX11" fmla="*/ 57800 w 63531"/>
                <a:gd name="connsiteY11" fmla="*/ 35119 h 41947"/>
                <a:gd name="connsiteX12" fmla="*/ 62434 w 63531"/>
                <a:gd name="connsiteY12" fmla="*/ 31949 h 41947"/>
                <a:gd name="connsiteX13" fmla="*/ 54630 w 63531"/>
                <a:gd name="connsiteY13" fmla="*/ 26827 h 41947"/>
                <a:gd name="connsiteX14" fmla="*/ 54630 w 63531"/>
                <a:gd name="connsiteY14" fmla="*/ 21096 h 41947"/>
                <a:gd name="connsiteX15" fmla="*/ 63288 w 63531"/>
                <a:gd name="connsiteY15" fmla="*/ 21096 h 41947"/>
                <a:gd name="connsiteX16" fmla="*/ 63166 w 63531"/>
                <a:gd name="connsiteY16" fmla="*/ 20608 h 41947"/>
                <a:gd name="connsiteX17" fmla="*/ 63532 w 63531"/>
                <a:gd name="connsiteY17" fmla="*/ 20608 h 41947"/>
                <a:gd name="connsiteX18" fmla="*/ 62068 w 63531"/>
                <a:gd name="connsiteY18" fmla="*/ 19633 h 41947"/>
                <a:gd name="connsiteX19" fmla="*/ 57800 w 63531"/>
                <a:gd name="connsiteY19" fmla="*/ 16584 h 41947"/>
                <a:gd name="connsiteX20" fmla="*/ 29998 w 63531"/>
                <a:gd name="connsiteY20" fmla="*/ 9146 h 41947"/>
                <a:gd name="connsiteX21" fmla="*/ 24388 w 63531"/>
                <a:gd name="connsiteY21" fmla="*/ 1463 h 41947"/>
                <a:gd name="connsiteX22" fmla="*/ 4268 w 63531"/>
                <a:gd name="connsiteY22" fmla="*/ 0 h 41947"/>
                <a:gd name="connsiteX23" fmla="*/ 0 w 63531"/>
                <a:gd name="connsiteY23" fmla="*/ 2439 h 41947"/>
                <a:gd name="connsiteX24" fmla="*/ 2317 w 63531"/>
                <a:gd name="connsiteY24" fmla="*/ 7073 h 41947"/>
                <a:gd name="connsiteX25" fmla="*/ 1341 w 63531"/>
                <a:gd name="connsiteY25" fmla="*/ 10365 h 4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3531" h="41947">
                  <a:moveTo>
                    <a:pt x="1341" y="10365"/>
                  </a:moveTo>
                  <a:lnTo>
                    <a:pt x="6219" y="22071"/>
                  </a:lnTo>
                  <a:lnTo>
                    <a:pt x="16706" y="22803"/>
                  </a:lnTo>
                  <a:lnTo>
                    <a:pt x="26583" y="27681"/>
                  </a:lnTo>
                  <a:lnTo>
                    <a:pt x="18657" y="34509"/>
                  </a:lnTo>
                  <a:lnTo>
                    <a:pt x="11219" y="33412"/>
                  </a:lnTo>
                  <a:lnTo>
                    <a:pt x="19633" y="37680"/>
                  </a:lnTo>
                  <a:lnTo>
                    <a:pt x="21340" y="41704"/>
                  </a:lnTo>
                  <a:lnTo>
                    <a:pt x="25120" y="41948"/>
                  </a:lnTo>
                  <a:lnTo>
                    <a:pt x="30607" y="38777"/>
                  </a:lnTo>
                  <a:lnTo>
                    <a:pt x="49020" y="36704"/>
                  </a:lnTo>
                  <a:lnTo>
                    <a:pt x="57800" y="35119"/>
                  </a:lnTo>
                  <a:lnTo>
                    <a:pt x="62434" y="31949"/>
                  </a:lnTo>
                  <a:lnTo>
                    <a:pt x="54630" y="26827"/>
                  </a:lnTo>
                  <a:lnTo>
                    <a:pt x="54630" y="21096"/>
                  </a:lnTo>
                  <a:lnTo>
                    <a:pt x="63288" y="21096"/>
                  </a:lnTo>
                  <a:lnTo>
                    <a:pt x="63166" y="20608"/>
                  </a:lnTo>
                  <a:lnTo>
                    <a:pt x="63532" y="20608"/>
                  </a:lnTo>
                  <a:lnTo>
                    <a:pt x="62068" y="19633"/>
                  </a:lnTo>
                  <a:lnTo>
                    <a:pt x="57800" y="16584"/>
                  </a:lnTo>
                  <a:lnTo>
                    <a:pt x="29998" y="9146"/>
                  </a:lnTo>
                  <a:lnTo>
                    <a:pt x="24388" y="1463"/>
                  </a:lnTo>
                  <a:lnTo>
                    <a:pt x="4268" y="0"/>
                  </a:lnTo>
                  <a:lnTo>
                    <a:pt x="0" y="2439"/>
                  </a:lnTo>
                  <a:lnTo>
                    <a:pt x="2317" y="7073"/>
                  </a:lnTo>
                  <a:lnTo>
                    <a:pt x="1341" y="103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0" name="Freihandform: Form 609">
              <a:extLst>
                <a:ext uri="{FF2B5EF4-FFF2-40B4-BE49-F238E27FC236}">
                  <a16:creationId xmlns:a16="http://schemas.microsoft.com/office/drawing/2014/main" id="{660B1689-05AF-4E6A-B115-B84EEECFF2CB}"/>
                </a:ext>
              </a:extLst>
            </p:cNvPr>
            <p:cNvSpPr/>
            <p:nvPr/>
          </p:nvSpPr>
          <p:spPr>
            <a:xfrm>
              <a:off x="2649102" y="3123683"/>
              <a:ext cx="109381" cy="54873"/>
            </a:xfrm>
            <a:custGeom>
              <a:avLst/>
              <a:gdLst>
                <a:gd name="connsiteX0" fmla="*/ 40728 w 109381"/>
                <a:gd name="connsiteY0" fmla="*/ 54630 h 54873"/>
                <a:gd name="connsiteX1" fmla="*/ 43045 w 109381"/>
                <a:gd name="connsiteY1" fmla="*/ 52801 h 54873"/>
                <a:gd name="connsiteX2" fmla="*/ 42070 w 109381"/>
                <a:gd name="connsiteY2" fmla="*/ 45118 h 54873"/>
                <a:gd name="connsiteX3" fmla="*/ 41582 w 109381"/>
                <a:gd name="connsiteY3" fmla="*/ 40972 h 54873"/>
                <a:gd name="connsiteX4" fmla="*/ 45362 w 109381"/>
                <a:gd name="connsiteY4" fmla="*/ 38899 h 54873"/>
                <a:gd name="connsiteX5" fmla="*/ 61337 w 109381"/>
                <a:gd name="connsiteY5" fmla="*/ 30607 h 54873"/>
                <a:gd name="connsiteX6" fmla="*/ 62678 w 109381"/>
                <a:gd name="connsiteY6" fmla="*/ 29998 h 54873"/>
                <a:gd name="connsiteX7" fmla="*/ 64141 w 109381"/>
                <a:gd name="connsiteY7" fmla="*/ 29998 h 54873"/>
                <a:gd name="connsiteX8" fmla="*/ 71092 w 109381"/>
                <a:gd name="connsiteY8" fmla="*/ 29998 h 54873"/>
                <a:gd name="connsiteX9" fmla="*/ 82189 w 109381"/>
                <a:gd name="connsiteY9" fmla="*/ 18291 h 54873"/>
                <a:gd name="connsiteX10" fmla="*/ 83774 w 109381"/>
                <a:gd name="connsiteY10" fmla="*/ 16706 h 54873"/>
                <a:gd name="connsiteX11" fmla="*/ 86091 w 109381"/>
                <a:gd name="connsiteY11" fmla="*/ 16462 h 54873"/>
                <a:gd name="connsiteX12" fmla="*/ 101943 w 109381"/>
                <a:gd name="connsiteY12" fmla="*/ 15121 h 54873"/>
                <a:gd name="connsiteX13" fmla="*/ 104992 w 109381"/>
                <a:gd name="connsiteY13" fmla="*/ 14511 h 54873"/>
                <a:gd name="connsiteX14" fmla="*/ 109382 w 109381"/>
                <a:gd name="connsiteY14" fmla="*/ 13779 h 54873"/>
                <a:gd name="connsiteX15" fmla="*/ 108894 w 109381"/>
                <a:gd name="connsiteY15" fmla="*/ 13536 h 54873"/>
                <a:gd name="connsiteX16" fmla="*/ 95358 w 109381"/>
                <a:gd name="connsiteY16" fmla="*/ 0 h 54873"/>
                <a:gd name="connsiteX17" fmla="*/ 62312 w 109381"/>
                <a:gd name="connsiteY17" fmla="*/ 1341 h 54873"/>
                <a:gd name="connsiteX18" fmla="*/ 34144 w 109381"/>
                <a:gd name="connsiteY18" fmla="*/ 3414 h 54873"/>
                <a:gd name="connsiteX19" fmla="*/ 35851 w 109381"/>
                <a:gd name="connsiteY19" fmla="*/ 4146 h 54873"/>
                <a:gd name="connsiteX20" fmla="*/ 35851 w 109381"/>
                <a:gd name="connsiteY20" fmla="*/ 4146 h 54873"/>
                <a:gd name="connsiteX21" fmla="*/ 35851 w 109381"/>
                <a:gd name="connsiteY21" fmla="*/ 4146 h 54873"/>
                <a:gd name="connsiteX22" fmla="*/ 26583 w 109381"/>
                <a:gd name="connsiteY22" fmla="*/ 4146 h 54873"/>
                <a:gd name="connsiteX23" fmla="*/ 26095 w 109381"/>
                <a:gd name="connsiteY23" fmla="*/ 5122 h 54873"/>
                <a:gd name="connsiteX24" fmla="*/ 24266 w 109381"/>
                <a:gd name="connsiteY24" fmla="*/ 8902 h 54873"/>
                <a:gd name="connsiteX25" fmla="*/ 22681 w 109381"/>
                <a:gd name="connsiteY25" fmla="*/ 11828 h 54873"/>
                <a:gd name="connsiteX26" fmla="*/ 22071 w 109381"/>
                <a:gd name="connsiteY26" fmla="*/ 13292 h 54873"/>
                <a:gd name="connsiteX27" fmla="*/ 20730 w 109381"/>
                <a:gd name="connsiteY27" fmla="*/ 14145 h 54873"/>
                <a:gd name="connsiteX28" fmla="*/ 0 w 109381"/>
                <a:gd name="connsiteY28" fmla="*/ 28047 h 54873"/>
                <a:gd name="connsiteX29" fmla="*/ 5853 w 109381"/>
                <a:gd name="connsiteY29" fmla="*/ 29632 h 54873"/>
                <a:gd name="connsiteX30" fmla="*/ 15365 w 109381"/>
                <a:gd name="connsiteY30" fmla="*/ 32193 h 54873"/>
                <a:gd name="connsiteX31" fmla="*/ 17194 w 109381"/>
                <a:gd name="connsiteY31" fmla="*/ 32680 h 54873"/>
                <a:gd name="connsiteX32" fmla="*/ 18413 w 109381"/>
                <a:gd name="connsiteY32" fmla="*/ 34144 h 54873"/>
                <a:gd name="connsiteX33" fmla="*/ 21218 w 109381"/>
                <a:gd name="connsiteY33" fmla="*/ 37436 h 54873"/>
                <a:gd name="connsiteX34" fmla="*/ 27803 w 109381"/>
                <a:gd name="connsiteY34" fmla="*/ 45484 h 54873"/>
                <a:gd name="connsiteX35" fmla="*/ 32071 w 109381"/>
                <a:gd name="connsiteY35" fmla="*/ 50606 h 54873"/>
                <a:gd name="connsiteX36" fmla="*/ 32071 w 109381"/>
                <a:gd name="connsiteY36" fmla="*/ 50728 h 54873"/>
                <a:gd name="connsiteX37" fmla="*/ 34875 w 109381"/>
                <a:gd name="connsiteY37" fmla="*/ 52313 h 54873"/>
                <a:gd name="connsiteX38" fmla="*/ 34875 w 109381"/>
                <a:gd name="connsiteY38" fmla="*/ 52313 h 54873"/>
                <a:gd name="connsiteX39" fmla="*/ 37070 w 109381"/>
                <a:gd name="connsiteY39" fmla="*/ 53410 h 54873"/>
                <a:gd name="connsiteX40" fmla="*/ 39021 w 109381"/>
                <a:gd name="connsiteY40" fmla="*/ 54264 h 54873"/>
                <a:gd name="connsiteX41" fmla="*/ 40363 w 109381"/>
                <a:gd name="connsiteY41" fmla="*/ 54874 h 54873"/>
                <a:gd name="connsiteX42" fmla="*/ 40728 w 109381"/>
                <a:gd name="connsiteY42" fmla="*/ 54630 h 5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9381" h="54873">
                  <a:moveTo>
                    <a:pt x="40728" y="54630"/>
                  </a:moveTo>
                  <a:lnTo>
                    <a:pt x="43045" y="52801"/>
                  </a:lnTo>
                  <a:lnTo>
                    <a:pt x="42070" y="45118"/>
                  </a:lnTo>
                  <a:lnTo>
                    <a:pt x="41582" y="40972"/>
                  </a:lnTo>
                  <a:lnTo>
                    <a:pt x="45362" y="38899"/>
                  </a:lnTo>
                  <a:lnTo>
                    <a:pt x="61337" y="30607"/>
                  </a:lnTo>
                  <a:lnTo>
                    <a:pt x="62678" y="29998"/>
                  </a:lnTo>
                  <a:lnTo>
                    <a:pt x="64141" y="29998"/>
                  </a:lnTo>
                  <a:lnTo>
                    <a:pt x="71092" y="29998"/>
                  </a:lnTo>
                  <a:lnTo>
                    <a:pt x="82189" y="18291"/>
                  </a:lnTo>
                  <a:lnTo>
                    <a:pt x="83774" y="16706"/>
                  </a:lnTo>
                  <a:lnTo>
                    <a:pt x="86091" y="16462"/>
                  </a:lnTo>
                  <a:lnTo>
                    <a:pt x="101943" y="15121"/>
                  </a:lnTo>
                  <a:lnTo>
                    <a:pt x="104992" y="14511"/>
                  </a:lnTo>
                  <a:lnTo>
                    <a:pt x="109382" y="13779"/>
                  </a:lnTo>
                  <a:lnTo>
                    <a:pt x="108894" y="13536"/>
                  </a:lnTo>
                  <a:lnTo>
                    <a:pt x="95358" y="0"/>
                  </a:lnTo>
                  <a:lnTo>
                    <a:pt x="62312" y="1341"/>
                  </a:lnTo>
                  <a:lnTo>
                    <a:pt x="34144" y="3414"/>
                  </a:lnTo>
                  <a:lnTo>
                    <a:pt x="35851" y="4146"/>
                  </a:lnTo>
                  <a:lnTo>
                    <a:pt x="35851" y="4146"/>
                  </a:lnTo>
                  <a:lnTo>
                    <a:pt x="35851" y="4146"/>
                  </a:lnTo>
                  <a:lnTo>
                    <a:pt x="26583" y="4146"/>
                  </a:lnTo>
                  <a:lnTo>
                    <a:pt x="26095" y="5122"/>
                  </a:lnTo>
                  <a:lnTo>
                    <a:pt x="24266" y="8902"/>
                  </a:lnTo>
                  <a:lnTo>
                    <a:pt x="22681" y="11828"/>
                  </a:lnTo>
                  <a:lnTo>
                    <a:pt x="22071" y="13292"/>
                  </a:lnTo>
                  <a:lnTo>
                    <a:pt x="20730" y="14145"/>
                  </a:lnTo>
                  <a:lnTo>
                    <a:pt x="0" y="28047"/>
                  </a:lnTo>
                  <a:lnTo>
                    <a:pt x="5853" y="29632"/>
                  </a:lnTo>
                  <a:lnTo>
                    <a:pt x="15365" y="32193"/>
                  </a:lnTo>
                  <a:lnTo>
                    <a:pt x="17194" y="32680"/>
                  </a:lnTo>
                  <a:lnTo>
                    <a:pt x="18413" y="34144"/>
                  </a:lnTo>
                  <a:lnTo>
                    <a:pt x="21218" y="37436"/>
                  </a:lnTo>
                  <a:lnTo>
                    <a:pt x="27803" y="45484"/>
                  </a:lnTo>
                  <a:lnTo>
                    <a:pt x="32071" y="50606"/>
                  </a:lnTo>
                  <a:lnTo>
                    <a:pt x="32071" y="50728"/>
                  </a:lnTo>
                  <a:lnTo>
                    <a:pt x="34875" y="52313"/>
                  </a:lnTo>
                  <a:lnTo>
                    <a:pt x="34875" y="52313"/>
                  </a:lnTo>
                  <a:lnTo>
                    <a:pt x="37070" y="53410"/>
                  </a:lnTo>
                  <a:lnTo>
                    <a:pt x="39021" y="54264"/>
                  </a:lnTo>
                  <a:lnTo>
                    <a:pt x="40363" y="54874"/>
                  </a:lnTo>
                  <a:lnTo>
                    <a:pt x="40728" y="5463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1" name="Freihandform: Form 610">
              <a:extLst>
                <a:ext uri="{FF2B5EF4-FFF2-40B4-BE49-F238E27FC236}">
                  <a16:creationId xmlns:a16="http://schemas.microsoft.com/office/drawing/2014/main" id="{DCBEFF7C-8BBB-4740-82B8-E16453317C98}"/>
                </a:ext>
              </a:extLst>
            </p:cNvPr>
            <p:cNvSpPr/>
            <p:nvPr/>
          </p:nvSpPr>
          <p:spPr>
            <a:xfrm>
              <a:off x="2688977" y="3144413"/>
              <a:ext cx="75481" cy="78530"/>
            </a:xfrm>
            <a:custGeom>
              <a:avLst/>
              <a:gdLst>
                <a:gd name="connsiteX0" fmla="*/ 41948 w 75481"/>
                <a:gd name="connsiteY0" fmla="*/ 74141 h 78530"/>
                <a:gd name="connsiteX1" fmla="*/ 48167 w 75481"/>
                <a:gd name="connsiteY1" fmla="*/ 74506 h 78530"/>
                <a:gd name="connsiteX2" fmla="*/ 62800 w 75481"/>
                <a:gd name="connsiteY2" fmla="*/ 75848 h 78530"/>
                <a:gd name="connsiteX3" fmla="*/ 63654 w 75481"/>
                <a:gd name="connsiteY3" fmla="*/ 75970 h 78530"/>
                <a:gd name="connsiteX4" fmla="*/ 64385 w 75481"/>
                <a:gd name="connsiteY4" fmla="*/ 76214 h 78530"/>
                <a:gd name="connsiteX5" fmla="*/ 66458 w 75481"/>
                <a:gd name="connsiteY5" fmla="*/ 76945 h 78530"/>
                <a:gd name="connsiteX6" fmla="*/ 70360 w 75481"/>
                <a:gd name="connsiteY6" fmla="*/ 78530 h 78530"/>
                <a:gd name="connsiteX7" fmla="*/ 71214 w 75481"/>
                <a:gd name="connsiteY7" fmla="*/ 69263 h 78530"/>
                <a:gd name="connsiteX8" fmla="*/ 68409 w 75481"/>
                <a:gd name="connsiteY8" fmla="*/ 52313 h 78530"/>
                <a:gd name="connsiteX9" fmla="*/ 69872 w 75481"/>
                <a:gd name="connsiteY9" fmla="*/ 34631 h 78530"/>
                <a:gd name="connsiteX10" fmla="*/ 75482 w 75481"/>
                <a:gd name="connsiteY10" fmla="*/ 13657 h 78530"/>
                <a:gd name="connsiteX11" fmla="*/ 75482 w 75481"/>
                <a:gd name="connsiteY11" fmla="*/ 0 h 78530"/>
                <a:gd name="connsiteX12" fmla="*/ 72921 w 75481"/>
                <a:gd name="connsiteY12" fmla="*/ 488 h 78530"/>
                <a:gd name="connsiteX13" fmla="*/ 68287 w 75481"/>
                <a:gd name="connsiteY13" fmla="*/ 1341 h 78530"/>
                <a:gd name="connsiteX14" fmla="*/ 63531 w 75481"/>
                <a:gd name="connsiteY14" fmla="*/ 2195 h 78530"/>
                <a:gd name="connsiteX15" fmla="*/ 63288 w 75481"/>
                <a:gd name="connsiteY15" fmla="*/ 2317 h 78530"/>
                <a:gd name="connsiteX16" fmla="*/ 62922 w 75481"/>
                <a:gd name="connsiteY16" fmla="*/ 2317 h 78530"/>
                <a:gd name="connsiteX17" fmla="*/ 47557 w 75481"/>
                <a:gd name="connsiteY17" fmla="*/ 3658 h 78530"/>
                <a:gd name="connsiteX18" fmla="*/ 36461 w 75481"/>
                <a:gd name="connsiteY18" fmla="*/ 15243 h 78530"/>
                <a:gd name="connsiteX19" fmla="*/ 34631 w 75481"/>
                <a:gd name="connsiteY19" fmla="*/ 17194 h 78530"/>
                <a:gd name="connsiteX20" fmla="*/ 24632 w 75481"/>
                <a:gd name="connsiteY20" fmla="*/ 17194 h 78530"/>
                <a:gd name="connsiteX21" fmla="*/ 10243 w 75481"/>
                <a:gd name="connsiteY21" fmla="*/ 24754 h 78530"/>
                <a:gd name="connsiteX22" fmla="*/ 11219 w 75481"/>
                <a:gd name="connsiteY22" fmla="*/ 32071 h 78530"/>
                <a:gd name="connsiteX23" fmla="*/ 11584 w 75481"/>
                <a:gd name="connsiteY23" fmla="*/ 35485 h 78530"/>
                <a:gd name="connsiteX24" fmla="*/ 8902 w 75481"/>
                <a:gd name="connsiteY24" fmla="*/ 37680 h 78530"/>
                <a:gd name="connsiteX25" fmla="*/ 5731 w 75481"/>
                <a:gd name="connsiteY25" fmla="*/ 40119 h 78530"/>
                <a:gd name="connsiteX26" fmla="*/ 4512 w 75481"/>
                <a:gd name="connsiteY26" fmla="*/ 41094 h 78530"/>
                <a:gd name="connsiteX27" fmla="*/ 1585 w 75481"/>
                <a:gd name="connsiteY27" fmla="*/ 43411 h 78530"/>
                <a:gd name="connsiteX28" fmla="*/ 0 w 75481"/>
                <a:gd name="connsiteY28" fmla="*/ 42680 h 78530"/>
                <a:gd name="connsiteX29" fmla="*/ 5000 w 75481"/>
                <a:gd name="connsiteY29" fmla="*/ 45606 h 78530"/>
                <a:gd name="connsiteX30" fmla="*/ 18413 w 75481"/>
                <a:gd name="connsiteY30" fmla="*/ 59995 h 78530"/>
                <a:gd name="connsiteX31" fmla="*/ 27681 w 75481"/>
                <a:gd name="connsiteY31" fmla="*/ 73287 h 78530"/>
                <a:gd name="connsiteX32" fmla="*/ 30607 w 75481"/>
                <a:gd name="connsiteY32" fmla="*/ 73409 h 78530"/>
                <a:gd name="connsiteX33" fmla="*/ 41948 w 75481"/>
                <a:gd name="connsiteY33" fmla="*/ 74141 h 7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5481" h="78530">
                  <a:moveTo>
                    <a:pt x="41948" y="74141"/>
                  </a:moveTo>
                  <a:lnTo>
                    <a:pt x="48167" y="74506"/>
                  </a:lnTo>
                  <a:lnTo>
                    <a:pt x="62800" y="75848"/>
                  </a:lnTo>
                  <a:lnTo>
                    <a:pt x="63654" y="75970"/>
                  </a:lnTo>
                  <a:lnTo>
                    <a:pt x="64385" y="76214"/>
                  </a:lnTo>
                  <a:lnTo>
                    <a:pt x="66458" y="76945"/>
                  </a:lnTo>
                  <a:lnTo>
                    <a:pt x="70360" y="78530"/>
                  </a:lnTo>
                  <a:lnTo>
                    <a:pt x="71214" y="69263"/>
                  </a:lnTo>
                  <a:lnTo>
                    <a:pt x="68409" y="52313"/>
                  </a:lnTo>
                  <a:lnTo>
                    <a:pt x="69872" y="34631"/>
                  </a:lnTo>
                  <a:lnTo>
                    <a:pt x="75482" y="13657"/>
                  </a:lnTo>
                  <a:lnTo>
                    <a:pt x="75482" y="0"/>
                  </a:lnTo>
                  <a:lnTo>
                    <a:pt x="72921" y="488"/>
                  </a:lnTo>
                  <a:lnTo>
                    <a:pt x="68287" y="1341"/>
                  </a:lnTo>
                  <a:lnTo>
                    <a:pt x="63531" y="2195"/>
                  </a:lnTo>
                  <a:lnTo>
                    <a:pt x="63288" y="2317"/>
                  </a:lnTo>
                  <a:lnTo>
                    <a:pt x="62922" y="2317"/>
                  </a:lnTo>
                  <a:lnTo>
                    <a:pt x="47557" y="3658"/>
                  </a:lnTo>
                  <a:lnTo>
                    <a:pt x="36461" y="15243"/>
                  </a:lnTo>
                  <a:lnTo>
                    <a:pt x="34631" y="17194"/>
                  </a:lnTo>
                  <a:lnTo>
                    <a:pt x="24632" y="17194"/>
                  </a:lnTo>
                  <a:lnTo>
                    <a:pt x="10243" y="24754"/>
                  </a:lnTo>
                  <a:lnTo>
                    <a:pt x="11219" y="32071"/>
                  </a:lnTo>
                  <a:lnTo>
                    <a:pt x="11584" y="35485"/>
                  </a:lnTo>
                  <a:lnTo>
                    <a:pt x="8902" y="37680"/>
                  </a:lnTo>
                  <a:lnTo>
                    <a:pt x="5731" y="40119"/>
                  </a:lnTo>
                  <a:lnTo>
                    <a:pt x="4512" y="41094"/>
                  </a:lnTo>
                  <a:lnTo>
                    <a:pt x="1585" y="43411"/>
                  </a:lnTo>
                  <a:lnTo>
                    <a:pt x="0" y="42680"/>
                  </a:lnTo>
                  <a:lnTo>
                    <a:pt x="5000" y="45606"/>
                  </a:lnTo>
                  <a:lnTo>
                    <a:pt x="18413" y="59995"/>
                  </a:lnTo>
                  <a:lnTo>
                    <a:pt x="27681" y="73287"/>
                  </a:lnTo>
                  <a:lnTo>
                    <a:pt x="30607" y="73409"/>
                  </a:lnTo>
                  <a:lnTo>
                    <a:pt x="41948" y="741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2" name="Freihandform: Form 611">
              <a:extLst>
                <a:ext uri="{FF2B5EF4-FFF2-40B4-BE49-F238E27FC236}">
                  <a16:creationId xmlns:a16="http://schemas.microsoft.com/office/drawing/2014/main" id="{1AE80A94-96B8-483F-854E-590E1557ED89}"/>
                </a:ext>
              </a:extLst>
            </p:cNvPr>
            <p:cNvSpPr/>
            <p:nvPr/>
          </p:nvSpPr>
          <p:spPr>
            <a:xfrm>
              <a:off x="2780677" y="3256843"/>
              <a:ext cx="102796" cy="38533"/>
            </a:xfrm>
            <a:custGeom>
              <a:avLst/>
              <a:gdLst>
                <a:gd name="connsiteX0" fmla="*/ 32924 w 102796"/>
                <a:gd name="connsiteY0" fmla="*/ 38534 h 38533"/>
                <a:gd name="connsiteX1" fmla="*/ 44387 w 102796"/>
                <a:gd name="connsiteY1" fmla="*/ 30241 h 38533"/>
                <a:gd name="connsiteX2" fmla="*/ 40850 w 102796"/>
                <a:gd name="connsiteY2" fmla="*/ 21462 h 38533"/>
                <a:gd name="connsiteX3" fmla="*/ 44387 w 102796"/>
                <a:gd name="connsiteY3" fmla="*/ 13170 h 38533"/>
                <a:gd name="connsiteX4" fmla="*/ 53776 w 102796"/>
                <a:gd name="connsiteY4" fmla="*/ 10121 h 38533"/>
                <a:gd name="connsiteX5" fmla="*/ 64995 w 102796"/>
                <a:gd name="connsiteY5" fmla="*/ 5975 h 38533"/>
                <a:gd name="connsiteX6" fmla="*/ 77921 w 102796"/>
                <a:gd name="connsiteY6" fmla="*/ 12438 h 38533"/>
                <a:gd name="connsiteX7" fmla="*/ 82798 w 102796"/>
                <a:gd name="connsiteY7" fmla="*/ 27925 h 38533"/>
                <a:gd name="connsiteX8" fmla="*/ 88286 w 102796"/>
                <a:gd name="connsiteY8" fmla="*/ 32802 h 38533"/>
                <a:gd name="connsiteX9" fmla="*/ 91456 w 102796"/>
                <a:gd name="connsiteY9" fmla="*/ 32437 h 38533"/>
                <a:gd name="connsiteX10" fmla="*/ 98529 w 102796"/>
                <a:gd name="connsiteY10" fmla="*/ 31705 h 38533"/>
                <a:gd name="connsiteX11" fmla="*/ 102797 w 102796"/>
                <a:gd name="connsiteY11" fmla="*/ 25242 h 38533"/>
                <a:gd name="connsiteX12" fmla="*/ 95358 w 102796"/>
                <a:gd name="connsiteY12" fmla="*/ 22437 h 38533"/>
                <a:gd name="connsiteX13" fmla="*/ 83774 w 102796"/>
                <a:gd name="connsiteY13" fmla="*/ 10853 h 38533"/>
                <a:gd name="connsiteX14" fmla="*/ 70238 w 102796"/>
                <a:gd name="connsiteY14" fmla="*/ 1341 h 38533"/>
                <a:gd name="connsiteX15" fmla="*/ 55727 w 102796"/>
                <a:gd name="connsiteY15" fmla="*/ 0 h 38533"/>
                <a:gd name="connsiteX16" fmla="*/ 44874 w 102796"/>
                <a:gd name="connsiteY16" fmla="*/ 4146 h 38533"/>
                <a:gd name="connsiteX17" fmla="*/ 27315 w 102796"/>
                <a:gd name="connsiteY17" fmla="*/ 12926 h 38533"/>
                <a:gd name="connsiteX18" fmla="*/ 17681 w 102796"/>
                <a:gd name="connsiteY18" fmla="*/ 11219 h 38533"/>
                <a:gd name="connsiteX19" fmla="*/ 4756 w 102796"/>
                <a:gd name="connsiteY19" fmla="*/ 732 h 38533"/>
                <a:gd name="connsiteX20" fmla="*/ 2926 w 102796"/>
                <a:gd name="connsiteY20" fmla="*/ 3049 h 38533"/>
                <a:gd name="connsiteX21" fmla="*/ 0 w 102796"/>
                <a:gd name="connsiteY21" fmla="*/ 6829 h 38533"/>
                <a:gd name="connsiteX22" fmla="*/ 853 w 102796"/>
                <a:gd name="connsiteY22" fmla="*/ 12316 h 38533"/>
                <a:gd name="connsiteX23" fmla="*/ 1219 w 102796"/>
                <a:gd name="connsiteY23" fmla="*/ 14633 h 38533"/>
                <a:gd name="connsiteX24" fmla="*/ 15730 w 102796"/>
                <a:gd name="connsiteY24" fmla="*/ 22071 h 38533"/>
                <a:gd name="connsiteX25" fmla="*/ 16706 w 102796"/>
                <a:gd name="connsiteY25" fmla="*/ 28534 h 38533"/>
                <a:gd name="connsiteX26" fmla="*/ 27315 w 102796"/>
                <a:gd name="connsiteY26" fmla="*/ 32924 h 38533"/>
                <a:gd name="connsiteX27" fmla="*/ 32924 w 102796"/>
                <a:gd name="connsiteY27" fmla="*/ 38534 h 3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2796" h="38533">
                  <a:moveTo>
                    <a:pt x="32924" y="38534"/>
                  </a:moveTo>
                  <a:lnTo>
                    <a:pt x="44387" y="30241"/>
                  </a:lnTo>
                  <a:lnTo>
                    <a:pt x="40850" y="21462"/>
                  </a:lnTo>
                  <a:lnTo>
                    <a:pt x="44387" y="13170"/>
                  </a:lnTo>
                  <a:lnTo>
                    <a:pt x="53776" y="10121"/>
                  </a:lnTo>
                  <a:lnTo>
                    <a:pt x="64995" y="5975"/>
                  </a:lnTo>
                  <a:lnTo>
                    <a:pt x="77921" y="12438"/>
                  </a:lnTo>
                  <a:lnTo>
                    <a:pt x="82798" y="27925"/>
                  </a:lnTo>
                  <a:lnTo>
                    <a:pt x="88286" y="32802"/>
                  </a:lnTo>
                  <a:lnTo>
                    <a:pt x="91456" y="32437"/>
                  </a:lnTo>
                  <a:lnTo>
                    <a:pt x="98529" y="31705"/>
                  </a:lnTo>
                  <a:lnTo>
                    <a:pt x="102797" y="25242"/>
                  </a:lnTo>
                  <a:lnTo>
                    <a:pt x="95358" y="22437"/>
                  </a:lnTo>
                  <a:lnTo>
                    <a:pt x="83774" y="10853"/>
                  </a:lnTo>
                  <a:lnTo>
                    <a:pt x="70238" y="1341"/>
                  </a:lnTo>
                  <a:lnTo>
                    <a:pt x="55727" y="0"/>
                  </a:lnTo>
                  <a:lnTo>
                    <a:pt x="44874" y="4146"/>
                  </a:lnTo>
                  <a:lnTo>
                    <a:pt x="27315" y="12926"/>
                  </a:lnTo>
                  <a:lnTo>
                    <a:pt x="17681" y="11219"/>
                  </a:lnTo>
                  <a:lnTo>
                    <a:pt x="4756" y="732"/>
                  </a:lnTo>
                  <a:lnTo>
                    <a:pt x="2926" y="3049"/>
                  </a:lnTo>
                  <a:lnTo>
                    <a:pt x="0" y="6829"/>
                  </a:lnTo>
                  <a:lnTo>
                    <a:pt x="853" y="12316"/>
                  </a:lnTo>
                  <a:lnTo>
                    <a:pt x="1219" y="14633"/>
                  </a:lnTo>
                  <a:lnTo>
                    <a:pt x="15730" y="22071"/>
                  </a:lnTo>
                  <a:lnTo>
                    <a:pt x="16706" y="28534"/>
                  </a:lnTo>
                  <a:lnTo>
                    <a:pt x="27315" y="32924"/>
                  </a:lnTo>
                  <a:lnTo>
                    <a:pt x="32924" y="3853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3" name="Freihandform: Form 612">
              <a:extLst>
                <a:ext uri="{FF2B5EF4-FFF2-40B4-BE49-F238E27FC236}">
                  <a16:creationId xmlns:a16="http://schemas.microsoft.com/office/drawing/2014/main" id="{20613A0A-BB92-4D58-9535-7B1F9E8C2A79}"/>
                </a:ext>
              </a:extLst>
            </p:cNvPr>
            <p:cNvSpPr/>
            <p:nvPr/>
          </p:nvSpPr>
          <p:spPr>
            <a:xfrm>
              <a:off x="2606911" y="3439877"/>
              <a:ext cx="9389" cy="17681"/>
            </a:xfrm>
            <a:custGeom>
              <a:avLst/>
              <a:gdLst>
                <a:gd name="connsiteX0" fmla="*/ 853 w 9389"/>
                <a:gd name="connsiteY0" fmla="*/ 0 h 17681"/>
                <a:gd name="connsiteX1" fmla="*/ 0 w 9389"/>
                <a:gd name="connsiteY1" fmla="*/ 1219 h 17681"/>
                <a:gd name="connsiteX2" fmla="*/ 3536 w 9389"/>
                <a:gd name="connsiteY2" fmla="*/ 8292 h 17681"/>
                <a:gd name="connsiteX3" fmla="*/ 1463 w 9389"/>
                <a:gd name="connsiteY3" fmla="*/ 17682 h 17681"/>
                <a:gd name="connsiteX4" fmla="*/ 9389 w 9389"/>
                <a:gd name="connsiteY4" fmla="*/ 13170 h 17681"/>
                <a:gd name="connsiteX5" fmla="*/ 7926 w 9389"/>
                <a:gd name="connsiteY5" fmla="*/ 4268 h 17681"/>
                <a:gd name="connsiteX6" fmla="*/ 853 w 9389"/>
                <a:gd name="connsiteY6" fmla="*/ 0 h 1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89" h="17681">
                  <a:moveTo>
                    <a:pt x="853" y="0"/>
                  </a:moveTo>
                  <a:lnTo>
                    <a:pt x="0" y="1219"/>
                  </a:lnTo>
                  <a:lnTo>
                    <a:pt x="3536" y="8292"/>
                  </a:lnTo>
                  <a:lnTo>
                    <a:pt x="1463" y="17682"/>
                  </a:lnTo>
                  <a:lnTo>
                    <a:pt x="9389" y="13170"/>
                  </a:lnTo>
                  <a:lnTo>
                    <a:pt x="7926" y="4268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4" name="Freihandform: Form 613">
              <a:extLst>
                <a:ext uri="{FF2B5EF4-FFF2-40B4-BE49-F238E27FC236}">
                  <a16:creationId xmlns:a16="http://schemas.microsoft.com/office/drawing/2014/main" id="{6C888781-8618-4C86-BA8F-A7CEA803A85F}"/>
                </a:ext>
              </a:extLst>
            </p:cNvPr>
            <p:cNvSpPr/>
            <p:nvPr/>
          </p:nvSpPr>
          <p:spPr>
            <a:xfrm>
              <a:off x="2627762" y="3449267"/>
              <a:ext cx="3170" cy="1585"/>
            </a:xfrm>
            <a:custGeom>
              <a:avLst/>
              <a:gdLst>
                <a:gd name="connsiteX0" fmla="*/ 0 w 3170"/>
                <a:gd name="connsiteY0" fmla="*/ 1585 h 1585"/>
                <a:gd name="connsiteX1" fmla="*/ 0 w 3170"/>
                <a:gd name="connsiteY1" fmla="*/ 1585 h 1585"/>
                <a:gd name="connsiteX2" fmla="*/ 3171 w 3170"/>
                <a:gd name="connsiteY2" fmla="*/ 732 h 1585"/>
                <a:gd name="connsiteX3" fmla="*/ 2683 w 3170"/>
                <a:gd name="connsiteY3" fmla="*/ 0 h 1585"/>
                <a:gd name="connsiteX4" fmla="*/ 0 w 3170"/>
                <a:gd name="connsiteY4" fmla="*/ 1585 h 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0" h="1585">
                  <a:moveTo>
                    <a:pt x="0" y="1585"/>
                  </a:moveTo>
                  <a:lnTo>
                    <a:pt x="0" y="1585"/>
                  </a:lnTo>
                  <a:lnTo>
                    <a:pt x="3171" y="732"/>
                  </a:lnTo>
                  <a:lnTo>
                    <a:pt x="2683" y="0"/>
                  </a:lnTo>
                  <a:lnTo>
                    <a:pt x="0" y="1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5" name="Freihandform: Form 614">
              <a:extLst>
                <a:ext uri="{FF2B5EF4-FFF2-40B4-BE49-F238E27FC236}">
                  <a16:creationId xmlns:a16="http://schemas.microsoft.com/office/drawing/2014/main" id="{B46189CC-D6E4-4A61-9C86-B06583A02AB2}"/>
                </a:ext>
              </a:extLst>
            </p:cNvPr>
            <p:cNvSpPr/>
            <p:nvPr/>
          </p:nvSpPr>
          <p:spPr>
            <a:xfrm>
              <a:off x="2711170" y="1184689"/>
              <a:ext cx="15730" cy="4024"/>
            </a:xfrm>
            <a:custGeom>
              <a:avLst/>
              <a:gdLst>
                <a:gd name="connsiteX0" fmla="*/ 15731 w 15730"/>
                <a:gd name="connsiteY0" fmla="*/ 122 h 4024"/>
                <a:gd name="connsiteX1" fmla="*/ 15609 w 15730"/>
                <a:gd name="connsiteY1" fmla="*/ 0 h 4024"/>
                <a:gd name="connsiteX2" fmla="*/ 976 w 15730"/>
                <a:gd name="connsiteY2" fmla="*/ 3536 h 4024"/>
                <a:gd name="connsiteX3" fmla="*/ 0 w 15730"/>
                <a:gd name="connsiteY3" fmla="*/ 4024 h 4024"/>
                <a:gd name="connsiteX4" fmla="*/ 8170 w 15730"/>
                <a:gd name="connsiteY4" fmla="*/ 3780 h 4024"/>
                <a:gd name="connsiteX5" fmla="*/ 15731 w 15730"/>
                <a:gd name="connsiteY5" fmla="*/ 122 h 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30" h="4024">
                  <a:moveTo>
                    <a:pt x="15731" y="122"/>
                  </a:moveTo>
                  <a:lnTo>
                    <a:pt x="15609" y="0"/>
                  </a:lnTo>
                  <a:lnTo>
                    <a:pt x="976" y="3536"/>
                  </a:lnTo>
                  <a:lnTo>
                    <a:pt x="0" y="4024"/>
                  </a:lnTo>
                  <a:lnTo>
                    <a:pt x="8170" y="3780"/>
                  </a:lnTo>
                  <a:lnTo>
                    <a:pt x="15731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6" name="Freihandform: Form 615">
              <a:extLst>
                <a:ext uri="{FF2B5EF4-FFF2-40B4-BE49-F238E27FC236}">
                  <a16:creationId xmlns:a16="http://schemas.microsoft.com/office/drawing/2014/main" id="{77D46505-7A84-4C19-B286-695B0A8492D1}"/>
                </a:ext>
              </a:extLst>
            </p:cNvPr>
            <p:cNvSpPr/>
            <p:nvPr/>
          </p:nvSpPr>
          <p:spPr>
            <a:xfrm>
              <a:off x="2911521" y="4517110"/>
              <a:ext cx="487" cy="731"/>
            </a:xfrm>
            <a:custGeom>
              <a:avLst/>
              <a:gdLst>
                <a:gd name="connsiteX0" fmla="*/ 0 w 487"/>
                <a:gd name="connsiteY0" fmla="*/ 366 h 731"/>
                <a:gd name="connsiteX1" fmla="*/ 244 w 487"/>
                <a:gd name="connsiteY1" fmla="*/ 732 h 731"/>
                <a:gd name="connsiteX2" fmla="*/ 488 w 487"/>
                <a:gd name="connsiteY2" fmla="*/ 366 h 731"/>
                <a:gd name="connsiteX3" fmla="*/ 244 w 487"/>
                <a:gd name="connsiteY3" fmla="*/ 0 h 731"/>
                <a:gd name="connsiteX4" fmla="*/ 0 w 487"/>
                <a:gd name="connsiteY4" fmla="*/ 366 h 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" h="731">
                  <a:moveTo>
                    <a:pt x="0" y="366"/>
                  </a:moveTo>
                  <a:lnTo>
                    <a:pt x="244" y="732"/>
                  </a:lnTo>
                  <a:lnTo>
                    <a:pt x="488" y="366"/>
                  </a:lnTo>
                  <a:lnTo>
                    <a:pt x="244" y="0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7" name="Freihandform: Form 616">
              <a:extLst>
                <a:ext uri="{FF2B5EF4-FFF2-40B4-BE49-F238E27FC236}">
                  <a16:creationId xmlns:a16="http://schemas.microsoft.com/office/drawing/2014/main" id="{2DD92F0D-CF1C-4D5D-AAB8-EAD15271AF8E}"/>
                </a:ext>
              </a:extLst>
            </p:cNvPr>
            <p:cNvSpPr/>
            <p:nvPr/>
          </p:nvSpPr>
          <p:spPr>
            <a:xfrm>
              <a:off x="2913106" y="4603688"/>
              <a:ext cx="3780" cy="7560"/>
            </a:xfrm>
            <a:custGeom>
              <a:avLst/>
              <a:gdLst>
                <a:gd name="connsiteX0" fmla="*/ 1097 w 3780"/>
                <a:gd name="connsiteY0" fmla="*/ 0 h 7560"/>
                <a:gd name="connsiteX1" fmla="*/ 0 w 3780"/>
                <a:gd name="connsiteY1" fmla="*/ 3170 h 7560"/>
                <a:gd name="connsiteX2" fmla="*/ 2805 w 3780"/>
                <a:gd name="connsiteY2" fmla="*/ 7560 h 7560"/>
                <a:gd name="connsiteX3" fmla="*/ 3780 w 3780"/>
                <a:gd name="connsiteY3" fmla="*/ 6707 h 7560"/>
                <a:gd name="connsiteX4" fmla="*/ 1707 w 3780"/>
                <a:gd name="connsiteY4" fmla="*/ 0 h 7560"/>
                <a:gd name="connsiteX5" fmla="*/ 1097 w 3780"/>
                <a:gd name="connsiteY5" fmla="*/ 0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0" h="7560">
                  <a:moveTo>
                    <a:pt x="1097" y="0"/>
                  </a:moveTo>
                  <a:lnTo>
                    <a:pt x="0" y="3170"/>
                  </a:lnTo>
                  <a:lnTo>
                    <a:pt x="2805" y="7560"/>
                  </a:lnTo>
                  <a:lnTo>
                    <a:pt x="3780" y="6707"/>
                  </a:lnTo>
                  <a:lnTo>
                    <a:pt x="1707" y="0"/>
                  </a:lnTo>
                  <a:lnTo>
                    <a:pt x="109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8" name="Freihandform: Form 617">
              <a:extLst>
                <a:ext uri="{FF2B5EF4-FFF2-40B4-BE49-F238E27FC236}">
                  <a16:creationId xmlns:a16="http://schemas.microsoft.com/office/drawing/2014/main" id="{1D48530D-BD3B-437E-ABC8-E1366312CC15}"/>
                </a:ext>
              </a:extLst>
            </p:cNvPr>
            <p:cNvSpPr/>
            <p:nvPr/>
          </p:nvSpPr>
          <p:spPr>
            <a:xfrm>
              <a:off x="2934812" y="4356269"/>
              <a:ext cx="13535" cy="34753"/>
            </a:xfrm>
            <a:custGeom>
              <a:avLst/>
              <a:gdLst>
                <a:gd name="connsiteX0" fmla="*/ 13536 w 13535"/>
                <a:gd name="connsiteY0" fmla="*/ 16828 h 34753"/>
                <a:gd name="connsiteX1" fmla="*/ 13536 w 13535"/>
                <a:gd name="connsiteY1" fmla="*/ 5365 h 34753"/>
                <a:gd name="connsiteX2" fmla="*/ 4268 w 13535"/>
                <a:gd name="connsiteY2" fmla="*/ 0 h 34753"/>
                <a:gd name="connsiteX3" fmla="*/ 1707 w 13535"/>
                <a:gd name="connsiteY3" fmla="*/ 1585 h 34753"/>
                <a:gd name="connsiteX4" fmla="*/ 1707 w 13535"/>
                <a:gd name="connsiteY4" fmla="*/ 6219 h 34753"/>
                <a:gd name="connsiteX5" fmla="*/ 0 w 13535"/>
                <a:gd name="connsiteY5" fmla="*/ 33656 h 34753"/>
                <a:gd name="connsiteX6" fmla="*/ 4756 w 13535"/>
                <a:gd name="connsiteY6" fmla="*/ 34753 h 34753"/>
                <a:gd name="connsiteX7" fmla="*/ 6219 w 13535"/>
                <a:gd name="connsiteY7" fmla="*/ 30607 h 34753"/>
                <a:gd name="connsiteX8" fmla="*/ 13536 w 13535"/>
                <a:gd name="connsiteY8" fmla="*/ 16828 h 34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35" h="34753">
                  <a:moveTo>
                    <a:pt x="13536" y="16828"/>
                  </a:moveTo>
                  <a:lnTo>
                    <a:pt x="13536" y="5365"/>
                  </a:lnTo>
                  <a:lnTo>
                    <a:pt x="4268" y="0"/>
                  </a:lnTo>
                  <a:lnTo>
                    <a:pt x="1707" y="1585"/>
                  </a:lnTo>
                  <a:lnTo>
                    <a:pt x="1707" y="6219"/>
                  </a:lnTo>
                  <a:lnTo>
                    <a:pt x="0" y="33656"/>
                  </a:lnTo>
                  <a:lnTo>
                    <a:pt x="4756" y="34753"/>
                  </a:lnTo>
                  <a:lnTo>
                    <a:pt x="6219" y="30607"/>
                  </a:lnTo>
                  <a:lnTo>
                    <a:pt x="13536" y="1682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19" name="Freihandform: Form 618">
              <a:extLst>
                <a:ext uri="{FF2B5EF4-FFF2-40B4-BE49-F238E27FC236}">
                  <a16:creationId xmlns:a16="http://schemas.microsoft.com/office/drawing/2014/main" id="{0D139073-5767-4025-A713-10B21D149FA1}"/>
                </a:ext>
              </a:extLst>
            </p:cNvPr>
            <p:cNvSpPr/>
            <p:nvPr/>
          </p:nvSpPr>
          <p:spPr>
            <a:xfrm>
              <a:off x="2963468" y="4641490"/>
              <a:ext cx="13657" cy="7926"/>
            </a:xfrm>
            <a:custGeom>
              <a:avLst/>
              <a:gdLst>
                <a:gd name="connsiteX0" fmla="*/ 13658 w 13657"/>
                <a:gd name="connsiteY0" fmla="*/ 1098 h 7926"/>
                <a:gd name="connsiteX1" fmla="*/ 6341 w 13657"/>
                <a:gd name="connsiteY1" fmla="*/ 0 h 7926"/>
                <a:gd name="connsiteX2" fmla="*/ 366 w 13657"/>
                <a:gd name="connsiteY2" fmla="*/ 3780 h 7926"/>
                <a:gd name="connsiteX3" fmla="*/ 0 w 13657"/>
                <a:gd name="connsiteY3" fmla="*/ 7927 h 7926"/>
                <a:gd name="connsiteX4" fmla="*/ 4146 w 13657"/>
                <a:gd name="connsiteY4" fmla="*/ 3658 h 7926"/>
                <a:gd name="connsiteX5" fmla="*/ 12804 w 13657"/>
                <a:gd name="connsiteY5" fmla="*/ 4390 h 7926"/>
                <a:gd name="connsiteX6" fmla="*/ 13658 w 13657"/>
                <a:gd name="connsiteY6" fmla="*/ 1098 h 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57" h="7926">
                  <a:moveTo>
                    <a:pt x="13658" y="1098"/>
                  </a:moveTo>
                  <a:lnTo>
                    <a:pt x="6341" y="0"/>
                  </a:lnTo>
                  <a:lnTo>
                    <a:pt x="366" y="3780"/>
                  </a:lnTo>
                  <a:lnTo>
                    <a:pt x="0" y="7927"/>
                  </a:lnTo>
                  <a:lnTo>
                    <a:pt x="4146" y="3658"/>
                  </a:lnTo>
                  <a:lnTo>
                    <a:pt x="12804" y="4390"/>
                  </a:lnTo>
                  <a:lnTo>
                    <a:pt x="13658" y="10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0" name="Freihandform: Form 619">
              <a:extLst>
                <a:ext uri="{FF2B5EF4-FFF2-40B4-BE49-F238E27FC236}">
                  <a16:creationId xmlns:a16="http://schemas.microsoft.com/office/drawing/2014/main" id="{ED6A3D0F-B991-40ED-AF2B-E10F77516A3B}"/>
                </a:ext>
              </a:extLst>
            </p:cNvPr>
            <p:cNvSpPr/>
            <p:nvPr/>
          </p:nvSpPr>
          <p:spPr>
            <a:xfrm>
              <a:off x="2991027" y="4678682"/>
              <a:ext cx="731" cy="1341"/>
            </a:xfrm>
            <a:custGeom>
              <a:avLst/>
              <a:gdLst>
                <a:gd name="connsiteX0" fmla="*/ 122 w 731"/>
                <a:gd name="connsiteY0" fmla="*/ 1341 h 1341"/>
                <a:gd name="connsiteX1" fmla="*/ 732 w 731"/>
                <a:gd name="connsiteY1" fmla="*/ 366 h 1341"/>
                <a:gd name="connsiteX2" fmla="*/ 732 w 731"/>
                <a:gd name="connsiteY2" fmla="*/ 0 h 1341"/>
                <a:gd name="connsiteX3" fmla="*/ 0 w 731"/>
                <a:gd name="connsiteY3" fmla="*/ 1219 h 1341"/>
                <a:gd name="connsiteX4" fmla="*/ 122 w 731"/>
                <a:gd name="connsiteY4" fmla="*/ 1341 h 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1" h="1341">
                  <a:moveTo>
                    <a:pt x="122" y="1341"/>
                  </a:moveTo>
                  <a:lnTo>
                    <a:pt x="732" y="366"/>
                  </a:lnTo>
                  <a:lnTo>
                    <a:pt x="732" y="0"/>
                  </a:lnTo>
                  <a:lnTo>
                    <a:pt x="0" y="1219"/>
                  </a:lnTo>
                  <a:lnTo>
                    <a:pt x="122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1" name="Freihandform: Form 620">
              <a:extLst>
                <a:ext uri="{FF2B5EF4-FFF2-40B4-BE49-F238E27FC236}">
                  <a16:creationId xmlns:a16="http://schemas.microsoft.com/office/drawing/2014/main" id="{AE0D7127-11A8-466F-AD4E-62E3CC3ED641}"/>
                </a:ext>
              </a:extLst>
            </p:cNvPr>
            <p:cNvSpPr/>
            <p:nvPr/>
          </p:nvSpPr>
          <p:spPr>
            <a:xfrm>
              <a:off x="2912374" y="3804970"/>
              <a:ext cx="157182" cy="863468"/>
            </a:xfrm>
            <a:custGeom>
              <a:avLst/>
              <a:gdLst>
                <a:gd name="connsiteX0" fmla="*/ 82920 w 157182"/>
                <a:gd name="connsiteY0" fmla="*/ 856274 h 863468"/>
                <a:gd name="connsiteX1" fmla="*/ 82920 w 157182"/>
                <a:gd name="connsiteY1" fmla="*/ 858469 h 863468"/>
                <a:gd name="connsiteX2" fmla="*/ 82920 w 157182"/>
                <a:gd name="connsiteY2" fmla="*/ 851275 h 863468"/>
                <a:gd name="connsiteX3" fmla="*/ 88286 w 157182"/>
                <a:gd name="connsiteY3" fmla="*/ 843714 h 863468"/>
                <a:gd name="connsiteX4" fmla="*/ 84262 w 157182"/>
                <a:gd name="connsiteY4" fmla="*/ 834203 h 863468"/>
                <a:gd name="connsiteX5" fmla="*/ 84262 w 157182"/>
                <a:gd name="connsiteY5" fmla="*/ 834203 h 863468"/>
                <a:gd name="connsiteX6" fmla="*/ 95724 w 157182"/>
                <a:gd name="connsiteY6" fmla="*/ 827374 h 863468"/>
                <a:gd name="connsiteX7" fmla="*/ 106089 w 157182"/>
                <a:gd name="connsiteY7" fmla="*/ 827374 h 863468"/>
                <a:gd name="connsiteX8" fmla="*/ 110723 w 157182"/>
                <a:gd name="connsiteY8" fmla="*/ 824082 h 863468"/>
                <a:gd name="connsiteX9" fmla="*/ 111942 w 157182"/>
                <a:gd name="connsiteY9" fmla="*/ 821277 h 863468"/>
                <a:gd name="connsiteX10" fmla="*/ 111333 w 157182"/>
                <a:gd name="connsiteY10" fmla="*/ 820179 h 863468"/>
                <a:gd name="connsiteX11" fmla="*/ 110113 w 157182"/>
                <a:gd name="connsiteY11" fmla="*/ 818107 h 863468"/>
                <a:gd name="connsiteX12" fmla="*/ 69629 w 157182"/>
                <a:gd name="connsiteY12" fmla="*/ 817375 h 863468"/>
                <a:gd name="connsiteX13" fmla="*/ 68287 w 157182"/>
                <a:gd name="connsiteY13" fmla="*/ 817375 h 863468"/>
                <a:gd name="connsiteX14" fmla="*/ 66702 w 157182"/>
                <a:gd name="connsiteY14" fmla="*/ 816155 h 863468"/>
                <a:gd name="connsiteX15" fmla="*/ 56581 w 157182"/>
                <a:gd name="connsiteY15" fmla="*/ 808229 h 863468"/>
                <a:gd name="connsiteX16" fmla="*/ 54630 w 157182"/>
                <a:gd name="connsiteY16" fmla="*/ 806766 h 863468"/>
                <a:gd name="connsiteX17" fmla="*/ 54630 w 157182"/>
                <a:gd name="connsiteY17" fmla="*/ 804205 h 863468"/>
                <a:gd name="connsiteX18" fmla="*/ 52069 w 157182"/>
                <a:gd name="connsiteY18" fmla="*/ 784328 h 863468"/>
                <a:gd name="connsiteX19" fmla="*/ 48899 w 157182"/>
                <a:gd name="connsiteY19" fmla="*/ 782012 h 863468"/>
                <a:gd name="connsiteX20" fmla="*/ 36705 w 157182"/>
                <a:gd name="connsiteY20" fmla="*/ 782012 h 863468"/>
                <a:gd name="connsiteX21" fmla="*/ 35241 w 157182"/>
                <a:gd name="connsiteY21" fmla="*/ 777988 h 863468"/>
                <a:gd name="connsiteX22" fmla="*/ 28534 w 157182"/>
                <a:gd name="connsiteY22" fmla="*/ 759209 h 863468"/>
                <a:gd name="connsiteX23" fmla="*/ 27803 w 157182"/>
                <a:gd name="connsiteY23" fmla="*/ 757257 h 863468"/>
                <a:gd name="connsiteX24" fmla="*/ 28412 w 157182"/>
                <a:gd name="connsiteY24" fmla="*/ 755307 h 863468"/>
                <a:gd name="connsiteX25" fmla="*/ 32680 w 157182"/>
                <a:gd name="connsiteY25" fmla="*/ 742015 h 863468"/>
                <a:gd name="connsiteX26" fmla="*/ 32680 w 157182"/>
                <a:gd name="connsiteY26" fmla="*/ 740551 h 863468"/>
                <a:gd name="connsiteX27" fmla="*/ 33900 w 157182"/>
                <a:gd name="connsiteY27" fmla="*/ 739454 h 863468"/>
                <a:gd name="connsiteX28" fmla="*/ 52923 w 157182"/>
                <a:gd name="connsiteY28" fmla="*/ 721894 h 863468"/>
                <a:gd name="connsiteX29" fmla="*/ 51216 w 157182"/>
                <a:gd name="connsiteY29" fmla="*/ 702750 h 863468"/>
                <a:gd name="connsiteX30" fmla="*/ 51216 w 157182"/>
                <a:gd name="connsiteY30" fmla="*/ 698604 h 863468"/>
                <a:gd name="connsiteX31" fmla="*/ 54752 w 157182"/>
                <a:gd name="connsiteY31" fmla="*/ 696774 h 863468"/>
                <a:gd name="connsiteX32" fmla="*/ 63410 w 157182"/>
                <a:gd name="connsiteY32" fmla="*/ 692263 h 863468"/>
                <a:gd name="connsiteX33" fmla="*/ 63410 w 157182"/>
                <a:gd name="connsiteY33" fmla="*/ 687995 h 863468"/>
                <a:gd name="connsiteX34" fmla="*/ 63410 w 157182"/>
                <a:gd name="connsiteY34" fmla="*/ 684946 h 863468"/>
                <a:gd name="connsiteX35" fmla="*/ 65605 w 157182"/>
                <a:gd name="connsiteY35" fmla="*/ 682873 h 863468"/>
                <a:gd name="connsiteX36" fmla="*/ 71946 w 157182"/>
                <a:gd name="connsiteY36" fmla="*/ 676898 h 863468"/>
                <a:gd name="connsiteX37" fmla="*/ 68653 w 157182"/>
                <a:gd name="connsiteY37" fmla="*/ 643974 h 863468"/>
                <a:gd name="connsiteX38" fmla="*/ 65361 w 157182"/>
                <a:gd name="connsiteY38" fmla="*/ 643364 h 863468"/>
                <a:gd name="connsiteX39" fmla="*/ 64385 w 157182"/>
                <a:gd name="connsiteY39" fmla="*/ 639828 h 863468"/>
                <a:gd name="connsiteX40" fmla="*/ 62312 w 157182"/>
                <a:gd name="connsiteY40" fmla="*/ 632755 h 863468"/>
                <a:gd name="connsiteX41" fmla="*/ 61093 w 157182"/>
                <a:gd name="connsiteY41" fmla="*/ 628731 h 863468"/>
                <a:gd name="connsiteX42" fmla="*/ 64507 w 157182"/>
                <a:gd name="connsiteY42" fmla="*/ 626170 h 863468"/>
                <a:gd name="connsiteX43" fmla="*/ 71458 w 157182"/>
                <a:gd name="connsiteY43" fmla="*/ 621049 h 863468"/>
                <a:gd name="connsiteX44" fmla="*/ 62922 w 157182"/>
                <a:gd name="connsiteY44" fmla="*/ 594709 h 863468"/>
                <a:gd name="connsiteX45" fmla="*/ 62922 w 157182"/>
                <a:gd name="connsiteY45" fmla="*/ 594100 h 863468"/>
                <a:gd name="connsiteX46" fmla="*/ 62922 w 157182"/>
                <a:gd name="connsiteY46" fmla="*/ 593368 h 863468"/>
                <a:gd name="connsiteX47" fmla="*/ 61093 w 157182"/>
                <a:gd name="connsiteY47" fmla="*/ 571662 h 863468"/>
                <a:gd name="connsiteX48" fmla="*/ 61093 w 157182"/>
                <a:gd name="connsiteY48" fmla="*/ 569467 h 863468"/>
                <a:gd name="connsiteX49" fmla="*/ 62556 w 157182"/>
                <a:gd name="connsiteY49" fmla="*/ 567516 h 863468"/>
                <a:gd name="connsiteX50" fmla="*/ 66824 w 157182"/>
                <a:gd name="connsiteY50" fmla="*/ 561785 h 863468"/>
                <a:gd name="connsiteX51" fmla="*/ 64141 w 157182"/>
                <a:gd name="connsiteY51" fmla="*/ 519227 h 863468"/>
                <a:gd name="connsiteX52" fmla="*/ 64141 w 157182"/>
                <a:gd name="connsiteY52" fmla="*/ 518130 h 863468"/>
                <a:gd name="connsiteX53" fmla="*/ 64141 w 157182"/>
                <a:gd name="connsiteY53" fmla="*/ 517033 h 863468"/>
                <a:gd name="connsiteX54" fmla="*/ 75360 w 157182"/>
                <a:gd name="connsiteY54" fmla="*/ 482523 h 863468"/>
                <a:gd name="connsiteX55" fmla="*/ 75360 w 157182"/>
                <a:gd name="connsiteY55" fmla="*/ 481791 h 863468"/>
                <a:gd name="connsiteX56" fmla="*/ 83408 w 157182"/>
                <a:gd name="connsiteY56" fmla="*/ 464963 h 863468"/>
                <a:gd name="connsiteX57" fmla="*/ 80603 w 157182"/>
                <a:gd name="connsiteY57" fmla="*/ 428381 h 863468"/>
                <a:gd name="connsiteX58" fmla="*/ 80603 w 157182"/>
                <a:gd name="connsiteY58" fmla="*/ 427405 h 863468"/>
                <a:gd name="connsiteX59" fmla="*/ 80603 w 157182"/>
                <a:gd name="connsiteY59" fmla="*/ 426064 h 863468"/>
                <a:gd name="connsiteX60" fmla="*/ 91334 w 157182"/>
                <a:gd name="connsiteY60" fmla="*/ 401066 h 863468"/>
                <a:gd name="connsiteX61" fmla="*/ 89627 w 157182"/>
                <a:gd name="connsiteY61" fmla="*/ 383019 h 863468"/>
                <a:gd name="connsiteX62" fmla="*/ 89627 w 157182"/>
                <a:gd name="connsiteY62" fmla="*/ 380702 h 863468"/>
                <a:gd name="connsiteX63" fmla="*/ 90969 w 157182"/>
                <a:gd name="connsiteY63" fmla="*/ 378751 h 863468"/>
                <a:gd name="connsiteX64" fmla="*/ 103163 w 157182"/>
                <a:gd name="connsiteY64" fmla="*/ 362411 h 863468"/>
                <a:gd name="connsiteX65" fmla="*/ 104870 w 157182"/>
                <a:gd name="connsiteY65" fmla="*/ 333998 h 863468"/>
                <a:gd name="connsiteX66" fmla="*/ 94749 w 157182"/>
                <a:gd name="connsiteY66" fmla="*/ 295343 h 863468"/>
                <a:gd name="connsiteX67" fmla="*/ 94749 w 157182"/>
                <a:gd name="connsiteY67" fmla="*/ 294123 h 863468"/>
                <a:gd name="connsiteX68" fmla="*/ 94749 w 157182"/>
                <a:gd name="connsiteY68" fmla="*/ 292782 h 863468"/>
                <a:gd name="connsiteX69" fmla="*/ 101334 w 157182"/>
                <a:gd name="connsiteY69" fmla="*/ 256199 h 863468"/>
                <a:gd name="connsiteX70" fmla="*/ 104016 w 157182"/>
                <a:gd name="connsiteY70" fmla="*/ 244005 h 863468"/>
                <a:gd name="connsiteX71" fmla="*/ 104016 w 157182"/>
                <a:gd name="connsiteY71" fmla="*/ 243396 h 863468"/>
                <a:gd name="connsiteX72" fmla="*/ 104016 w 157182"/>
                <a:gd name="connsiteY72" fmla="*/ 243396 h 863468"/>
                <a:gd name="connsiteX73" fmla="*/ 119015 w 157182"/>
                <a:gd name="connsiteY73" fmla="*/ 209862 h 863468"/>
                <a:gd name="connsiteX74" fmla="*/ 119015 w 157182"/>
                <a:gd name="connsiteY74" fmla="*/ 208886 h 863468"/>
                <a:gd name="connsiteX75" fmla="*/ 119747 w 157182"/>
                <a:gd name="connsiteY75" fmla="*/ 208154 h 863468"/>
                <a:gd name="connsiteX76" fmla="*/ 135965 w 157182"/>
                <a:gd name="connsiteY76" fmla="*/ 191083 h 863468"/>
                <a:gd name="connsiteX77" fmla="*/ 134624 w 157182"/>
                <a:gd name="connsiteY77" fmla="*/ 184742 h 863468"/>
                <a:gd name="connsiteX78" fmla="*/ 134624 w 157182"/>
                <a:gd name="connsiteY78" fmla="*/ 183522 h 863468"/>
                <a:gd name="connsiteX79" fmla="*/ 132794 w 157182"/>
                <a:gd name="connsiteY79" fmla="*/ 143160 h 863468"/>
                <a:gd name="connsiteX80" fmla="*/ 132794 w 157182"/>
                <a:gd name="connsiteY80" fmla="*/ 140111 h 863468"/>
                <a:gd name="connsiteX81" fmla="*/ 135111 w 157182"/>
                <a:gd name="connsiteY81" fmla="*/ 138160 h 863468"/>
                <a:gd name="connsiteX82" fmla="*/ 143525 w 157182"/>
                <a:gd name="connsiteY82" fmla="*/ 131453 h 863468"/>
                <a:gd name="connsiteX83" fmla="*/ 144257 w 157182"/>
                <a:gd name="connsiteY83" fmla="*/ 131453 h 863468"/>
                <a:gd name="connsiteX84" fmla="*/ 145233 w 157182"/>
                <a:gd name="connsiteY84" fmla="*/ 131453 h 863468"/>
                <a:gd name="connsiteX85" fmla="*/ 153525 w 157182"/>
                <a:gd name="connsiteY85" fmla="*/ 128405 h 863468"/>
                <a:gd name="connsiteX86" fmla="*/ 157183 w 157182"/>
                <a:gd name="connsiteY86" fmla="*/ 118283 h 863468"/>
                <a:gd name="connsiteX87" fmla="*/ 152427 w 157182"/>
                <a:gd name="connsiteY87" fmla="*/ 104870 h 863468"/>
                <a:gd name="connsiteX88" fmla="*/ 152427 w 157182"/>
                <a:gd name="connsiteY88" fmla="*/ 104870 h 863468"/>
                <a:gd name="connsiteX89" fmla="*/ 152427 w 157182"/>
                <a:gd name="connsiteY89" fmla="*/ 104870 h 863468"/>
                <a:gd name="connsiteX90" fmla="*/ 150720 w 157182"/>
                <a:gd name="connsiteY90" fmla="*/ 103650 h 863468"/>
                <a:gd name="connsiteX91" fmla="*/ 147915 w 157182"/>
                <a:gd name="connsiteY91" fmla="*/ 101699 h 863468"/>
                <a:gd name="connsiteX92" fmla="*/ 146208 w 157182"/>
                <a:gd name="connsiteY92" fmla="*/ 100480 h 863468"/>
                <a:gd name="connsiteX93" fmla="*/ 146208 w 157182"/>
                <a:gd name="connsiteY93" fmla="*/ 98407 h 863468"/>
                <a:gd name="connsiteX94" fmla="*/ 134014 w 157182"/>
                <a:gd name="connsiteY94" fmla="*/ 56337 h 863468"/>
                <a:gd name="connsiteX95" fmla="*/ 133282 w 157182"/>
                <a:gd name="connsiteY95" fmla="*/ 53898 h 863468"/>
                <a:gd name="connsiteX96" fmla="*/ 133282 w 157182"/>
                <a:gd name="connsiteY96" fmla="*/ 52801 h 863468"/>
                <a:gd name="connsiteX97" fmla="*/ 130478 w 157182"/>
                <a:gd name="connsiteY97" fmla="*/ 24510 h 863468"/>
                <a:gd name="connsiteX98" fmla="*/ 130478 w 157182"/>
                <a:gd name="connsiteY98" fmla="*/ 23657 h 863468"/>
                <a:gd name="connsiteX99" fmla="*/ 122917 w 157182"/>
                <a:gd name="connsiteY99" fmla="*/ 2439 h 863468"/>
                <a:gd name="connsiteX100" fmla="*/ 118405 w 157182"/>
                <a:gd name="connsiteY100" fmla="*/ 0 h 863468"/>
                <a:gd name="connsiteX101" fmla="*/ 107431 w 157182"/>
                <a:gd name="connsiteY101" fmla="*/ 12194 h 863468"/>
                <a:gd name="connsiteX102" fmla="*/ 104870 w 157182"/>
                <a:gd name="connsiteY102" fmla="*/ 14999 h 863468"/>
                <a:gd name="connsiteX103" fmla="*/ 103650 w 157182"/>
                <a:gd name="connsiteY103" fmla="*/ 42924 h 863468"/>
                <a:gd name="connsiteX104" fmla="*/ 109382 w 157182"/>
                <a:gd name="connsiteY104" fmla="*/ 48655 h 863468"/>
                <a:gd name="connsiteX105" fmla="*/ 104992 w 157182"/>
                <a:gd name="connsiteY105" fmla="*/ 104382 h 863468"/>
                <a:gd name="connsiteX106" fmla="*/ 98041 w 157182"/>
                <a:gd name="connsiteY106" fmla="*/ 109991 h 863468"/>
                <a:gd name="connsiteX107" fmla="*/ 100846 w 157182"/>
                <a:gd name="connsiteY107" fmla="*/ 157305 h 863468"/>
                <a:gd name="connsiteX108" fmla="*/ 100846 w 157182"/>
                <a:gd name="connsiteY108" fmla="*/ 157305 h 863468"/>
                <a:gd name="connsiteX109" fmla="*/ 96456 w 157182"/>
                <a:gd name="connsiteY109" fmla="*/ 178888 h 863468"/>
                <a:gd name="connsiteX110" fmla="*/ 81091 w 157182"/>
                <a:gd name="connsiteY110" fmla="*/ 232177 h 863468"/>
                <a:gd name="connsiteX111" fmla="*/ 83774 w 157182"/>
                <a:gd name="connsiteY111" fmla="*/ 239250 h 863468"/>
                <a:gd name="connsiteX112" fmla="*/ 83774 w 157182"/>
                <a:gd name="connsiteY112" fmla="*/ 240591 h 863468"/>
                <a:gd name="connsiteX113" fmla="*/ 85115 w 157182"/>
                <a:gd name="connsiteY113" fmla="*/ 260224 h 863468"/>
                <a:gd name="connsiteX114" fmla="*/ 76701 w 157182"/>
                <a:gd name="connsiteY114" fmla="*/ 267174 h 863468"/>
                <a:gd name="connsiteX115" fmla="*/ 82189 w 157182"/>
                <a:gd name="connsiteY115" fmla="*/ 297538 h 863468"/>
                <a:gd name="connsiteX116" fmla="*/ 82189 w 157182"/>
                <a:gd name="connsiteY116" fmla="*/ 329852 h 863468"/>
                <a:gd name="connsiteX117" fmla="*/ 72068 w 157182"/>
                <a:gd name="connsiteY117" fmla="*/ 345826 h 863468"/>
                <a:gd name="connsiteX118" fmla="*/ 65117 w 157182"/>
                <a:gd name="connsiteY118" fmla="*/ 365459 h 863468"/>
                <a:gd name="connsiteX119" fmla="*/ 60727 w 157182"/>
                <a:gd name="connsiteY119" fmla="*/ 382165 h 863468"/>
                <a:gd name="connsiteX120" fmla="*/ 54020 w 157182"/>
                <a:gd name="connsiteY120" fmla="*/ 395701 h 863468"/>
                <a:gd name="connsiteX121" fmla="*/ 46704 w 157182"/>
                <a:gd name="connsiteY121" fmla="*/ 406554 h 863468"/>
                <a:gd name="connsiteX122" fmla="*/ 44753 w 157182"/>
                <a:gd name="connsiteY122" fmla="*/ 423259 h 863468"/>
                <a:gd name="connsiteX123" fmla="*/ 37314 w 157182"/>
                <a:gd name="connsiteY123" fmla="*/ 426918 h 863468"/>
                <a:gd name="connsiteX124" fmla="*/ 37314 w 157182"/>
                <a:gd name="connsiteY124" fmla="*/ 448014 h 863468"/>
                <a:gd name="connsiteX125" fmla="*/ 44021 w 157182"/>
                <a:gd name="connsiteY125" fmla="*/ 468866 h 863468"/>
                <a:gd name="connsiteX126" fmla="*/ 42924 w 157182"/>
                <a:gd name="connsiteY126" fmla="*/ 491669 h 863468"/>
                <a:gd name="connsiteX127" fmla="*/ 36339 w 157182"/>
                <a:gd name="connsiteY127" fmla="*/ 500205 h 863468"/>
                <a:gd name="connsiteX128" fmla="*/ 33412 w 157182"/>
                <a:gd name="connsiteY128" fmla="*/ 520935 h 863468"/>
                <a:gd name="connsiteX129" fmla="*/ 28291 w 157182"/>
                <a:gd name="connsiteY129" fmla="*/ 533861 h 863468"/>
                <a:gd name="connsiteX130" fmla="*/ 40485 w 157182"/>
                <a:gd name="connsiteY130" fmla="*/ 546055 h 863468"/>
                <a:gd name="connsiteX131" fmla="*/ 49386 w 157182"/>
                <a:gd name="connsiteY131" fmla="*/ 540811 h 863468"/>
                <a:gd name="connsiteX132" fmla="*/ 57800 w 157182"/>
                <a:gd name="connsiteY132" fmla="*/ 543616 h 863468"/>
                <a:gd name="connsiteX133" fmla="*/ 55606 w 157182"/>
                <a:gd name="connsiteY133" fmla="*/ 552518 h 863468"/>
                <a:gd name="connsiteX134" fmla="*/ 58532 w 157182"/>
                <a:gd name="connsiteY134" fmla="*/ 564712 h 863468"/>
                <a:gd name="connsiteX135" fmla="*/ 52801 w 157182"/>
                <a:gd name="connsiteY135" fmla="*/ 571419 h 863468"/>
                <a:gd name="connsiteX136" fmla="*/ 54630 w 157182"/>
                <a:gd name="connsiteY136" fmla="*/ 592027 h 863468"/>
                <a:gd name="connsiteX137" fmla="*/ 45240 w 157182"/>
                <a:gd name="connsiteY137" fmla="*/ 607879 h 863468"/>
                <a:gd name="connsiteX138" fmla="*/ 47679 w 157182"/>
                <a:gd name="connsiteY138" fmla="*/ 617512 h 863468"/>
                <a:gd name="connsiteX139" fmla="*/ 55362 w 157182"/>
                <a:gd name="connsiteY139" fmla="*/ 621293 h 863468"/>
                <a:gd name="connsiteX140" fmla="*/ 56581 w 157182"/>
                <a:gd name="connsiteY140" fmla="*/ 629950 h 863468"/>
                <a:gd name="connsiteX141" fmla="*/ 48899 w 157182"/>
                <a:gd name="connsiteY141" fmla="*/ 635682 h 863468"/>
                <a:gd name="connsiteX142" fmla="*/ 48899 w 157182"/>
                <a:gd name="connsiteY142" fmla="*/ 647266 h 863468"/>
                <a:gd name="connsiteX143" fmla="*/ 41338 w 157182"/>
                <a:gd name="connsiteY143" fmla="*/ 650071 h 863468"/>
                <a:gd name="connsiteX144" fmla="*/ 37680 w 157182"/>
                <a:gd name="connsiteY144" fmla="*/ 653851 h 863468"/>
                <a:gd name="connsiteX145" fmla="*/ 38534 w 157182"/>
                <a:gd name="connsiteY145" fmla="*/ 664704 h 863468"/>
                <a:gd name="connsiteX146" fmla="*/ 32193 w 157182"/>
                <a:gd name="connsiteY146" fmla="*/ 676898 h 863468"/>
                <a:gd name="connsiteX147" fmla="*/ 23657 w 157182"/>
                <a:gd name="connsiteY147" fmla="*/ 679337 h 863468"/>
                <a:gd name="connsiteX148" fmla="*/ 21096 w 157182"/>
                <a:gd name="connsiteY148" fmla="*/ 670313 h 863468"/>
                <a:gd name="connsiteX149" fmla="*/ 21096 w 157182"/>
                <a:gd name="connsiteY149" fmla="*/ 661534 h 863468"/>
                <a:gd name="connsiteX150" fmla="*/ 11585 w 157182"/>
                <a:gd name="connsiteY150" fmla="*/ 659217 h 863468"/>
                <a:gd name="connsiteX151" fmla="*/ 9999 w 157182"/>
                <a:gd name="connsiteY151" fmla="*/ 668240 h 863468"/>
                <a:gd name="connsiteX152" fmla="*/ 0 w 157182"/>
                <a:gd name="connsiteY152" fmla="*/ 676654 h 863468"/>
                <a:gd name="connsiteX153" fmla="*/ 9633 w 157182"/>
                <a:gd name="connsiteY153" fmla="*/ 675313 h 863468"/>
                <a:gd name="connsiteX154" fmla="*/ 11828 w 157182"/>
                <a:gd name="connsiteY154" fmla="*/ 677142 h 863468"/>
                <a:gd name="connsiteX155" fmla="*/ 13779 w 157182"/>
                <a:gd name="connsiteY155" fmla="*/ 678727 h 863468"/>
                <a:gd name="connsiteX156" fmla="*/ 24998 w 157182"/>
                <a:gd name="connsiteY156" fmla="*/ 681410 h 863468"/>
                <a:gd name="connsiteX157" fmla="*/ 26339 w 157182"/>
                <a:gd name="connsiteY157" fmla="*/ 689336 h 863468"/>
                <a:gd name="connsiteX158" fmla="*/ 19267 w 157182"/>
                <a:gd name="connsiteY158" fmla="*/ 698726 h 863468"/>
                <a:gd name="connsiteX159" fmla="*/ 17316 w 157182"/>
                <a:gd name="connsiteY159" fmla="*/ 702018 h 863468"/>
                <a:gd name="connsiteX160" fmla="*/ 18901 w 157182"/>
                <a:gd name="connsiteY160" fmla="*/ 703237 h 863468"/>
                <a:gd name="connsiteX161" fmla="*/ 23169 w 157182"/>
                <a:gd name="connsiteY161" fmla="*/ 702140 h 863468"/>
                <a:gd name="connsiteX162" fmla="*/ 31217 w 157182"/>
                <a:gd name="connsiteY162" fmla="*/ 696287 h 863468"/>
                <a:gd name="connsiteX163" fmla="*/ 37436 w 157182"/>
                <a:gd name="connsiteY163" fmla="*/ 704823 h 863468"/>
                <a:gd name="connsiteX164" fmla="*/ 38656 w 157182"/>
                <a:gd name="connsiteY164" fmla="*/ 717017 h 863468"/>
                <a:gd name="connsiteX165" fmla="*/ 29144 w 157182"/>
                <a:gd name="connsiteY165" fmla="*/ 720553 h 863468"/>
                <a:gd name="connsiteX166" fmla="*/ 28169 w 157182"/>
                <a:gd name="connsiteY166" fmla="*/ 719456 h 863468"/>
                <a:gd name="connsiteX167" fmla="*/ 21584 w 157182"/>
                <a:gd name="connsiteY167" fmla="*/ 713602 h 863468"/>
                <a:gd name="connsiteX168" fmla="*/ 21584 w 157182"/>
                <a:gd name="connsiteY168" fmla="*/ 713602 h 863468"/>
                <a:gd name="connsiteX169" fmla="*/ 20730 w 157182"/>
                <a:gd name="connsiteY169" fmla="*/ 713602 h 863468"/>
                <a:gd name="connsiteX170" fmla="*/ 20730 w 157182"/>
                <a:gd name="connsiteY170" fmla="*/ 713602 h 863468"/>
                <a:gd name="connsiteX171" fmla="*/ 21706 w 157182"/>
                <a:gd name="connsiteY171" fmla="*/ 716285 h 863468"/>
                <a:gd name="connsiteX172" fmla="*/ 24388 w 157182"/>
                <a:gd name="connsiteY172" fmla="*/ 722992 h 863468"/>
                <a:gd name="connsiteX173" fmla="*/ 22437 w 157182"/>
                <a:gd name="connsiteY173" fmla="*/ 733845 h 863468"/>
                <a:gd name="connsiteX174" fmla="*/ 21462 w 157182"/>
                <a:gd name="connsiteY174" fmla="*/ 748722 h 863468"/>
                <a:gd name="connsiteX175" fmla="*/ 24388 w 157182"/>
                <a:gd name="connsiteY175" fmla="*/ 766037 h 863468"/>
                <a:gd name="connsiteX176" fmla="*/ 24388 w 157182"/>
                <a:gd name="connsiteY176" fmla="*/ 766037 h 863468"/>
                <a:gd name="connsiteX177" fmla="*/ 22437 w 157182"/>
                <a:gd name="connsiteY177" fmla="*/ 770305 h 863468"/>
                <a:gd name="connsiteX178" fmla="*/ 23047 w 157182"/>
                <a:gd name="connsiteY178" fmla="*/ 772744 h 863468"/>
                <a:gd name="connsiteX179" fmla="*/ 29388 w 157182"/>
                <a:gd name="connsiteY179" fmla="*/ 774451 h 863468"/>
                <a:gd name="connsiteX180" fmla="*/ 34388 w 157182"/>
                <a:gd name="connsiteY180" fmla="*/ 785914 h 863468"/>
                <a:gd name="connsiteX181" fmla="*/ 28412 w 157182"/>
                <a:gd name="connsiteY181" fmla="*/ 789450 h 863468"/>
                <a:gd name="connsiteX182" fmla="*/ 34753 w 157182"/>
                <a:gd name="connsiteY182" fmla="*/ 796279 h 863468"/>
                <a:gd name="connsiteX183" fmla="*/ 34753 w 157182"/>
                <a:gd name="connsiteY183" fmla="*/ 811034 h 863468"/>
                <a:gd name="connsiteX184" fmla="*/ 40607 w 157182"/>
                <a:gd name="connsiteY184" fmla="*/ 813839 h 863468"/>
                <a:gd name="connsiteX185" fmla="*/ 45119 w 157182"/>
                <a:gd name="connsiteY185" fmla="*/ 809327 h 863468"/>
                <a:gd name="connsiteX186" fmla="*/ 53167 w 157182"/>
                <a:gd name="connsiteY186" fmla="*/ 810424 h 863468"/>
                <a:gd name="connsiteX187" fmla="*/ 55971 w 157182"/>
                <a:gd name="connsiteY187" fmla="*/ 821033 h 863468"/>
                <a:gd name="connsiteX188" fmla="*/ 38656 w 157182"/>
                <a:gd name="connsiteY188" fmla="*/ 825911 h 863468"/>
                <a:gd name="connsiteX189" fmla="*/ 40119 w 157182"/>
                <a:gd name="connsiteY189" fmla="*/ 839690 h 863468"/>
                <a:gd name="connsiteX190" fmla="*/ 42924 w 157182"/>
                <a:gd name="connsiteY190" fmla="*/ 839690 h 863468"/>
                <a:gd name="connsiteX191" fmla="*/ 52435 w 157182"/>
                <a:gd name="connsiteY191" fmla="*/ 829081 h 863468"/>
                <a:gd name="connsiteX192" fmla="*/ 68043 w 157182"/>
                <a:gd name="connsiteY192" fmla="*/ 828228 h 863468"/>
                <a:gd name="connsiteX193" fmla="*/ 80969 w 157182"/>
                <a:gd name="connsiteY193" fmla="*/ 835544 h 863468"/>
                <a:gd name="connsiteX194" fmla="*/ 82067 w 157182"/>
                <a:gd name="connsiteY194" fmla="*/ 847738 h 863468"/>
                <a:gd name="connsiteX195" fmla="*/ 77311 w 157182"/>
                <a:gd name="connsiteY195" fmla="*/ 854811 h 863468"/>
                <a:gd name="connsiteX196" fmla="*/ 62190 w 157182"/>
                <a:gd name="connsiteY196" fmla="*/ 855542 h 863468"/>
                <a:gd name="connsiteX197" fmla="*/ 62190 w 157182"/>
                <a:gd name="connsiteY197" fmla="*/ 857372 h 863468"/>
                <a:gd name="connsiteX198" fmla="*/ 70116 w 157182"/>
                <a:gd name="connsiteY198" fmla="*/ 863469 h 863468"/>
                <a:gd name="connsiteX199" fmla="*/ 82311 w 157182"/>
                <a:gd name="connsiteY199" fmla="*/ 863469 h 863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57182" h="863468">
                  <a:moveTo>
                    <a:pt x="82920" y="856274"/>
                  </a:moveTo>
                  <a:lnTo>
                    <a:pt x="82920" y="858469"/>
                  </a:lnTo>
                  <a:lnTo>
                    <a:pt x="82920" y="851275"/>
                  </a:lnTo>
                  <a:lnTo>
                    <a:pt x="88286" y="843714"/>
                  </a:lnTo>
                  <a:lnTo>
                    <a:pt x="84262" y="834203"/>
                  </a:lnTo>
                  <a:lnTo>
                    <a:pt x="84262" y="834203"/>
                  </a:lnTo>
                  <a:lnTo>
                    <a:pt x="95724" y="827374"/>
                  </a:lnTo>
                  <a:lnTo>
                    <a:pt x="106089" y="827374"/>
                  </a:lnTo>
                  <a:lnTo>
                    <a:pt x="110723" y="824082"/>
                  </a:lnTo>
                  <a:lnTo>
                    <a:pt x="111942" y="821277"/>
                  </a:lnTo>
                  <a:lnTo>
                    <a:pt x="111333" y="820179"/>
                  </a:lnTo>
                  <a:lnTo>
                    <a:pt x="110113" y="818107"/>
                  </a:lnTo>
                  <a:lnTo>
                    <a:pt x="69629" y="817375"/>
                  </a:lnTo>
                  <a:lnTo>
                    <a:pt x="68287" y="817375"/>
                  </a:lnTo>
                  <a:lnTo>
                    <a:pt x="66702" y="816155"/>
                  </a:lnTo>
                  <a:lnTo>
                    <a:pt x="56581" y="808229"/>
                  </a:lnTo>
                  <a:lnTo>
                    <a:pt x="54630" y="806766"/>
                  </a:lnTo>
                  <a:lnTo>
                    <a:pt x="54630" y="804205"/>
                  </a:lnTo>
                  <a:lnTo>
                    <a:pt x="52069" y="784328"/>
                  </a:lnTo>
                  <a:lnTo>
                    <a:pt x="48899" y="782012"/>
                  </a:lnTo>
                  <a:lnTo>
                    <a:pt x="36705" y="782012"/>
                  </a:lnTo>
                  <a:lnTo>
                    <a:pt x="35241" y="777988"/>
                  </a:lnTo>
                  <a:lnTo>
                    <a:pt x="28534" y="759209"/>
                  </a:lnTo>
                  <a:lnTo>
                    <a:pt x="27803" y="757257"/>
                  </a:lnTo>
                  <a:lnTo>
                    <a:pt x="28412" y="755307"/>
                  </a:lnTo>
                  <a:lnTo>
                    <a:pt x="32680" y="742015"/>
                  </a:lnTo>
                  <a:lnTo>
                    <a:pt x="32680" y="740551"/>
                  </a:lnTo>
                  <a:lnTo>
                    <a:pt x="33900" y="739454"/>
                  </a:lnTo>
                  <a:lnTo>
                    <a:pt x="52923" y="721894"/>
                  </a:lnTo>
                  <a:lnTo>
                    <a:pt x="51216" y="702750"/>
                  </a:lnTo>
                  <a:lnTo>
                    <a:pt x="51216" y="698604"/>
                  </a:lnTo>
                  <a:lnTo>
                    <a:pt x="54752" y="696774"/>
                  </a:lnTo>
                  <a:lnTo>
                    <a:pt x="63410" y="692263"/>
                  </a:lnTo>
                  <a:lnTo>
                    <a:pt x="63410" y="687995"/>
                  </a:lnTo>
                  <a:lnTo>
                    <a:pt x="63410" y="684946"/>
                  </a:lnTo>
                  <a:lnTo>
                    <a:pt x="65605" y="682873"/>
                  </a:lnTo>
                  <a:lnTo>
                    <a:pt x="71946" y="676898"/>
                  </a:lnTo>
                  <a:lnTo>
                    <a:pt x="68653" y="643974"/>
                  </a:lnTo>
                  <a:lnTo>
                    <a:pt x="65361" y="643364"/>
                  </a:lnTo>
                  <a:lnTo>
                    <a:pt x="64385" y="639828"/>
                  </a:lnTo>
                  <a:lnTo>
                    <a:pt x="62312" y="632755"/>
                  </a:lnTo>
                  <a:lnTo>
                    <a:pt x="61093" y="628731"/>
                  </a:lnTo>
                  <a:lnTo>
                    <a:pt x="64507" y="626170"/>
                  </a:lnTo>
                  <a:lnTo>
                    <a:pt x="71458" y="621049"/>
                  </a:lnTo>
                  <a:lnTo>
                    <a:pt x="62922" y="594709"/>
                  </a:lnTo>
                  <a:lnTo>
                    <a:pt x="62922" y="594100"/>
                  </a:lnTo>
                  <a:lnTo>
                    <a:pt x="62922" y="593368"/>
                  </a:lnTo>
                  <a:lnTo>
                    <a:pt x="61093" y="571662"/>
                  </a:lnTo>
                  <a:lnTo>
                    <a:pt x="61093" y="569467"/>
                  </a:lnTo>
                  <a:lnTo>
                    <a:pt x="62556" y="567516"/>
                  </a:lnTo>
                  <a:lnTo>
                    <a:pt x="66824" y="561785"/>
                  </a:lnTo>
                  <a:lnTo>
                    <a:pt x="64141" y="519227"/>
                  </a:lnTo>
                  <a:lnTo>
                    <a:pt x="64141" y="518130"/>
                  </a:lnTo>
                  <a:lnTo>
                    <a:pt x="64141" y="517033"/>
                  </a:lnTo>
                  <a:lnTo>
                    <a:pt x="75360" y="482523"/>
                  </a:lnTo>
                  <a:lnTo>
                    <a:pt x="75360" y="481791"/>
                  </a:lnTo>
                  <a:lnTo>
                    <a:pt x="83408" y="464963"/>
                  </a:lnTo>
                  <a:lnTo>
                    <a:pt x="80603" y="428381"/>
                  </a:lnTo>
                  <a:lnTo>
                    <a:pt x="80603" y="427405"/>
                  </a:lnTo>
                  <a:lnTo>
                    <a:pt x="80603" y="426064"/>
                  </a:lnTo>
                  <a:lnTo>
                    <a:pt x="91334" y="401066"/>
                  </a:lnTo>
                  <a:lnTo>
                    <a:pt x="89627" y="383019"/>
                  </a:lnTo>
                  <a:lnTo>
                    <a:pt x="89627" y="380702"/>
                  </a:lnTo>
                  <a:lnTo>
                    <a:pt x="90969" y="378751"/>
                  </a:lnTo>
                  <a:lnTo>
                    <a:pt x="103163" y="362411"/>
                  </a:lnTo>
                  <a:lnTo>
                    <a:pt x="104870" y="333998"/>
                  </a:lnTo>
                  <a:lnTo>
                    <a:pt x="94749" y="295343"/>
                  </a:lnTo>
                  <a:lnTo>
                    <a:pt x="94749" y="294123"/>
                  </a:lnTo>
                  <a:lnTo>
                    <a:pt x="94749" y="292782"/>
                  </a:lnTo>
                  <a:lnTo>
                    <a:pt x="101334" y="256199"/>
                  </a:lnTo>
                  <a:lnTo>
                    <a:pt x="104016" y="244005"/>
                  </a:lnTo>
                  <a:lnTo>
                    <a:pt x="104016" y="243396"/>
                  </a:lnTo>
                  <a:lnTo>
                    <a:pt x="104016" y="243396"/>
                  </a:lnTo>
                  <a:lnTo>
                    <a:pt x="119015" y="209862"/>
                  </a:lnTo>
                  <a:lnTo>
                    <a:pt x="119015" y="208886"/>
                  </a:lnTo>
                  <a:lnTo>
                    <a:pt x="119747" y="208154"/>
                  </a:lnTo>
                  <a:lnTo>
                    <a:pt x="135965" y="191083"/>
                  </a:lnTo>
                  <a:lnTo>
                    <a:pt x="134624" y="184742"/>
                  </a:lnTo>
                  <a:lnTo>
                    <a:pt x="134624" y="183522"/>
                  </a:lnTo>
                  <a:lnTo>
                    <a:pt x="132794" y="143160"/>
                  </a:lnTo>
                  <a:lnTo>
                    <a:pt x="132794" y="140111"/>
                  </a:lnTo>
                  <a:lnTo>
                    <a:pt x="135111" y="138160"/>
                  </a:lnTo>
                  <a:lnTo>
                    <a:pt x="143525" y="131453"/>
                  </a:lnTo>
                  <a:lnTo>
                    <a:pt x="144257" y="131453"/>
                  </a:lnTo>
                  <a:lnTo>
                    <a:pt x="145233" y="131453"/>
                  </a:lnTo>
                  <a:lnTo>
                    <a:pt x="153525" y="128405"/>
                  </a:lnTo>
                  <a:lnTo>
                    <a:pt x="157183" y="118283"/>
                  </a:lnTo>
                  <a:lnTo>
                    <a:pt x="152427" y="104870"/>
                  </a:lnTo>
                  <a:lnTo>
                    <a:pt x="152427" y="104870"/>
                  </a:lnTo>
                  <a:lnTo>
                    <a:pt x="152427" y="104870"/>
                  </a:lnTo>
                  <a:lnTo>
                    <a:pt x="150720" y="103650"/>
                  </a:lnTo>
                  <a:lnTo>
                    <a:pt x="147915" y="101699"/>
                  </a:lnTo>
                  <a:lnTo>
                    <a:pt x="146208" y="100480"/>
                  </a:lnTo>
                  <a:lnTo>
                    <a:pt x="146208" y="98407"/>
                  </a:lnTo>
                  <a:lnTo>
                    <a:pt x="134014" y="56337"/>
                  </a:lnTo>
                  <a:lnTo>
                    <a:pt x="133282" y="53898"/>
                  </a:lnTo>
                  <a:lnTo>
                    <a:pt x="133282" y="52801"/>
                  </a:lnTo>
                  <a:lnTo>
                    <a:pt x="130478" y="24510"/>
                  </a:lnTo>
                  <a:lnTo>
                    <a:pt x="130478" y="23657"/>
                  </a:lnTo>
                  <a:lnTo>
                    <a:pt x="122917" y="2439"/>
                  </a:lnTo>
                  <a:lnTo>
                    <a:pt x="118405" y="0"/>
                  </a:lnTo>
                  <a:lnTo>
                    <a:pt x="107431" y="12194"/>
                  </a:lnTo>
                  <a:lnTo>
                    <a:pt x="104870" y="14999"/>
                  </a:lnTo>
                  <a:lnTo>
                    <a:pt x="103650" y="42924"/>
                  </a:lnTo>
                  <a:lnTo>
                    <a:pt x="109382" y="48655"/>
                  </a:lnTo>
                  <a:lnTo>
                    <a:pt x="104992" y="104382"/>
                  </a:lnTo>
                  <a:lnTo>
                    <a:pt x="98041" y="109991"/>
                  </a:lnTo>
                  <a:lnTo>
                    <a:pt x="100846" y="157305"/>
                  </a:lnTo>
                  <a:lnTo>
                    <a:pt x="100846" y="157305"/>
                  </a:lnTo>
                  <a:lnTo>
                    <a:pt x="96456" y="178888"/>
                  </a:lnTo>
                  <a:lnTo>
                    <a:pt x="81091" y="232177"/>
                  </a:lnTo>
                  <a:lnTo>
                    <a:pt x="83774" y="239250"/>
                  </a:lnTo>
                  <a:lnTo>
                    <a:pt x="83774" y="240591"/>
                  </a:lnTo>
                  <a:lnTo>
                    <a:pt x="85115" y="260224"/>
                  </a:lnTo>
                  <a:lnTo>
                    <a:pt x="76701" y="267174"/>
                  </a:lnTo>
                  <a:lnTo>
                    <a:pt x="82189" y="297538"/>
                  </a:lnTo>
                  <a:lnTo>
                    <a:pt x="82189" y="329852"/>
                  </a:lnTo>
                  <a:lnTo>
                    <a:pt x="72068" y="345826"/>
                  </a:lnTo>
                  <a:lnTo>
                    <a:pt x="65117" y="365459"/>
                  </a:lnTo>
                  <a:lnTo>
                    <a:pt x="60727" y="382165"/>
                  </a:lnTo>
                  <a:lnTo>
                    <a:pt x="54020" y="395701"/>
                  </a:lnTo>
                  <a:lnTo>
                    <a:pt x="46704" y="406554"/>
                  </a:lnTo>
                  <a:lnTo>
                    <a:pt x="44753" y="423259"/>
                  </a:lnTo>
                  <a:lnTo>
                    <a:pt x="37314" y="426918"/>
                  </a:lnTo>
                  <a:lnTo>
                    <a:pt x="37314" y="448014"/>
                  </a:lnTo>
                  <a:lnTo>
                    <a:pt x="44021" y="468866"/>
                  </a:lnTo>
                  <a:lnTo>
                    <a:pt x="42924" y="491669"/>
                  </a:lnTo>
                  <a:lnTo>
                    <a:pt x="36339" y="500205"/>
                  </a:lnTo>
                  <a:lnTo>
                    <a:pt x="33412" y="520935"/>
                  </a:lnTo>
                  <a:lnTo>
                    <a:pt x="28291" y="533861"/>
                  </a:lnTo>
                  <a:lnTo>
                    <a:pt x="40485" y="546055"/>
                  </a:lnTo>
                  <a:lnTo>
                    <a:pt x="49386" y="540811"/>
                  </a:lnTo>
                  <a:lnTo>
                    <a:pt x="57800" y="543616"/>
                  </a:lnTo>
                  <a:lnTo>
                    <a:pt x="55606" y="552518"/>
                  </a:lnTo>
                  <a:lnTo>
                    <a:pt x="58532" y="564712"/>
                  </a:lnTo>
                  <a:lnTo>
                    <a:pt x="52801" y="571419"/>
                  </a:lnTo>
                  <a:lnTo>
                    <a:pt x="54630" y="592027"/>
                  </a:lnTo>
                  <a:lnTo>
                    <a:pt x="45240" y="607879"/>
                  </a:lnTo>
                  <a:lnTo>
                    <a:pt x="47679" y="617512"/>
                  </a:lnTo>
                  <a:lnTo>
                    <a:pt x="55362" y="621293"/>
                  </a:lnTo>
                  <a:lnTo>
                    <a:pt x="56581" y="629950"/>
                  </a:lnTo>
                  <a:lnTo>
                    <a:pt x="48899" y="635682"/>
                  </a:lnTo>
                  <a:lnTo>
                    <a:pt x="48899" y="647266"/>
                  </a:lnTo>
                  <a:lnTo>
                    <a:pt x="41338" y="650071"/>
                  </a:lnTo>
                  <a:lnTo>
                    <a:pt x="37680" y="653851"/>
                  </a:lnTo>
                  <a:lnTo>
                    <a:pt x="38534" y="664704"/>
                  </a:lnTo>
                  <a:lnTo>
                    <a:pt x="32193" y="676898"/>
                  </a:lnTo>
                  <a:lnTo>
                    <a:pt x="23657" y="679337"/>
                  </a:lnTo>
                  <a:lnTo>
                    <a:pt x="21096" y="670313"/>
                  </a:lnTo>
                  <a:lnTo>
                    <a:pt x="21096" y="661534"/>
                  </a:lnTo>
                  <a:lnTo>
                    <a:pt x="11585" y="659217"/>
                  </a:lnTo>
                  <a:lnTo>
                    <a:pt x="9999" y="668240"/>
                  </a:lnTo>
                  <a:lnTo>
                    <a:pt x="0" y="676654"/>
                  </a:lnTo>
                  <a:lnTo>
                    <a:pt x="9633" y="675313"/>
                  </a:lnTo>
                  <a:lnTo>
                    <a:pt x="11828" y="677142"/>
                  </a:lnTo>
                  <a:lnTo>
                    <a:pt x="13779" y="678727"/>
                  </a:lnTo>
                  <a:lnTo>
                    <a:pt x="24998" y="681410"/>
                  </a:lnTo>
                  <a:lnTo>
                    <a:pt x="26339" y="689336"/>
                  </a:lnTo>
                  <a:lnTo>
                    <a:pt x="19267" y="698726"/>
                  </a:lnTo>
                  <a:lnTo>
                    <a:pt x="17316" y="702018"/>
                  </a:lnTo>
                  <a:lnTo>
                    <a:pt x="18901" y="703237"/>
                  </a:lnTo>
                  <a:lnTo>
                    <a:pt x="23169" y="702140"/>
                  </a:lnTo>
                  <a:lnTo>
                    <a:pt x="31217" y="696287"/>
                  </a:lnTo>
                  <a:lnTo>
                    <a:pt x="37436" y="704823"/>
                  </a:lnTo>
                  <a:lnTo>
                    <a:pt x="38656" y="717017"/>
                  </a:lnTo>
                  <a:lnTo>
                    <a:pt x="29144" y="720553"/>
                  </a:lnTo>
                  <a:lnTo>
                    <a:pt x="28169" y="719456"/>
                  </a:lnTo>
                  <a:cubicBezTo>
                    <a:pt x="26364" y="717106"/>
                    <a:pt x="24129" y="715119"/>
                    <a:pt x="21584" y="713602"/>
                  </a:cubicBezTo>
                  <a:lnTo>
                    <a:pt x="21584" y="713602"/>
                  </a:lnTo>
                  <a:cubicBezTo>
                    <a:pt x="21329" y="713419"/>
                    <a:pt x="20985" y="713419"/>
                    <a:pt x="20730" y="713602"/>
                  </a:cubicBezTo>
                  <a:lnTo>
                    <a:pt x="20730" y="713602"/>
                  </a:lnTo>
                  <a:lnTo>
                    <a:pt x="21706" y="716285"/>
                  </a:lnTo>
                  <a:lnTo>
                    <a:pt x="24388" y="722992"/>
                  </a:lnTo>
                  <a:lnTo>
                    <a:pt x="22437" y="733845"/>
                  </a:lnTo>
                  <a:lnTo>
                    <a:pt x="21462" y="748722"/>
                  </a:lnTo>
                  <a:lnTo>
                    <a:pt x="24388" y="766037"/>
                  </a:lnTo>
                  <a:lnTo>
                    <a:pt x="24388" y="766037"/>
                  </a:lnTo>
                  <a:lnTo>
                    <a:pt x="22437" y="770305"/>
                  </a:lnTo>
                  <a:lnTo>
                    <a:pt x="23047" y="772744"/>
                  </a:lnTo>
                  <a:lnTo>
                    <a:pt x="29388" y="774451"/>
                  </a:lnTo>
                  <a:lnTo>
                    <a:pt x="34388" y="785914"/>
                  </a:lnTo>
                  <a:lnTo>
                    <a:pt x="28412" y="789450"/>
                  </a:lnTo>
                  <a:lnTo>
                    <a:pt x="34753" y="796279"/>
                  </a:lnTo>
                  <a:lnTo>
                    <a:pt x="34753" y="811034"/>
                  </a:lnTo>
                  <a:lnTo>
                    <a:pt x="40607" y="813839"/>
                  </a:lnTo>
                  <a:lnTo>
                    <a:pt x="45119" y="809327"/>
                  </a:lnTo>
                  <a:lnTo>
                    <a:pt x="53167" y="810424"/>
                  </a:lnTo>
                  <a:lnTo>
                    <a:pt x="55971" y="821033"/>
                  </a:lnTo>
                  <a:lnTo>
                    <a:pt x="38656" y="825911"/>
                  </a:lnTo>
                  <a:lnTo>
                    <a:pt x="40119" y="839690"/>
                  </a:lnTo>
                  <a:lnTo>
                    <a:pt x="42924" y="839690"/>
                  </a:lnTo>
                  <a:lnTo>
                    <a:pt x="52435" y="829081"/>
                  </a:lnTo>
                  <a:lnTo>
                    <a:pt x="68043" y="828228"/>
                  </a:lnTo>
                  <a:lnTo>
                    <a:pt x="80969" y="835544"/>
                  </a:lnTo>
                  <a:lnTo>
                    <a:pt x="82067" y="847738"/>
                  </a:lnTo>
                  <a:lnTo>
                    <a:pt x="77311" y="854811"/>
                  </a:lnTo>
                  <a:lnTo>
                    <a:pt x="62190" y="855542"/>
                  </a:lnTo>
                  <a:lnTo>
                    <a:pt x="62190" y="857372"/>
                  </a:lnTo>
                  <a:lnTo>
                    <a:pt x="70116" y="863469"/>
                  </a:lnTo>
                  <a:lnTo>
                    <a:pt x="82311" y="86346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2" name="Freihandform: Form 621">
              <a:extLst>
                <a:ext uri="{FF2B5EF4-FFF2-40B4-BE49-F238E27FC236}">
                  <a16:creationId xmlns:a16="http://schemas.microsoft.com/office/drawing/2014/main" id="{0CAA0326-04D4-4698-AB0A-6A231C4BD9D4}"/>
                </a:ext>
              </a:extLst>
            </p:cNvPr>
            <p:cNvSpPr/>
            <p:nvPr/>
          </p:nvSpPr>
          <p:spPr>
            <a:xfrm>
              <a:off x="2913716" y="4568569"/>
              <a:ext cx="5243" cy="2560"/>
            </a:xfrm>
            <a:custGeom>
              <a:avLst/>
              <a:gdLst>
                <a:gd name="connsiteX0" fmla="*/ 366 w 5243"/>
                <a:gd name="connsiteY0" fmla="*/ 975 h 2560"/>
                <a:gd name="connsiteX1" fmla="*/ 0 w 5243"/>
                <a:gd name="connsiteY1" fmla="*/ 1951 h 2560"/>
                <a:gd name="connsiteX2" fmla="*/ 1585 w 5243"/>
                <a:gd name="connsiteY2" fmla="*/ 2561 h 2560"/>
                <a:gd name="connsiteX3" fmla="*/ 5244 w 5243"/>
                <a:gd name="connsiteY3" fmla="*/ 854 h 2560"/>
                <a:gd name="connsiteX4" fmla="*/ 4634 w 5243"/>
                <a:gd name="connsiteY4" fmla="*/ 0 h 2560"/>
                <a:gd name="connsiteX5" fmla="*/ 366 w 5243"/>
                <a:gd name="connsiteY5" fmla="*/ 975 h 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43" h="2560">
                  <a:moveTo>
                    <a:pt x="366" y="975"/>
                  </a:moveTo>
                  <a:lnTo>
                    <a:pt x="0" y="1951"/>
                  </a:lnTo>
                  <a:lnTo>
                    <a:pt x="1585" y="2561"/>
                  </a:lnTo>
                  <a:lnTo>
                    <a:pt x="5244" y="854"/>
                  </a:lnTo>
                  <a:lnTo>
                    <a:pt x="4634" y="0"/>
                  </a:lnTo>
                  <a:lnTo>
                    <a:pt x="366" y="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3" name="Freihandform: Form 622">
              <a:extLst>
                <a:ext uri="{FF2B5EF4-FFF2-40B4-BE49-F238E27FC236}">
                  <a16:creationId xmlns:a16="http://schemas.microsoft.com/office/drawing/2014/main" id="{FA7B9AC8-D993-44DE-8C56-22C411E0D648}"/>
                </a:ext>
              </a:extLst>
            </p:cNvPr>
            <p:cNvSpPr/>
            <p:nvPr/>
          </p:nvSpPr>
          <p:spPr>
            <a:xfrm>
              <a:off x="3313806" y="1442351"/>
              <a:ext cx="3292" cy="1829"/>
            </a:xfrm>
            <a:custGeom>
              <a:avLst/>
              <a:gdLst>
                <a:gd name="connsiteX0" fmla="*/ 3292 w 3292"/>
                <a:gd name="connsiteY0" fmla="*/ 854 h 1829"/>
                <a:gd name="connsiteX1" fmla="*/ 3049 w 3292"/>
                <a:gd name="connsiteY1" fmla="*/ 0 h 1829"/>
                <a:gd name="connsiteX2" fmla="*/ 0 w 3292"/>
                <a:gd name="connsiteY2" fmla="*/ 0 h 1829"/>
                <a:gd name="connsiteX3" fmla="*/ 488 w 3292"/>
                <a:gd name="connsiteY3" fmla="*/ 1829 h 1829"/>
                <a:gd name="connsiteX4" fmla="*/ 3292 w 3292"/>
                <a:gd name="connsiteY4" fmla="*/ 854 h 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2" h="1829">
                  <a:moveTo>
                    <a:pt x="3292" y="854"/>
                  </a:moveTo>
                  <a:lnTo>
                    <a:pt x="3049" y="0"/>
                  </a:lnTo>
                  <a:lnTo>
                    <a:pt x="0" y="0"/>
                  </a:lnTo>
                  <a:lnTo>
                    <a:pt x="488" y="1829"/>
                  </a:lnTo>
                  <a:lnTo>
                    <a:pt x="3292" y="8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4" name="Freihandform: Form 623">
              <a:extLst>
                <a:ext uri="{FF2B5EF4-FFF2-40B4-BE49-F238E27FC236}">
                  <a16:creationId xmlns:a16="http://schemas.microsoft.com/office/drawing/2014/main" id="{7B8742F1-38A0-4973-87F0-9644C6439C65}"/>
                </a:ext>
              </a:extLst>
            </p:cNvPr>
            <p:cNvSpPr/>
            <p:nvPr/>
          </p:nvSpPr>
          <p:spPr>
            <a:xfrm>
              <a:off x="3326732" y="1535515"/>
              <a:ext cx="51459" cy="29266"/>
            </a:xfrm>
            <a:custGeom>
              <a:avLst/>
              <a:gdLst>
                <a:gd name="connsiteX0" fmla="*/ 2683 w 51459"/>
                <a:gd name="connsiteY0" fmla="*/ 21584 h 29266"/>
                <a:gd name="connsiteX1" fmla="*/ 16340 w 51459"/>
                <a:gd name="connsiteY1" fmla="*/ 20730 h 29266"/>
                <a:gd name="connsiteX2" fmla="*/ 29022 w 51459"/>
                <a:gd name="connsiteY2" fmla="*/ 29266 h 29266"/>
                <a:gd name="connsiteX3" fmla="*/ 39265 w 51459"/>
                <a:gd name="connsiteY3" fmla="*/ 28534 h 29266"/>
                <a:gd name="connsiteX4" fmla="*/ 50850 w 51459"/>
                <a:gd name="connsiteY4" fmla="*/ 22315 h 29266"/>
                <a:gd name="connsiteX5" fmla="*/ 51459 w 51459"/>
                <a:gd name="connsiteY5" fmla="*/ 20364 h 29266"/>
                <a:gd name="connsiteX6" fmla="*/ 35851 w 51459"/>
                <a:gd name="connsiteY6" fmla="*/ 9390 h 29266"/>
                <a:gd name="connsiteX7" fmla="*/ 26339 w 51459"/>
                <a:gd name="connsiteY7" fmla="*/ 4512 h 29266"/>
                <a:gd name="connsiteX8" fmla="*/ 10731 w 51459"/>
                <a:gd name="connsiteY8" fmla="*/ 1951 h 29266"/>
                <a:gd name="connsiteX9" fmla="*/ 5243 w 51459"/>
                <a:gd name="connsiteY9" fmla="*/ 0 h 29266"/>
                <a:gd name="connsiteX10" fmla="*/ 1341 w 51459"/>
                <a:gd name="connsiteY10" fmla="*/ 6463 h 29266"/>
                <a:gd name="connsiteX11" fmla="*/ 5975 w 51459"/>
                <a:gd name="connsiteY11" fmla="*/ 11097 h 29266"/>
                <a:gd name="connsiteX12" fmla="*/ 0 w 51459"/>
                <a:gd name="connsiteY12" fmla="*/ 16584 h 29266"/>
                <a:gd name="connsiteX13" fmla="*/ 2683 w 51459"/>
                <a:gd name="connsiteY13" fmla="*/ 21584 h 2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459" h="29266">
                  <a:moveTo>
                    <a:pt x="2683" y="21584"/>
                  </a:moveTo>
                  <a:lnTo>
                    <a:pt x="16340" y="20730"/>
                  </a:lnTo>
                  <a:lnTo>
                    <a:pt x="29022" y="29266"/>
                  </a:lnTo>
                  <a:lnTo>
                    <a:pt x="39265" y="28534"/>
                  </a:lnTo>
                  <a:lnTo>
                    <a:pt x="50850" y="22315"/>
                  </a:lnTo>
                  <a:lnTo>
                    <a:pt x="51459" y="20364"/>
                  </a:lnTo>
                  <a:lnTo>
                    <a:pt x="35851" y="9390"/>
                  </a:lnTo>
                  <a:lnTo>
                    <a:pt x="26339" y="4512"/>
                  </a:lnTo>
                  <a:lnTo>
                    <a:pt x="10731" y="1951"/>
                  </a:lnTo>
                  <a:lnTo>
                    <a:pt x="5243" y="0"/>
                  </a:lnTo>
                  <a:lnTo>
                    <a:pt x="1341" y="6463"/>
                  </a:lnTo>
                  <a:lnTo>
                    <a:pt x="5975" y="11097"/>
                  </a:lnTo>
                  <a:lnTo>
                    <a:pt x="0" y="16584"/>
                  </a:lnTo>
                  <a:lnTo>
                    <a:pt x="2683" y="215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5" name="Freihandform: Form 624">
              <a:extLst>
                <a:ext uri="{FF2B5EF4-FFF2-40B4-BE49-F238E27FC236}">
                  <a16:creationId xmlns:a16="http://schemas.microsoft.com/office/drawing/2014/main" id="{9BDD3537-C6C1-4CA4-8BD2-D846961A7297}"/>
                </a:ext>
              </a:extLst>
            </p:cNvPr>
            <p:cNvSpPr/>
            <p:nvPr/>
          </p:nvSpPr>
          <p:spPr>
            <a:xfrm>
              <a:off x="2932739" y="4614053"/>
              <a:ext cx="2926" cy="4268"/>
            </a:xfrm>
            <a:custGeom>
              <a:avLst/>
              <a:gdLst>
                <a:gd name="connsiteX0" fmla="*/ 0 w 2926"/>
                <a:gd name="connsiteY0" fmla="*/ 0 h 4268"/>
                <a:gd name="connsiteX1" fmla="*/ 0 w 2926"/>
                <a:gd name="connsiteY1" fmla="*/ 488 h 4268"/>
                <a:gd name="connsiteX2" fmla="*/ 2561 w 2926"/>
                <a:gd name="connsiteY2" fmla="*/ 4268 h 4268"/>
                <a:gd name="connsiteX3" fmla="*/ 2926 w 2926"/>
                <a:gd name="connsiteY3" fmla="*/ 4024 h 4268"/>
                <a:gd name="connsiteX4" fmla="*/ 0 w 2926"/>
                <a:gd name="connsiteY4" fmla="*/ 0 h 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6" h="4268">
                  <a:moveTo>
                    <a:pt x="0" y="0"/>
                  </a:moveTo>
                  <a:lnTo>
                    <a:pt x="0" y="488"/>
                  </a:lnTo>
                  <a:lnTo>
                    <a:pt x="2561" y="4268"/>
                  </a:lnTo>
                  <a:lnTo>
                    <a:pt x="2926" y="40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6" name="Freihandform: Form 625">
              <a:extLst>
                <a:ext uri="{FF2B5EF4-FFF2-40B4-BE49-F238E27FC236}">
                  <a16:creationId xmlns:a16="http://schemas.microsoft.com/office/drawing/2014/main" id="{299A6805-D348-4883-AE4F-62F034F824F0}"/>
                </a:ext>
              </a:extLst>
            </p:cNvPr>
            <p:cNvSpPr/>
            <p:nvPr/>
          </p:nvSpPr>
          <p:spPr>
            <a:xfrm>
              <a:off x="2922373" y="4592347"/>
              <a:ext cx="2560" cy="5487"/>
            </a:xfrm>
            <a:custGeom>
              <a:avLst/>
              <a:gdLst>
                <a:gd name="connsiteX0" fmla="*/ 0 w 2560"/>
                <a:gd name="connsiteY0" fmla="*/ 3902 h 5487"/>
                <a:gd name="connsiteX1" fmla="*/ 976 w 2560"/>
                <a:gd name="connsiteY1" fmla="*/ 5488 h 5487"/>
                <a:gd name="connsiteX2" fmla="*/ 2561 w 2560"/>
                <a:gd name="connsiteY2" fmla="*/ 0 h 5487"/>
                <a:gd name="connsiteX3" fmla="*/ 610 w 2560"/>
                <a:gd name="connsiteY3" fmla="*/ 0 h 5487"/>
                <a:gd name="connsiteX4" fmla="*/ 0 w 2560"/>
                <a:gd name="connsiteY4" fmla="*/ 3902 h 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0" h="5487">
                  <a:moveTo>
                    <a:pt x="0" y="3902"/>
                  </a:moveTo>
                  <a:lnTo>
                    <a:pt x="976" y="5488"/>
                  </a:lnTo>
                  <a:lnTo>
                    <a:pt x="2561" y="0"/>
                  </a:lnTo>
                  <a:lnTo>
                    <a:pt x="610" y="0"/>
                  </a:lnTo>
                  <a:lnTo>
                    <a:pt x="0" y="3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7" name="Freihandform: Form 626">
              <a:extLst>
                <a:ext uri="{FF2B5EF4-FFF2-40B4-BE49-F238E27FC236}">
                  <a16:creationId xmlns:a16="http://schemas.microsoft.com/office/drawing/2014/main" id="{A2AAB996-55D4-4ED4-89F5-5A6AF3882DBB}"/>
                </a:ext>
              </a:extLst>
            </p:cNvPr>
            <p:cNvSpPr/>
            <p:nvPr/>
          </p:nvSpPr>
          <p:spPr>
            <a:xfrm>
              <a:off x="2908350" y="4553814"/>
              <a:ext cx="1463" cy="2316"/>
            </a:xfrm>
            <a:custGeom>
              <a:avLst/>
              <a:gdLst>
                <a:gd name="connsiteX0" fmla="*/ 0 w 1463"/>
                <a:gd name="connsiteY0" fmla="*/ 2195 h 2316"/>
                <a:gd name="connsiteX1" fmla="*/ 0 w 1463"/>
                <a:gd name="connsiteY1" fmla="*/ 2317 h 2316"/>
                <a:gd name="connsiteX2" fmla="*/ 1463 w 1463"/>
                <a:gd name="connsiteY2" fmla="*/ 1342 h 2316"/>
                <a:gd name="connsiteX3" fmla="*/ 488 w 1463"/>
                <a:gd name="connsiteY3" fmla="*/ 0 h 2316"/>
                <a:gd name="connsiteX4" fmla="*/ 0 w 1463"/>
                <a:gd name="connsiteY4" fmla="*/ 2195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3" h="2316">
                  <a:moveTo>
                    <a:pt x="0" y="2195"/>
                  </a:moveTo>
                  <a:lnTo>
                    <a:pt x="0" y="2317"/>
                  </a:lnTo>
                  <a:lnTo>
                    <a:pt x="1463" y="1342"/>
                  </a:lnTo>
                  <a:lnTo>
                    <a:pt x="488" y="0"/>
                  </a:lnTo>
                  <a:lnTo>
                    <a:pt x="0" y="21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8" name="Freihandform: Form 627">
              <a:extLst>
                <a:ext uri="{FF2B5EF4-FFF2-40B4-BE49-F238E27FC236}">
                  <a16:creationId xmlns:a16="http://schemas.microsoft.com/office/drawing/2014/main" id="{B8AB5E46-3613-4F92-AEF1-1BAA92520871}"/>
                </a:ext>
              </a:extLst>
            </p:cNvPr>
            <p:cNvSpPr/>
            <p:nvPr/>
          </p:nvSpPr>
          <p:spPr>
            <a:xfrm>
              <a:off x="2915911" y="4535767"/>
              <a:ext cx="6950" cy="21583"/>
            </a:xfrm>
            <a:custGeom>
              <a:avLst/>
              <a:gdLst>
                <a:gd name="connsiteX0" fmla="*/ 6097 w 6950"/>
                <a:gd name="connsiteY0" fmla="*/ 0 h 21583"/>
                <a:gd name="connsiteX1" fmla="*/ 5975 w 6950"/>
                <a:gd name="connsiteY1" fmla="*/ 0 h 21583"/>
                <a:gd name="connsiteX2" fmla="*/ 4390 w 6950"/>
                <a:gd name="connsiteY2" fmla="*/ 7438 h 21583"/>
                <a:gd name="connsiteX3" fmla="*/ 0 w 6950"/>
                <a:gd name="connsiteY3" fmla="*/ 11097 h 21583"/>
                <a:gd name="connsiteX4" fmla="*/ 610 w 6950"/>
                <a:gd name="connsiteY4" fmla="*/ 14267 h 21583"/>
                <a:gd name="connsiteX5" fmla="*/ 6707 w 6950"/>
                <a:gd name="connsiteY5" fmla="*/ 21584 h 21583"/>
                <a:gd name="connsiteX6" fmla="*/ 5975 w 6950"/>
                <a:gd name="connsiteY6" fmla="*/ 18535 h 21583"/>
                <a:gd name="connsiteX7" fmla="*/ 6951 w 6950"/>
                <a:gd name="connsiteY7" fmla="*/ 7072 h 21583"/>
                <a:gd name="connsiteX8" fmla="*/ 6097 w 6950"/>
                <a:gd name="connsiteY8" fmla="*/ 0 h 2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50" h="21583">
                  <a:moveTo>
                    <a:pt x="6097" y="0"/>
                  </a:moveTo>
                  <a:lnTo>
                    <a:pt x="5975" y="0"/>
                  </a:lnTo>
                  <a:lnTo>
                    <a:pt x="4390" y="7438"/>
                  </a:lnTo>
                  <a:lnTo>
                    <a:pt x="0" y="11097"/>
                  </a:lnTo>
                  <a:lnTo>
                    <a:pt x="610" y="14267"/>
                  </a:lnTo>
                  <a:lnTo>
                    <a:pt x="6707" y="21584"/>
                  </a:lnTo>
                  <a:lnTo>
                    <a:pt x="5975" y="18535"/>
                  </a:lnTo>
                  <a:lnTo>
                    <a:pt x="6951" y="7072"/>
                  </a:lnTo>
                  <a:lnTo>
                    <a:pt x="609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29" name="Freihandform: Form 628">
              <a:extLst>
                <a:ext uri="{FF2B5EF4-FFF2-40B4-BE49-F238E27FC236}">
                  <a16:creationId xmlns:a16="http://schemas.microsoft.com/office/drawing/2014/main" id="{FAC5A30E-EA92-4F20-AFA2-C237E601B3B2}"/>
                </a:ext>
              </a:extLst>
            </p:cNvPr>
            <p:cNvSpPr/>
            <p:nvPr/>
          </p:nvSpPr>
          <p:spPr>
            <a:xfrm>
              <a:off x="4030701" y="1017751"/>
              <a:ext cx="5731" cy="7194"/>
            </a:xfrm>
            <a:custGeom>
              <a:avLst/>
              <a:gdLst>
                <a:gd name="connsiteX0" fmla="*/ 5731 w 5731"/>
                <a:gd name="connsiteY0" fmla="*/ 7195 h 7194"/>
                <a:gd name="connsiteX1" fmla="*/ 3658 w 5731"/>
                <a:gd name="connsiteY1" fmla="*/ 244 h 7194"/>
                <a:gd name="connsiteX2" fmla="*/ 0 w 5731"/>
                <a:gd name="connsiteY2" fmla="*/ 0 h 7194"/>
                <a:gd name="connsiteX3" fmla="*/ 1341 w 5731"/>
                <a:gd name="connsiteY3" fmla="*/ 3780 h 7194"/>
                <a:gd name="connsiteX4" fmla="*/ 5731 w 5731"/>
                <a:gd name="connsiteY4" fmla="*/ 7195 h 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1" h="7194">
                  <a:moveTo>
                    <a:pt x="5731" y="7195"/>
                  </a:moveTo>
                  <a:lnTo>
                    <a:pt x="3658" y="244"/>
                  </a:lnTo>
                  <a:lnTo>
                    <a:pt x="0" y="0"/>
                  </a:lnTo>
                  <a:lnTo>
                    <a:pt x="1341" y="3780"/>
                  </a:lnTo>
                  <a:lnTo>
                    <a:pt x="5731" y="71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0" name="Freihandform: Form 629">
              <a:extLst>
                <a:ext uri="{FF2B5EF4-FFF2-40B4-BE49-F238E27FC236}">
                  <a16:creationId xmlns:a16="http://schemas.microsoft.com/office/drawing/2014/main" id="{360F6910-7379-435C-8C15-284DEC8C1A6F}"/>
                </a:ext>
              </a:extLst>
            </p:cNvPr>
            <p:cNvSpPr/>
            <p:nvPr/>
          </p:nvSpPr>
          <p:spPr>
            <a:xfrm>
              <a:off x="4044480" y="1044700"/>
              <a:ext cx="4389" cy="1097"/>
            </a:xfrm>
            <a:custGeom>
              <a:avLst/>
              <a:gdLst>
                <a:gd name="connsiteX0" fmla="*/ 4390 w 4389"/>
                <a:gd name="connsiteY0" fmla="*/ 732 h 1097"/>
                <a:gd name="connsiteX1" fmla="*/ 3658 w 4389"/>
                <a:gd name="connsiteY1" fmla="*/ 488 h 1097"/>
                <a:gd name="connsiteX2" fmla="*/ 0 w 4389"/>
                <a:gd name="connsiteY2" fmla="*/ 0 h 1097"/>
                <a:gd name="connsiteX3" fmla="*/ 1951 w 4389"/>
                <a:gd name="connsiteY3" fmla="*/ 1097 h 1097"/>
                <a:gd name="connsiteX4" fmla="*/ 4390 w 4389"/>
                <a:gd name="connsiteY4" fmla="*/ 732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9" h="1097">
                  <a:moveTo>
                    <a:pt x="4390" y="732"/>
                  </a:moveTo>
                  <a:lnTo>
                    <a:pt x="3658" y="488"/>
                  </a:lnTo>
                  <a:lnTo>
                    <a:pt x="0" y="0"/>
                  </a:lnTo>
                  <a:lnTo>
                    <a:pt x="1951" y="1097"/>
                  </a:lnTo>
                  <a:lnTo>
                    <a:pt x="4390" y="7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1" name="Freihandform: Form 630">
              <a:extLst>
                <a:ext uri="{FF2B5EF4-FFF2-40B4-BE49-F238E27FC236}">
                  <a16:creationId xmlns:a16="http://schemas.microsoft.com/office/drawing/2014/main" id="{31BB47CA-EBCA-4249-896D-51663FE124C7}"/>
                </a:ext>
              </a:extLst>
            </p:cNvPr>
            <p:cNvSpPr/>
            <p:nvPr/>
          </p:nvSpPr>
          <p:spPr>
            <a:xfrm>
              <a:off x="2925178" y="4641368"/>
              <a:ext cx="19266" cy="16462"/>
            </a:xfrm>
            <a:custGeom>
              <a:avLst/>
              <a:gdLst>
                <a:gd name="connsiteX0" fmla="*/ 16218 w 19266"/>
                <a:gd name="connsiteY0" fmla="*/ 11463 h 16462"/>
                <a:gd name="connsiteX1" fmla="*/ 976 w 19266"/>
                <a:gd name="connsiteY1" fmla="*/ 0 h 16462"/>
                <a:gd name="connsiteX2" fmla="*/ 0 w 19266"/>
                <a:gd name="connsiteY2" fmla="*/ 0 h 16462"/>
                <a:gd name="connsiteX3" fmla="*/ 0 w 19266"/>
                <a:gd name="connsiteY3" fmla="*/ 853 h 16462"/>
                <a:gd name="connsiteX4" fmla="*/ 8780 w 19266"/>
                <a:gd name="connsiteY4" fmla="*/ 6829 h 16462"/>
                <a:gd name="connsiteX5" fmla="*/ 19267 w 19266"/>
                <a:gd name="connsiteY5" fmla="*/ 16462 h 16462"/>
                <a:gd name="connsiteX6" fmla="*/ 16584 w 19266"/>
                <a:gd name="connsiteY6" fmla="*/ 11950 h 16462"/>
                <a:gd name="connsiteX7" fmla="*/ 16218 w 19266"/>
                <a:gd name="connsiteY7" fmla="*/ 11463 h 1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66" h="16462">
                  <a:moveTo>
                    <a:pt x="16218" y="11463"/>
                  </a:moveTo>
                  <a:lnTo>
                    <a:pt x="976" y="0"/>
                  </a:lnTo>
                  <a:lnTo>
                    <a:pt x="0" y="0"/>
                  </a:lnTo>
                  <a:lnTo>
                    <a:pt x="0" y="853"/>
                  </a:lnTo>
                  <a:lnTo>
                    <a:pt x="8780" y="6829"/>
                  </a:lnTo>
                  <a:lnTo>
                    <a:pt x="19267" y="16462"/>
                  </a:lnTo>
                  <a:lnTo>
                    <a:pt x="16584" y="11950"/>
                  </a:lnTo>
                  <a:lnTo>
                    <a:pt x="16218" y="11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2" name="Freihandform: Form 631">
              <a:extLst>
                <a:ext uri="{FF2B5EF4-FFF2-40B4-BE49-F238E27FC236}">
                  <a16:creationId xmlns:a16="http://schemas.microsoft.com/office/drawing/2014/main" id="{A324EBE1-EB0C-40B0-9282-733A99B0C980}"/>
                </a:ext>
              </a:extLst>
            </p:cNvPr>
            <p:cNvSpPr/>
            <p:nvPr/>
          </p:nvSpPr>
          <p:spPr>
            <a:xfrm>
              <a:off x="4007410" y="1021409"/>
              <a:ext cx="18047" cy="11218"/>
            </a:xfrm>
            <a:custGeom>
              <a:avLst/>
              <a:gdLst>
                <a:gd name="connsiteX0" fmla="*/ 17072 w 18047"/>
                <a:gd name="connsiteY0" fmla="*/ 11219 h 11218"/>
                <a:gd name="connsiteX1" fmla="*/ 18047 w 18047"/>
                <a:gd name="connsiteY1" fmla="*/ 10487 h 11218"/>
                <a:gd name="connsiteX2" fmla="*/ 9024 w 18047"/>
                <a:gd name="connsiteY2" fmla="*/ 3170 h 11218"/>
                <a:gd name="connsiteX3" fmla="*/ 2805 w 18047"/>
                <a:gd name="connsiteY3" fmla="*/ 0 h 11218"/>
                <a:gd name="connsiteX4" fmla="*/ 0 w 18047"/>
                <a:gd name="connsiteY4" fmla="*/ 732 h 11218"/>
                <a:gd name="connsiteX5" fmla="*/ 4390 w 18047"/>
                <a:gd name="connsiteY5" fmla="*/ 5122 h 11218"/>
                <a:gd name="connsiteX6" fmla="*/ 17072 w 18047"/>
                <a:gd name="connsiteY6" fmla="*/ 11219 h 11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47" h="11218">
                  <a:moveTo>
                    <a:pt x="17072" y="11219"/>
                  </a:moveTo>
                  <a:lnTo>
                    <a:pt x="18047" y="10487"/>
                  </a:lnTo>
                  <a:lnTo>
                    <a:pt x="9024" y="3170"/>
                  </a:lnTo>
                  <a:lnTo>
                    <a:pt x="2805" y="0"/>
                  </a:lnTo>
                  <a:lnTo>
                    <a:pt x="0" y="732"/>
                  </a:lnTo>
                  <a:lnTo>
                    <a:pt x="4390" y="5122"/>
                  </a:lnTo>
                  <a:lnTo>
                    <a:pt x="17072" y="1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3" name="Freihandform: Form 632">
              <a:extLst>
                <a:ext uri="{FF2B5EF4-FFF2-40B4-BE49-F238E27FC236}">
                  <a16:creationId xmlns:a16="http://schemas.microsoft.com/office/drawing/2014/main" id="{C1B39180-C7DA-4A7A-9DFD-07C4F09BF67C}"/>
                </a:ext>
              </a:extLst>
            </p:cNvPr>
            <p:cNvSpPr/>
            <p:nvPr/>
          </p:nvSpPr>
          <p:spPr>
            <a:xfrm>
              <a:off x="3597564" y="940318"/>
              <a:ext cx="29387" cy="12559"/>
            </a:xfrm>
            <a:custGeom>
              <a:avLst/>
              <a:gdLst>
                <a:gd name="connsiteX0" fmla="*/ 8048 w 29387"/>
                <a:gd name="connsiteY0" fmla="*/ 4878 h 12559"/>
                <a:gd name="connsiteX1" fmla="*/ 27071 w 29387"/>
                <a:gd name="connsiteY1" fmla="*/ 12560 h 12559"/>
                <a:gd name="connsiteX2" fmla="*/ 29388 w 29387"/>
                <a:gd name="connsiteY2" fmla="*/ 11341 h 12559"/>
                <a:gd name="connsiteX3" fmla="*/ 3902 w 29387"/>
                <a:gd name="connsiteY3" fmla="*/ 366 h 12559"/>
                <a:gd name="connsiteX4" fmla="*/ 0 w 29387"/>
                <a:gd name="connsiteY4" fmla="*/ 0 h 12559"/>
                <a:gd name="connsiteX5" fmla="*/ 610 w 29387"/>
                <a:gd name="connsiteY5" fmla="*/ 3292 h 12559"/>
                <a:gd name="connsiteX6" fmla="*/ 8048 w 29387"/>
                <a:gd name="connsiteY6" fmla="*/ 4878 h 1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87" h="12559">
                  <a:moveTo>
                    <a:pt x="8048" y="4878"/>
                  </a:moveTo>
                  <a:lnTo>
                    <a:pt x="27071" y="12560"/>
                  </a:lnTo>
                  <a:lnTo>
                    <a:pt x="29388" y="11341"/>
                  </a:lnTo>
                  <a:lnTo>
                    <a:pt x="3902" y="366"/>
                  </a:lnTo>
                  <a:lnTo>
                    <a:pt x="0" y="0"/>
                  </a:lnTo>
                  <a:lnTo>
                    <a:pt x="610" y="3292"/>
                  </a:lnTo>
                  <a:lnTo>
                    <a:pt x="8048" y="487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4" name="Freihandform: Form 633">
              <a:extLst>
                <a:ext uri="{FF2B5EF4-FFF2-40B4-BE49-F238E27FC236}">
                  <a16:creationId xmlns:a16="http://schemas.microsoft.com/office/drawing/2014/main" id="{388E0C86-5A04-4AE2-914E-5F5F5A010690}"/>
                </a:ext>
              </a:extLst>
            </p:cNvPr>
            <p:cNvSpPr/>
            <p:nvPr/>
          </p:nvSpPr>
          <p:spPr>
            <a:xfrm>
              <a:off x="954358" y="2239972"/>
              <a:ext cx="4755" cy="243"/>
            </a:xfrm>
            <a:custGeom>
              <a:avLst/>
              <a:gdLst>
                <a:gd name="connsiteX0" fmla="*/ 0 w 4755"/>
                <a:gd name="connsiteY0" fmla="*/ 244 h 243"/>
                <a:gd name="connsiteX1" fmla="*/ 4756 w 4755"/>
                <a:gd name="connsiteY1" fmla="*/ 0 h 243"/>
                <a:gd name="connsiteX2" fmla="*/ 244 w 4755"/>
                <a:gd name="connsiteY2" fmla="*/ 0 h 243"/>
                <a:gd name="connsiteX3" fmla="*/ 0 w 4755"/>
                <a:gd name="connsiteY3" fmla="*/ 244 h 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55" h="243">
                  <a:moveTo>
                    <a:pt x="0" y="244"/>
                  </a:moveTo>
                  <a:lnTo>
                    <a:pt x="4756" y="0"/>
                  </a:lnTo>
                  <a:lnTo>
                    <a:pt x="244" y="0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5" name="Freihandform: Form 634">
              <a:extLst>
                <a:ext uri="{FF2B5EF4-FFF2-40B4-BE49-F238E27FC236}">
                  <a16:creationId xmlns:a16="http://schemas.microsoft.com/office/drawing/2014/main" id="{B5FF2234-99DD-407E-88E8-6C97632E4881}"/>
                </a:ext>
              </a:extLst>
            </p:cNvPr>
            <p:cNvSpPr/>
            <p:nvPr/>
          </p:nvSpPr>
          <p:spPr>
            <a:xfrm>
              <a:off x="1704543" y="2019989"/>
              <a:ext cx="27314" cy="27193"/>
            </a:xfrm>
            <a:custGeom>
              <a:avLst/>
              <a:gdLst>
                <a:gd name="connsiteX0" fmla="*/ 27315 w 27314"/>
                <a:gd name="connsiteY0" fmla="*/ 6219 h 27193"/>
                <a:gd name="connsiteX1" fmla="*/ 21462 w 27314"/>
                <a:gd name="connsiteY1" fmla="*/ 3414 h 27193"/>
                <a:gd name="connsiteX2" fmla="*/ 13901 w 27314"/>
                <a:gd name="connsiteY2" fmla="*/ 0 h 27193"/>
                <a:gd name="connsiteX3" fmla="*/ 0 w 27314"/>
                <a:gd name="connsiteY3" fmla="*/ 4878 h 27193"/>
                <a:gd name="connsiteX4" fmla="*/ 0 w 27314"/>
                <a:gd name="connsiteY4" fmla="*/ 8292 h 27193"/>
                <a:gd name="connsiteX5" fmla="*/ 7195 w 27314"/>
                <a:gd name="connsiteY5" fmla="*/ 18169 h 27193"/>
                <a:gd name="connsiteX6" fmla="*/ 12438 w 27314"/>
                <a:gd name="connsiteY6" fmla="*/ 26949 h 27193"/>
                <a:gd name="connsiteX7" fmla="*/ 13779 w 27314"/>
                <a:gd name="connsiteY7" fmla="*/ 27193 h 27193"/>
                <a:gd name="connsiteX8" fmla="*/ 10609 w 27314"/>
                <a:gd name="connsiteY8" fmla="*/ 15974 h 27193"/>
                <a:gd name="connsiteX9" fmla="*/ 15852 w 27314"/>
                <a:gd name="connsiteY9" fmla="*/ 10731 h 27193"/>
                <a:gd name="connsiteX10" fmla="*/ 25486 w 27314"/>
                <a:gd name="connsiteY10" fmla="*/ 20364 h 27193"/>
                <a:gd name="connsiteX11" fmla="*/ 25974 w 27314"/>
                <a:gd name="connsiteY11" fmla="*/ 20120 h 27193"/>
                <a:gd name="connsiteX12" fmla="*/ 19389 w 27314"/>
                <a:gd name="connsiteY12" fmla="*/ 12682 h 27193"/>
                <a:gd name="connsiteX13" fmla="*/ 19389 w 27314"/>
                <a:gd name="connsiteY13" fmla="*/ 4512 h 27193"/>
                <a:gd name="connsiteX14" fmla="*/ 27315 w 27314"/>
                <a:gd name="connsiteY14" fmla="*/ 6219 h 2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314" h="27193">
                  <a:moveTo>
                    <a:pt x="27315" y="6219"/>
                  </a:moveTo>
                  <a:lnTo>
                    <a:pt x="21462" y="3414"/>
                  </a:lnTo>
                  <a:lnTo>
                    <a:pt x="13901" y="0"/>
                  </a:lnTo>
                  <a:lnTo>
                    <a:pt x="0" y="4878"/>
                  </a:lnTo>
                  <a:lnTo>
                    <a:pt x="0" y="8292"/>
                  </a:lnTo>
                  <a:lnTo>
                    <a:pt x="7195" y="18169"/>
                  </a:lnTo>
                  <a:lnTo>
                    <a:pt x="12438" y="26949"/>
                  </a:lnTo>
                  <a:lnTo>
                    <a:pt x="13779" y="27193"/>
                  </a:lnTo>
                  <a:lnTo>
                    <a:pt x="10609" y="15974"/>
                  </a:lnTo>
                  <a:lnTo>
                    <a:pt x="15852" y="10731"/>
                  </a:lnTo>
                  <a:lnTo>
                    <a:pt x="25486" y="20364"/>
                  </a:lnTo>
                  <a:lnTo>
                    <a:pt x="25974" y="20120"/>
                  </a:lnTo>
                  <a:lnTo>
                    <a:pt x="19389" y="12682"/>
                  </a:lnTo>
                  <a:lnTo>
                    <a:pt x="19389" y="4512"/>
                  </a:lnTo>
                  <a:lnTo>
                    <a:pt x="27315" y="6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6" name="Freihandform: Form 635">
              <a:extLst>
                <a:ext uri="{FF2B5EF4-FFF2-40B4-BE49-F238E27FC236}">
                  <a16:creationId xmlns:a16="http://schemas.microsoft.com/office/drawing/2014/main" id="{4BA32012-C250-4C34-8B39-0529357A54C0}"/>
                </a:ext>
              </a:extLst>
            </p:cNvPr>
            <p:cNvSpPr/>
            <p:nvPr/>
          </p:nvSpPr>
          <p:spPr>
            <a:xfrm>
              <a:off x="1757709" y="2066693"/>
              <a:ext cx="11462" cy="11828"/>
            </a:xfrm>
            <a:custGeom>
              <a:avLst/>
              <a:gdLst>
                <a:gd name="connsiteX0" fmla="*/ 11463 w 11462"/>
                <a:gd name="connsiteY0" fmla="*/ 6097 h 11828"/>
                <a:gd name="connsiteX1" fmla="*/ 8780 w 11462"/>
                <a:gd name="connsiteY1" fmla="*/ 3780 h 11828"/>
                <a:gd name="connsiteX2" fmla="*/ 1341 w 11462"/>
                <a:gd name="connsiteY2" fmla="*/ 0 h 11828"/>
                <a:gd name="connsiteX3" fmla="*/ 0 w 11462"/>
                <a:gd name="connsiteY3" fmla="*/ 2195 h 11828"/>
                <a:gd name="connsiteX4" fmla="*/ 4512 w 11462"/>
                <a:gd name="connsiteY4" fmla="*/ 11828 h 11828"/>
                <a:gd name="connsiteX5" fmla="*/ 7195 w 11462"/>
                <a:gd name="connsiteY5" fmla="*/ 10975 h 11828"/>
                <a:gd name="connsiteX6" fmla="*/ 4390 w 11462"/>
                <a:gd name="connsiteY6" fmla="*/ 2561 h 11828"/>
                <a:gd name="connsiteX7" fmla="*/ 11463 w 11462"/>
                <a:gd name="connsiteY7" fmla="*/ 6097 h 1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62" h="11828">
                  <a:moveTo>
                    <a:pt x="11463" y="6097"/>
                  </a:moveTo>
                  <a:lnTo>
                    <a:pt x="8780" y="3780"/>
                  </a:lnTo>
                  <a:lnTo>
                    <a:pt x="1341" y="0"/>
                  </a:lnTo>
                  <a:lnTo>
                    <a:pt x="0" y="2195"/>
                  </a:lnTo>
                  <a:lnTo>
                    <a:pt x="4512" y="11828"/>
                  </a:lnTo>
                  <a:lnTo>
                    <a:pt x="7195" y="10975"/>
                  </a:lnTo>
                  <a:lnTo>
                    <a:pt x="4390" y="2561"/>
                  </a:lnTo>
                  <a:lnTo>
                    <a:pt x="11463" y="6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7" name="Freihandform: Form 636">
              <a:extLst>
                <a:ext uri="{FF2B5EF4-FFF2-40B4-BE49-F238E27FC236}">
                  <a16:creationId xmlns:a16="http://schemas.microsoft.com/office/drawing/2014/main" id="{AE19E263-0617-437A-B60E-74A90B35ED97}"/>
                </a:ext>
              </a:extLst>
            </p:cNvPr>
            <p:cNvSpPr/>
            <p:nvPr/>
          </p:nvSpPr>
          <p:spPr>
            <a:xfrm>
              <a:off x="1138490" y="2142052"/>
              <a:ext cx="23656" cy="17681"/>
            </a:xfrm>
            <a:custGeom>
              <a:avLst/>
              <a:gdLst>
                <a:gd name="connsiteX0" fmla="*/ 14999 w 23656"/>
                <a:gd name="connsiteY0" fmla="*/ 0 h 17681"/>
                <a:gd name="connsiteX1" fmla="*/ 14511 w 23656"/>
                <a:gd name="connsiteY1" fmla="*/ 0 h 17681"/>
                <a:gd name="connsiteX2" fmla="*/ 3658 w 23656"/>
                <a:gd name="connsiteY2" fmla="*/ 5609 h 17681"/>
                <a:gd name="connsiteX3" fmla="*/ 0 w 23656"/>
                <a:gd name="connsiteY3" fmla="*/ 14999 h 17681"/>
                <a:gd name="connsiteX4" fmla="*/ 244 w 23656"/>
                <a:gd name="connsiteY4" fmla="*/ 17682 h 17681"/>
                <a:gd name="connsiteX5" fmla="*/ 12316 w 23656"/>
                <a:gd name="connsiteY5" fmla="*/ 14267 h 17681"/>
                <a:gd name="connsiteX6" fmla="*/ 23047 w 23656"/>
                <a:gd name="connsiteY6" fmla="*/ 4878 h 17681"/>
                <a:gd name="connsiteX7" fmla="*/ 23657 w 23656"/>
                <a:gd name="connsiteY7" fmla="*/ 3902 h 17681"/>
                <a:gd name="connsiteX8" fmla="*/ 10121 w 23656"/>
                <a:gd name="connsiteY8" fmla="*/ 3902 h 17681"/>
                <a:gd name="connsiteX9" fmla="*/ 14999 w 23656"/>
                <a:gd name="connsiteY9" fmla="*/ 0 h 1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56" h="17681">
                  <a:moveTo>
                    <a:pt x="14999" y="0"/>
                  </a:moveTo>
                  <a:lnTo>
                    <a:pt x="14511" y="0"/>
                  </a:lnTo>
                  <a:lnTo>
                    <a:pt x="3658" y="5609"/>
                  </a:lnTo>
                  <a:lnTo>
                    <a:pt x="0" y="14999"/>
                  </a:lnTo>
                  <a:lnTo>
                    <a:pt x="244" y="17682"/>
                  </a:lnTo>
                  <a:lnTo>
                    <a:pt x="12316" y="14267"/>
                  </a:lnTo>
                  <a:lnTo>
                    <a:pt x="23047" y="4878"/>
                  </a:lnTo>
                  <a:lnTo>
                    <a:pt x="23657" y="3902"/>
                  </a:lnTo>
                  <a:lnTo>
                    <a:pt x="10121" y="3902"/>
                  </a:lnTo>
                  <a:lnTo>
                    <a:pt x="1499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8" name="Freihandform: Form 637">
              <a:extLst>
                <a:ext uri="{FF2B5EF4-FFF2-40B4-BE49-F238E27FC236}">
                  <a16:creationId xmlns:a16="http://schemas.microsoft.com/office/drawing/2014/main" id="{8CC81448-CF36-4228-9A28-9500D3539234}"/>
                </a:ext>
              </a:extLst>
            </p:cNvPr>
            <p:cNvSpPr/>
            <p:nvPr/>
          </p:nvSpPr>
          <p:spPr>
            <a:xfrm>
              <a:off x="932043" y="2230704"/>
              <a:ext cx="16827" cy="10608"/>
            </a:xfrm>
            <a:custGeom>
              <a:avLst/>
              <a:gdLst>
                <a:gd name="connsiteX0" fmla="*/ 13536 w 16827"/>
                <a:gd name="connsiteY0" fmla="*/ 2195 h 10608"/>
                <a:gd name="connsiteX1" fmla="*/ 366 w 16827"/>
                <a:gd name="connsiteY1" fmla="*/ 8780 h 10608"/>
                <a:gd name="connsiteX2" fmla="*/ 0 w 16827"/>
                <a:gd name="connsiteY2" fmla="*/ 9511 h 10608"/>
                <a:gd name="connsiteX3" fmla="*/ 4146 w 16827"/>
                <a:gd name="connsiteY3" fmla="*/ 10609 h 10608"/>
                <a:gd name="connsiteX4" fmla="*/ 15974 w 16827"/>
                <a:gd name="connsiteY4" fmla="*/ 2927 h 10608"/>
                <a:gd name="connsiteX5" fmla="*/ 16828 w 16827"/>
                <a:gd name="connsiteY5" fmla="*/ 366 h 10608"/>
                <a:gd name="connsiteX6" fmla="*/ 14999 w 16827"/>
                <a:gd name="connsiteY6" fmla="*/ 0 h 10608"/>
                <a:gd name="connsiteX7" fmla="*/ 13536 w 16827"/>
                <a:gd name="connsiteY7" fmla="*/ 2195 h 1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27" h="10608">
                  <a:moveTo>
                    <a:pt x="13536" y="2195"/>
                  </a:moveTo>
                  <a:lnTo>
                    <a:pt x="366" y="8780"/>
                  </a:lnTo>
                  <a:lnTo>
                    <a:pt x="0" y="9511"/>
                  </a:lnTo>
                  <a:lnTo>
                    <a:pt x="4146" y="10609"/>
                  </a:lnTo>
                  <a:lnTo>
                    <a:pt x="15974" y="2927"/>
                  </a:lnTo>
                  <a:lnTo>
                    <a:pt x="16828" y="366"/>
                  </a:lnTo>
                  <a:lnTo>
                    <a:pt x="14999" y="0"/>
                  </a:lnTo>
                  <a:lnTo>
                    <a:pt x="13536" y="21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39" name="Freihandform: Form 638">
              <a:extLst>
                <a:ext uri="{FF2B5EF4-FFF2-40B4-BE49-F238E27FC236}">
                  <a16:creationId xmlns:a16="http://schemas.microsoft.com/office/drawing/2014/main" id="{70582903-E5EC-41FC-AF2B-947AC157B9FA}"/>
                </a:ext>
              </a:extLst>
            </p:cNvPr>
            <p:cNvSpPr/>
            <p:nvPr/>
          </p:nvSpPr>
          <p:spPr>
            <a:xfrm>
              <a:off x="3616099" y="935928"/>
              <a:ext cx="4389" cy="1951"/>
            </a:xfrm>
            <a:custGeom>
              <a:avLst/>
              <a:gdLst>
                <a:gd name="connsiteX0" fmla="*/ 4390 w 4389"/>
                <a:gd name="connsiteY0" fmla="*/ 488 h 1951"/>
                <a:gd name="connsiteX1" fmla="*/ 2805 w 4389"/>
                <a:gd name="connsiteY1" fmla="*/ 0 h 1951"/>
                <a:gd name="connsiteX2" fmla="*/ 0 w 4389"/>
                <a:gd name="connsiteY2" fmla="*/ 610 h 1951"/>
                <a:gd name="connsiteX3" fmla="*/ 2683 w 4389"/>
                <a:gd name="connsiteY3" fmla="*/ 1951 h 1951"/>
                <a:gd name="connsiteX4" fmla="*/ 4390 w 4389"/>
                <a:gd name="connsiteY4" fmla="*/ 488 h 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9" h="1951">
                  <a:moveTo>
                    <a:pt x="4390" y="488"/>
                  </a:moveTo>
                  <a:lnTo>
                    <a:pt x="2805" y="0"/>
                  </a:lnTo>
                  <a:lnTo>
                    <a:pt x="0" y="610"/>
                  </a:lnTo>
                  <a:lnTo>
                    <a:pt x="2683" y="1951"/>
                  </a:lnTo>
                  <a:lnTo>
                    <a:pt x="4390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0" name="Freihandform: Form 639">
              <a:extLst>
                <a:ext uri="{FF2B5EF4-FFF2-40B4-BE49-F238E27FC236}">
                  <a16:creationId xmlns:a16="http://schemas.microsoft.com/office/drawing/2014/main" id="{CCCBAE9F-5DDD-4429-AE42-D938A8B44AEC}"/>
                </a:ext>
              </a:extLst>
            </p:cNvPr>
            <p:cNvSpPr/>
            <p:nvPr/>
          </p:nvSpPr>
          <p:spPr>
            <a:xfrm>
              <a:off x="3607685" y="956048"/>
              <a:ext cx="8048" cy="2926"/>
            </a:xfrm>
            <a:custGeom>
              <a:avLst/>
              <a:gdLst>
                <a:gd name="connsiteX0" fmla="*/ 1097 w 8048"/>
                <a:gd name="connsiteY0" fmla="*/ 976 h 2926"/>
                <a:gd name="connsiteX1" fmla="*/ 6829 w 8048"/>
                <a:gd name="connsiteY1" fmla="*/ 2927 h 2926"/>
                <a:gd name="connsiteX2" fmla="*/ 8048 w 8048"/>
                <a:gd name="connsiteY2" fmla="*/ 2195 h 2926"/>
                <a:gd name="connsiteX3" fmla="*/ 5000 w 8048"/>
                <a:gd name="connsiteY3" fmla="*/ 1097 h 2926"/>
                <a:gd name="connsiteX4" fmla="*/ 0 w 8048"/>
                <a:gd name="connsiteY4" fmla="*/ 0 h 2926"/>
                <a:gd name="connsiteX5" fmla="*/ 1097 w 8048"/>
                <a:gd name="connsiteY5" fmla="*/ 976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48" h="2926">
                  <a:moveTo>
                    <a:pt x="1097" y="976"/>
                  </a:moveTo>
                  <a:lnTo>
                    <a:pt x="6829" y="2927"/>
                  </a:lnTo>
                  <a:lnTo>
                    <a:pt x="8048" y="2195"/>
                  </a:lnTo>
                  <a:lnTo>
                    <a:pt x="5000" y="1097"/>
                  </a:lnTo>
                  <a:lnTo>
                    <a:pt x="0" y="0"/>
                  </a:lnTo>
                  <a:lnTo>
                    <a:pt x="1097" y="97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1" name="Freihandform: Form 640">
              <a:extLst>
                <a:ext uri="{FF2B5EF4-FFF2-40B4-BE49-F238E27FC236}">
                  <a16:creationId xmlns:a16="http://schemas.microsoft.com/office/drawing/2014/main" id="{EDAAD219-036A-4C91-A263-6E6AA6635596}"/>
                </a:ext>
              </a:extLst>
            </p:cNvPr>
            <p:cNvSpPr/>
            <p:nvPr/>
          </p:nvSpPr>
          <p:spPr>
            <a:xfrm>
              <a:off x="3062606" y="4708192"/>
              <a:ext cx="11462" cy="4390"/>
            </a:xfrm>
            <a:custGeom>
              <a:avLst/>
              <a:gdLst>
                <a:gd name="connsiteX0" fmla="*/ 0 w 11462"/>
                <a:gd name="connsiteY0" fmla="*/ 1951 h 4390"/>
                <a:gd name="connsiteX1" fmla="*/ 7195 w 11462"/>
                <a:gd name="connsiteY1" fmla="*/ 4390 h 4390"/>
                <a:gd name="connsiteX2" fmla="*/ 11463 w 11462"/>
                <a:gd name="connsiteY2" fmla="*/ 3902 h 4390"/>
                <a:gd name="connsiteX3" fmla="*/ 11463 w 11462"/>
                <a:gd name="connsiteY3" fmla="*/ 2561 h 4390"/>
                <a:gd name="connsiteX4" fmla="*/ 3414 w 11462"/>
                <a:gd name="connsiteY4" fmla="*/ 0 h 4390"/>
                <a:gd name="connsiteX5" fmla="*/ 0 w 11462"/>
                <a:gd name="connsiteY5" fmla="*/ 1951 h 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62" h="4390">
                  <a:moveTo>
                    <a:pt x="0" y="1951"/>
                  </a:moveTo>
                  <a:lnTo>
                    <a:pt x="7195" y="4390"/>
                  </a:lnTo>
                  <a:lnTo>
                    <a:pt x="11463" y="3902"/>
                  </a:lnTo>
                  <a:lnTo>
                    <a:pt x="11463" y="2561"/>
                  </a:lnTo>
                  <a:lnTo>
                    <a:pt x="3414" y="0"/>
                  </a:lnTo>
                  <a:lnTo>
                    <a:pt x="0" y="19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2" name="Freihandform: Form 641">
              <a:extLst>
                <a:ext uri="{FF2B5EF4-FFF2-40B4-BE49-F238E27FC236}">
                  <a16:creationId xmlns:a16="http://schemas.microsoft.com/office/drawing/2014/main" id="{036E0304-5508-4670-8F74-ABDDCE15214E}"/>
                </a:ext>
              </a:extLst>
            </p:cNvPr>
            <p:cNvSpPr/>
            <p:nvPr/>
          </p:nvSpPr>
          <p:spPr>
            <a:xfrm>
              <a:off x="3518180" y="970925"/>
              <a:ext cx="9877" cy="1585"/>
            </a:xfrm>
            <a:custGeom>
              <a:avLst/>
              <a:gdLst>
                <a:gd name="connsiteX0" fmla="*/ 9633 w 9877"/>
                <a:gd name="connsiteY0" fmla="*/ 0 h 1585"/>
                <a:gd name="connsiteX1" fmla="*/ 0 w 9877"/>
                <a:gd name="connsiteY1" fmla="*/ 366 h 1585"/>
                <a:gd name="connsiteX2" fmla="*/ 366 w 9877"/>
                <a:gd name="connsiteY2" fmla="*/ 1585 h 1585"/>
                <a:gd name="connsiteX3" fmla="*/ 9877 w 9877"/>
                <a:gd name="connsiteY3" fmla="*/ 366 h 1585"/>
                <a:gd name="connsiteX4" fmla="*/ 9633 w 9877"/>
                <a:gd name="connsiteY4" fmla="*/ 0 h 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7" h="1585">
                  <a:moveTo>
                    <a:pt x="9633" y="0"/>
                  </a:moveTo>
                  <a:lnTo>
                    <a:pt x="0" y="366"/>
                  </a:lnTo>
                  <a:lnTo>
                    <a:pt x="366" y="1585"/>
                  </a:lnTo>
                  <a:lnTo>
                    <a:pt x="9877" y="366"/>
                  </a:lnTo>
                  <a:lnTo>
                    <a:pt x="963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3" name="Freihandform: Form 642">
              <a:extLst>
                <a:ext uri="{FF2B5EF4-FFF2-40B4-BE49-F238E27FC236}">
                  <a16:creationId xmlns:a16="http://schemas.microsoft.com/office/drawing/2014/main" id="{489FE34A-32B7-41E4-A7BA-AB4CB4A7A7AE}"/>
                </a:ext>
              </a:extLst>
            </p:cNvPr>
            <p:cNvSpPr/>
            <p:nvPr/>
          </p:nvSpPr>
          <p:spPr>
            <a:xfrm>
              <a:off x="3343682" y="1499420"/>
              <a:ext cx="8779" cy="5853"/>
            </a:xfrm>
            <a:custGeom>
              <a:avLst/>
              <a:gdLst>
                <a:gd name="connsiteX0" fmla="*/ 5365 w 8779"/>
                <a:gd name="connsiteY0" fmla="*/ 0 h 5853"/>
                <a:gd name="connsiteX1" fmla="*/ 0 w 8779"/>
                <a:gd name="connsiteY1" fmla="*/ 1097 h 5853"/>
                <a:gd name="connsiteX2" fmla="*/ 1463 w 8779"/>
                <a:gd name="connsiteY2" fmla="*/ 5853 h 5853"/>
                <a:gd name="connsiteX3" fmla="*/ 8780 w 8779"/>
                <a:gd name="connsiteY3" fmla="*/ 2439 h 5853"/>
                <a:gd name="connsiteX4" fmla="*/ 5365 w 8779"/>
                <a:gd name="connsiteY4" fmla="*/ 0 h 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79" h="5853">
                  <a:moveTo>
                    <a:pt x="5365" y="0"/>
                  </a:moveTo>
                  <a:lnTo>
                    <a:pt x="0" y="1097"/>
                  </a:lnTo>
                  <a:lnTo>
                    <a:pt x="1463" y="5853"/>
                  </a:lnTo>
                  <a:lnTo>
                    <a:pt x="8780" y="2439"/>
                  </a:lnTo>
                  <a:lnTo>
                    <a:pt x="536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4" name="Freihandform: Form 643">
              <a:extLst>
                <a:ext uri="{FF2B5EF4-FFF2-40B4-BE49-F238E27FC236}">
                  <a16:creationId xmlns:a16="http://schemas.microsoft.com/office/drawing/2014/main" id="{C6718FB3-520B-458C-8C0E-EE600B372155}"/>
                </a:ext>
              </a:extLst>
            </p:cNvPr>
            <p:cNvSpPr/>
            <p:nvPr/>
          </p:nvSpPr>
          <p:spPr>
            <a:xfrm>
              <a:off x="3022975" y="4708070"/>
              <a:ext cx="33655" cy="12681"/>
            </a:xfrm>
            <a:custGeom>
              <a:avLst/>
              <a:gdLst>
                <a:gd name="connsiteX0" fmla="*/ 24876 w 33655"/>
                <a:gd name="connsiteY0" fmla="*/ 3536 h 12681"/>
                <a:gd name="connsiteX1" fmla="*/ 25730 w 33655"/>
                <a:gd name="connsiteY1" fmla="*/ 3049 h 12681"/>
                <a:gd name="connsiteX2" fmla="*/ 21827 w 33655"/>
                <a:gd name="connsiteY2" fmla="*/ 2195 h 12681"/>
                <a:gd name="connsiteX3" fmla="*/ 12560 w 33655"/>
                <a:gd name="connsiteY3" fmla="*/ 0 h 12681"/>
                <a:gd name="connsiteX4" fmla="*/ 0 w 33655"/>
                <a:gd name="connsiteY4" fmla="*/ 2195 h 12681"/>
                <a:gd name="connsiteX5" fmla="*/ 0 w 33655"/>
                <a:gd name="connsiteY5" fmla="*/ 2439 h 12681"/>
                <a:gd name="connsiteX6" fmla="*/ 3658 w 33655"/>
                <a:gd name="connsiteY6" fmla="*/ 4634 h 12681"/>
                <a:gd name="connsiteX7" fmla="*/ 14999 w 33655"/>
                <a:gd name="connsiteY7" fmla="*/ 4634 h 12681"/>
                <a:gd name="connsiteX8" fmla="*/ 23291 w 33655"/>
                <a:gd name="connsiteY8" fmla="*/ 9024 h 12681"/>
                <a:gd name="connsiteX9" fmla="*/ 28412 w 33655"/>
                <a:gd name="connsiteY9" fmla="*/ 12682 h 12681"/>
                <a:gd name="connsiteX10" fmla="*/ 33046 w 33655"/>
                <a:gd name="connsiteY10" fmla="*/ 12682 h 12681"/>
                <a:gd name="connsiteX11" fmla="*/ 33656 w 33655"/>
                <a:gd name="connsiteY11" fmla="*/ 11218 h 12681"/>
                <a:gd name="connsiteX12" fmla="*/ 26827 w 33655"/>
                <a:gd name="connsiteY12" fmla="*/ 4146 h 12681"/>
                <a:gd name="connsiteX13" fmla="*/ 24876 w 33655"/>
                <a:gd name="connsiteY13" fmla="*/ 3536 h 1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655" h="12681">
                  <a:moveTo>
                    <a:pt x="24876" y="3536"/>
                  </a:moveTo>
                  <a:lnTo>
                    <a:pt x="25730" y="3049"/>
                  </a:lnTo>
                  <a:lnTo>
                    <a:pt x="21827" y="2195"/>
                  </a:lnTo>
                  <a:lnTo>
                    <a:pt x="12560" y="0"/>
                  </a:lnTo>
                  <a:lnTo>
                    <a:pt x="0" y="2195"/>
                  </a:lnTo>
                  <a:lnTo>
                    <a:pt x="0" y="2439"/>
                  </a:lnTo>
                  <a:lnTo>
                    <a:pt x="3658" y="4634"/>
                  </a:lnTo>
                  <a:lnTo>
                    <a:pt x="14999" y="4634"/>
                  </a:lnTo>
                  <a:lnTo>
                    <a:pt x="23291" y="9024"/>
                  </a:lnTo>
                  <a:lnTo>
                    <a:pt x="28412" y="12682"/>
                  </a:lnTo>
                  <a:lnTo>
                    <a:pt x="33046" y="12682"/>
                  </a:lnTo>
                  <a:lnTo>
                    <a:pt x="33656" y="11218"/>
                  </a:lnTo>
                  <a:lnTo>
                    <a:pt x="26827" y="4146"/>
                  </a:lnTo>
                  <a:lnTo>
                    <a:pt x="24876" y="353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5" name="Freihandform: Form 644">
              <a:extLst>
                <a:ext uri="{FF2B5EF4-FFF2-40B4-BE49-F238E27FC236}">
                  <a16:creationId xmlns:a16="http://schemas.microsoft.com/office/drawing/2014/main" id="{FA11DF45-13C6-44A0-889E-2EC458AF8D85}"/>
                </a:ext>
              </a:extLst>
            </p:cNvPr>
            <p:cNvSpPr/>
            <p:nvPr/>
          </p:nvSpPr>
          <p:spPr>
            <a:xfrm>
              <a:off x="2987734" y="4689535"/>
              <a:ext cx="50483" cy="6219"/>
            </a:xfrm>
            <a:custGeom>
              <a:avLst/>
              <a:gdLst>
                <a:gd name="connsiteX0" fmla="*/ 49874 w 50483"/>
                <a:gd name="connsiteY0" fmla="*/ 4268 h 6219"/>
                <a:gd name="connsiteX1" fmla="*/ 50484 w 50483"/>
                <a:gd name="connsiteY1" fmla="*/ 2805 h 6219"/>
                <a:gd name="connsiteX2" fmla="*/ 30729 w 50483"/>
                <a:gd name="connsiteY2" fmla="*/ 0 h 6219"/>
                <a:gd name="connsiteX3" fmla="*/ 16828 w 50483"/>
                <a:gd name="connsiteY3" fmla="*/ 854 h 6219"/>
                <a:gd name="connsiteX4" fmla="*/ 0 w 50483"/>
                <a:gd name="connsiteY4" fmla="*/ 2927 h 6219"/>
                <a:gd name="connsiteX5" fmla="*/ 4756 w 50483"/>
                <a:gd name="connsiteY5" fmla="*/ 3902 h 6219"/>
                <a:gd name="connsiteX6" fmla="*/ 19633 w 50483"/>
                <a:gd name="connsiteY6" fmla="*/ 6219 h 6219"/>
                <a:gd name="connsiteX7" fmla="*/ 49142 w 50483"/>
                <a:gd name="connsiteY7" fmla="*/ 6219 h 6219"/>
                <a:gd name="connsiteX8" fmla="*/ 49874 w 50483"/>
                <a:gd name="connsiteY8" fmla="*/ 4268 h 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3" h="6219">
                  <a:moveTo>
                    <a:pt x="49874" y="4268"/>
                  </a:moveTo>
                  <a:lnTo>
                    <a:pt x="50484" y="2805"/>
                  </a:lnTo>
                  <a:lnTo>
                    <a:pt x="30729" y="0"/>
                  </a:lnTo>
                  <a:lnTo>
                    <a:pt x="16828" y="854"/>
                  </a:lnTo>
                  <a:lnTo>
                    <a:pt x="0" y="2927"/>
                  </a:lnTo>
                  <a:lnTo>
                    <a:pt x="4756" y="3902"/>
                  </a:lnTo>
                  <a:lnTo>
                    <a:pt x="19633" y="6219"/>
                  </a:lnTo>
                  <a:lnTo>
                    <a:pt x="49142" y="6219"/>
                  </a:lnTo>
                  <a:lnTo>
                    <a:pt x="49874" y="426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6" name="Freihandform: Form 645">
              <a:extLst>
                <a:ext uri="{FF2B5EF4-FFF2-40B4-BE49-F238E27FC236}">
                  <a16:creationId xmlns:a16="http://schemas.microsoft.com/office/drawing/2014/main" id="{ABBACCDB-5483-4D9F-8148-0ED84EABABE9}"/>
                </a:ext>
              </a:extLst>
            </p:cNvPr>
            <p:cNvSpPr/>
            <p:nvPr/>
          </p:nvSpPr>
          <p:spPr>
            <a:xfrm>
              <a:off x="3063826" y="4725874"/>
              <a:ext cx="8048" cy="2560"/>
            </a:xfrm>
            <a:custGeom>
              <a:avLst/>
              <a:gdLst>
                <a:gd name="connsiteX0" fmla="*/ 0 w 8048"/>
                <a:gd name="connsiteY0" fmla="*/ 1463 h 2560"/>
                <a:gd name="connsiteX1" fmla="*/ 7926 w 8048"/>
                <a:gd name="connsiteY1" fmla="*/ 2561 h 2560"/>
                <a:gd name="connsiteX2" fmla="*/ 8048 w 8048"/>
                <a:gd name="connsiteY2" fmla="*/ 2073 h 2560"/>
                <a:gd name="connsiteX3" fmla="*/ 3780 w 8048"/>
                <a:gd name="connsiteY3" fmla="*/ 0 h 2560"/>
                <a:gd name="connsiteX4" fmla="*/ 0 w 8048"/>
                <a:gd name="connsiteY4" fmla="*/ 1463 h 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8" h="2560">
                  <a:moveTo>
                    <a:pt x="0" y="1463"/>
                  </a:moveTo>
                  <a:lnTo>
                    <a:pt x="7926" y="2561"/>
                  </a:lnTo>
                  <a:lnTo>
                    <a:pt x="8048" y="2073"/>
                  </a:lnTo>
                  <a:lnTo>
                    <a:pt x="3780" y="0"/>
                  </a:lnTo>
                  <a:lnTo>
                    <a:pt x="0" y="1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7" name="Freihandform: Form 646">
              <a:extLst>
                <a:ext uri="{FF2B5EF4-FFF2-40B4-BE49-F238E27FC236}">
                  <a16:creationId xmlns:a16="http://schemas.microsoft.com/office/drawing/2014/main" id="{230DC4EA-1C0B-4128-AF42-584117760ED6}"/>
                </a:ext>
              </a:extLst>
            </p:cNvPr>
            <p:cNvSpPr/>
            <p:nvPr/>
          </p:nvSpPr>
          <p:spPr>
            <a:xfrm>
              <a:off x="3441723" y="972754"/>
              <a:ext cx="13779" cy="3658"/>
            </a:xfrm>
            <a:custGeom>
              <a:avLst/>
              <a:gdLst>
                <a:gd name="connsiteX0" fmla="*/ 13779 w 13779"/>
                <a:gd name="connsiteY0" fmla="*/ 2683 h 3658"/>
                <a:gd name="connsiteX1" fmla="*/ 9511 w 13779"/>
                <a:gd name="connsiteY1" fmla="*/ 0 h 3658"/>
                <a:gd name="connsiteX2" fmla="*/ 122 w 13779"/>
                <a:gd name="connsiteY2" fmla="*/ 1585 h 3658"/>
                <a:gd name="connsiteX3" fmla="*/ 0 w 13779"/>
                <a:gd name="connsiteY3" fmla="*/ 1829 h 3658"/>
                <a:gd name="connsiteX4" fmla="*/ 7195 w 13779"/>
                <a:gd name="connsiteY4" fmla="*/ 3658 h 3658"/>
                <a:gd name="connsiteX5" fmla="*/ 13779 w 13779"/>
                <a:gd name="connsiteY5" fmla="*/ 2683 h 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79" h="3658">
                  <a:moveTo>
                    <a:pt x="13779" y="2683"/>
                  </a:moveTo>
                  <a:lnTo>
                    <a:pt x="9511" y="0"/>
                  </a:lnTo>
                  <a:lnTo>
                    <a:pt x="122" y="1585"/>
                  </a:lnTo>
                  <a:lnTo>
                    <a:pt x="0" y="1829"/>
                  </a:lnTo>
                  <a:lnTo>
                    <a:pt x="7195" y="3658"/>
                  </a:lnTo>
                  <a:lnTo>
                    <a:pt x="13779" y="268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8" name="Freihandform: Form 647">
              <a:extLst>
                <a:ext uri="{FF2B5EF4-FFF2-40B4-BE49-F238E27FC236}">
                  <a16:creationId xmlns:a16="http://schemas.microsoft.com/office/drawing/2014/main" id="{046BA5E0-8EC8-49E0-88F9-77C27B47760B}"/>
                </a:ext>
              </a:extLst>
            </p:cNvPr>
            <p:cNvSpPr/>
            <p:nvPr/>
          </p:nvSpPr>
          <p:spPr>
            <a:xfrm>
              <a:off x="3347828" y="1012141"/>
              <a:ext cx="33777" cy="16462"/>
            </a:xfrm>
            <a:custGeom>
              <a:avLst/>
              <a:gdLst>
                <a:gd name="connsiteX0" fmla="*/ 20730 w 33777"/>
                <a:gd name="connsiteY0" fmla="*/ 14755 h 16462"/>
                <a:gd name="connsiteX1" fmla="*/ 33778 w 33777"/>
                <a:gd name="connsiteY1" fmla="*/ 16462 h 16462"/>
                <a:gd name="connsiteX2" fmla="*/ 28778 w 33777"/>
                <a:gd name="connsiteY2" fmla="*/ 9999 h 16462"/>
                <a:gd name="connsiteX3" fmla="*/ 17438 w 33777"/>
                <a:gd name="connsiteY3" fmla="*/ 6463 h 16462"/>
                <a:gd name="connsiteX4" fmla="*/ 18779 w 33777"/>
                <a:gd name="connsiteY4" fmla="*/ 2927 h 16462"/>
                <a:gd name="connsiteX5" fmla="*/ 4756 w 33777"/>
                <a:gd name="connsiteY5" fmla="*/ 0 h 16462"/>
                <a:gd name="connsiteX6" fmla="*/ 0 w 33777"/>
                <a:gd name="connsiteY6" fmla="*/ 1585 h 16462"/>
                <a:gd name="connsiteX7" fmla="*/ 732 w 33777"/>
                <a:gd name="connsiteY7" fmla="*/ 4878 h 16462"/>
                <a:gd name="connsiteX8" fmla="*/ 20730 w 33777"/>
                <a:gd name="connsiteY8" fmla="*/ 14755 h 1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77" h="16462">
                  <a:moveTo>
                    <a:pt x="20730" y="14755"/>
                  </a:moveTo>
                  <a:lnTo>
                    <a:pt x="33778" y="16462"/>
                  </a:lnTo>
                  <a:lnTo>
                    <a:pt x="28778" y="9999"/>
                  </a:lnTo>
                  <a:lnTo>
                    <a:pt x="17438" y="6463"/>
                  </a:lnTo>
                  <a:lnTo>
                    <a:pt x="18779" y="2927"/>
                  </a:lnTo>
                  <a:lnTo>
                    <a:pt x="4756" y="0"/>
                  </a:lnTo>
                  <a:lnTo>
                    <a:pt x="0" y="1585"/>
                  </a:lnTo>
                  <a:lnTo>
                    <a:pt x="732" y="4878"/>
                  </a:lnTo>
                  <a:lnTo>
                    <a:pt x="20730" y="1475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49" name="Freihandform: Form 648">
              <a:extLst>
                <a:ext uri="{FF2B5EF4-FFF2-40B4-BE49-F238E27FC236}">
                  <a16:creationId xmlns:a16="http://schemas.microsoft.com/office/drawing/2014/main" id="{6CAD91F9-18A6-418E-A122-E33080D0088A}"/>
                </a:ext>
              </a:extLst>
            </p:cNvPr>
            <p:cNvSpPr/>
            <p:nvPr/>
          </p:nvSpPr>
          <p:spPr>
            <a:xfrm>
              <a:off x="3460258" y="987509"/>
              <a:ext cx="53532" cy="33046"/>
            </a:xfrm>
            <a:custGeom>
              <a:avLst/>
              <a:gdLst>
                <a:gd name="connsiteX0" fmla="*/ 33778 w 53532"/>
                <a:gd name="connsiteY0" fmla="*/ 24998 h 33046"/>
                <a:gd name="connsiteX1" fmla="*/ 40363 w 53532"/>
                <a:gd name="connsiteY1" fmla="*/ 29998 h 33046"/>
                <a:gd name="connsiteX2" fmla="*/ 40363 w 53532"/>
                <a:gd name="connsiteY2" fmla="*/ 33046 h 33046"/>
                <a:gd name="connsiteX3" fmla="*/ 43899 w 53532"/>
                <a:gd name="connsiteY3" fmla="*/ 32802 h 33046"/>
                <a:gd name="connsiteX4" fmla="*/ 41338 w 53532"/>
                <a:gd name="connsiteY4" fmla="*/ 24266 h 33046"/>
                <a:gd name="connsiteX5" fmla="*/ 53532 w 53532"/>
                <a:gd name="connsiteY5" fmla="*/ 18535 h 33046"/>
                <a:gd name="connsiteX6" fmla="*/ 22193 w 53532"/>
                <a:gd name="connsiteY6" fmla="*/ 0 h 33046"/>
                <a:gd name="connsiteX7" fmla="*/ 0 w 53532"/>
                <a:gd name="connsiteY7" fmla="*/ 2561 h 33046"/>
                <a:gd name="connsiteX8" fmla="*/ 8292 w 53532"/>
                <a:gd name="connsiteY8" fmla="*/ 11463 h 33046"/>
                <a:gd name="connsiteX9" fmla="*/ 33778 w 53532"/>
                <a:gd name="connsiteY9" fmla="*/ 24998 h 33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532" h="33046">
                  <a:moveTo>
                    <a:pt x="33778" y="24998"/>
                  </a:moveTo>
                  <a:lnTo>
                    <a:pt x="40363" y="29998"/>
                  </a:lnTo>
                  <a:lnTo>
                    <a:pt x="40363" y="33046"/>
                  </a:lnTo>
                  <a:lnTo>
                    <a:pt x="43899" y="32802"/>
                  </a:lnTo>
                  <a:lnTo>
                    <a:pt x="41338" y="24266"/>
                  </a:lnTo>
                  <a:lnTo>
                    <a:pt x="53532" y="18535"/>
                  </a:lnTo>
                  <a:lnTo>
                    <a:pt x="22193" y="0"/>
                  </a:lnTo>
                  <a:lnTo>
                    <a:pt x="0" y="2561"/>
                  </a:lnTo>
                  <a:lnTo>
                    <a:pt x="8292" y="11463"/>
                  </a:lnTo>
                  <a:lnTo>
                    <a:pt x="33778" y="249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0" name="Freihandform: Form 649">
              <a:extLst>
                <a:ext uri="{FF2B5EF4-FFF2-40B4-BE49-F238E27FC236}">
                  <a16:creationId xmlns:a16="http://schemas.microsoft.com/office/drawing/2014/main" id="{79148757-DE9E-43B0-A949-D3BB803B36CD}"/>
                </a:ext>
              </a:extLst>
            </p:cNvPr>
            <p:cNvSpPr/>
            <p:nvPr/>
          </p:nvSpPr>
          <p:spPr>
            <a:xfrm>
              <a:off x="3476476" y="961779"/>
              <a:ext cx="23656" cy="10365"/>
            </a:xfrm>
            <a:custGeom>
              <a:avLst/>
              <a:gdLst>
                <a:gd name="connsiteX0" fmla="*/ 23657 w 23656"/>
                <a:gd name="connsiteY0" fmla="*/ 9877 h 10365"/>
                <a:gd name="connsiteX1" fmla="*/ 22925 w 23656"/>
                <a:gd name="connsiteY1" fmla="*/ 7073 h 10365"/>
                <a:gd name="connsiteX2" fmla="*/ 18291 w 23656"/>
                <a:gd name="connsiteY2" fmla="*/ 3902 h 10365"/>
                <a:gd name="connsiteX3" fmla="*/ 6341 w 23656"/>
                <a:gd name="connsiteY3" fmla="*/ 0 h 10365"/>
                <a:gd name="connsiteX4" fmla="*/ 2805 w 23656"/>
                <a:gd name="connsiteY4" fmla="*/ 1097 h 10365"/>
                <a:gd name="connsiteX5" fmla="*/ 2805 w 23656"/>
                <a:gd name="connsiteY5" fmla="*/ 7804 h 10365"/>
                <a:gd name="connsiteX6" fmla="*/ 0 w 23656"/>
                <a:gd name="connsiteY6" fmla="*/ 7804 h 10365"/>
                <a:gd name="connsiteX7" fmla="*/ 6707 w 23656"/>
                <a:gd name="connsiteY7" fmla="*/ 10365 h 10365"/>
                <a:gd name="connsiteX8" fmla="*/ 23657 w 23656"/>
                <a:gd name="connsiteY8" fmla="*/ 9877 h 1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56" h="10365">
                  <a:moveTo>
                    <a:pt x="23657" y="9877"/>
                  </a:moveTo>
                  <a:lnTo>
                    <a:pt x="22925" y="7073"/>
                  </a:lnTo>
                  <a:lnTo>
                    <a:pt x="18291" y="3902"/>
                  </a:lnTo>
                  <a:lnTo>
                    <a:pt x="6341" y="0"/>
                  </a:lnTo>
                  <a:lnTo>
                    <a:pt x="2805" y="1097"/>
                  </a:lnTo>
                  <a:lnTo>
                    <a:pt x="2805" y="7804"/>
                  </a:lnTo>
                  <a:lnTo>
                    <a:pt x="0" y="7804"/>
                  </a:lnTo>
                  <a:lnTo>
                    <a:pt x="6707" y="10365"/>
                  </a:lnTo>
                  <a:lnTo>
                    <a:pt x="23657" y="987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1" name="Freihandform: Form 650">
              <a:extLst>
                <a:ext uri="{FF2B5EF4-FFF2-40B4-BE49-F238E27FC236}">
                  <a16:creationId xmlns:a16="http://schemas.microsoft.com/office/drawing/2014/main" id="{C6F5679E-32B7-423F-B5DC-33993EC2F4BD}"/>
                </a:ext>
              </a:extLst>
            </p:cNvPr>
            <p:cNvSpPr/>
            <p:nvPr/>
          </p:nvSpPr>
          <p:spPr>
            <a:xfrm>
              <a:off x="3442211" y="997996"/>
              <a:ext cx="3658" cy="2804"/>
            </a:xfrm>
            <a:custGeom>
              <a:avLst/>
              <a:gdLst>
                <a:gd name="connsiteX0" fmla="*/ 1097 w 3658"/>
                <a:gd name="connsiteY0" fmla="*/ 2561 h 2804"/>
                <a:gd name="connsiteX1" fmla="*/ 3658 w 3658"/>
                <a:gd name="connsiteY1" fmla="*/ 2805 h 2804"/>
                <a:gd name="connsiteX2" fmla="*/ 3414 w 3658"/>
                <a:gd name="connsiteY2" fmla="*/ 2195 h 2804"/>
                <a:gd name="connsiteX3" fmla="*/ 0 w 3658"/>
                <a:gd name="connsiteY3" fmla="*/ 0 h 2804"/>
                <a:gd name="connsiteX4" fmla="*/ 1097 w 3658"/>
                <a:gd name="connsiteY4" fmla="*/ 2561 h 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8" h="2804">
                  <a:moveTo>
                    <a:pt x="1097" y="2561"/>
                  </a:moveTo>
                  <a:lnTo>
                    <a:pt x="3658" y="2805"/>
                  </a:lnTo>
                  <a:lnTo>
                    <a:pt x="3414" y="2195"/>
                  </a:lnTo>
                  <a:lnTo>
                    <a:pt x="0" y="0"/>
                  </a:lnTo>
                  <a:lnTo>
                    <a:pt x="1097" y="256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2" name="Freihandform: Form 651">
              <a:extLst>
                <a:ext uri="{FF2B5EF4-FFF2-40B4-BE49-F238E27FC236}">
                  <a16:creationId xmlns:a16="http://schemas.microsoft.com/office/drawing/2014/main" id="{5B060F54-9DEE-4186-93C3-4E9A6C9EAFE2}"/>
                </a:ext>
              </a:extLst>
            </p:cNvPr>
            <p:cNvSpPr/>
            <p:nvPr/>
          </p:nvSpPr>
          <p:spPr>
            <a:xfrm>
              <a:off x="3207839" y="3218431"/>
              <a:ext cx="2438" cy="1219"/>
            </a:xfrm>
            <a:custGeom>
              <a:avLst/>
              <a:gdLst>
                <a:gd name="connsiteX0" fmla="*/ 244 w 2438"/>
                <a:gd name="connsiteY0" fmla="*/ 1219 h 1219"/>
                <a:gd name="connsiteX1" fmla="*/ 2439 w 2438"/>
                <a:gd name="connsiteY1" fmla="*/ 732 h 1219"/>
                <a:gd name="connsiteX2" fmla="*/ 2317 w 2438"/>
                <a:gd name="connsiteY2" fmla="*/ 0 h 1219"/>
                <a:gd name="connsiteX3" fmla="*/ 0 w 2438"/>
                <a:gd name="connsiteY3" fmla="*/ 732 h 1219"/>
                <a:gd name="connsiteX4" fmla="*/ 244 w 2438"/>
                <a:gd name="connsiteY4" fmla="*/ 1219 h 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8" h="1219">
                  <a:moveTo>
                    <a:pt x="244" y="1219"/>
                  </a:moveTo>
                  <a:lnTo>
                    <a:pt x="2439" y="732"/>
                  </a:lnTo>
                  <a:lnTo>
                    <a:pt x="2317" y="0"/>
                  </a:lnTo>
                  <a:lnTo>
                    <a:pt x="0" y="732"/>
                  </a:lnTo>
                  <a:lnTo>
                    <a:pt x="244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3" name="Freihandform: Form 652">
              <a:extLst>
                <a:ext uri="{FF2B5EF4-FFF2-40B4-BE49-F238E27FC236}">
                  <a16:creationId xmlns:a16="http://schemas.microsoft.com/office/drawing/2014/main" id="{8D2FA43F-9B7C-4A4A-BB8E-344FD8554DE4}"/>
                </a:ext>
              </a:extLst>
            </p:cNvPr>
            <p:cNvSpPr/>
            <p:nvPr/>
          </p:nvSpPr>
          <p:spPr>
            <a:xfrm>
              <a:off x="3137234" y="2388618"/>
              <a:ext cx="6341" cy="12072"/>
            </a:xfrm>
            <a:custGeom>
              <a:avLst/>
              <a:gdLst>
                <a:gd name="connsiteX0" fmla="*/ 2439 w 6341"/>
                <a:gd name="connsiteY0" fmla="*/ 12072 h 12072"/>
                <a:gd name="connsiteX1" fmla="*/ 6341 w 6341"/>
                <a:gd name="connsiteY1" fmla="*/ 11828 h 12072"/>
                <a:gd name="connsiteX2" fmla="*/ 4268 w 6341"/>
                <a:gd name="connsiteY2" fmla="*/ 8658 h 12072"/>
                <a:gd name="connsiteX3" fmla="*/ 3536 w 6341"/>
                <a:gd name="connsiteY3" fmla="*/ 366 h 12072"/>
                <a:gd name="connsiteX4" fmla="*/ 0 w 6341"/>
                <a:gd name="connsiteY4" fmla="*/ 0 h 12072"/>
                <a:gd name="connsiteX5" fmla="*/ 0 w 6341"/>
                <a:gd name="connsiteY5" fmla="*/ 10609 h 12072"/>
                <a:gd name="connsiteX6" fmla="*/ 2439 w 6341"/>
                <a:gd name="connsiteY6" fmla="*/ 12072 h 1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1" h="12072">
                  <a:moveTo>
                    <a:pt x="2439" y="12072"/>
                  </a:moveTo>
                  <a:lnTo>
                    <a:pt x="6341" y="11828"/>
                  </a:lnTo>
                  <a:lnTo>
                    <a:pt x="4268" y="8658"/>
                  </a:lnTo>
                  <a:lnTo>
                    <a:pt x="3536" y="366"/>
                  </a:lnTo>
                  <a:lnTo>
                    <a:pt x="0" y="0"/>
                  </a:lnTo>
                  <a:lnTo>
                    <a:pt x="0" y="10609"/>
                  </a:lnTo>
                  <a:lnTo>
                    <a:pt x="2439" y="1207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4" name="Freihandform: Form 653">
              <a:extLst>
                <a:ext uri="{FF2B5EF4-FFF2-40B4-BE49-F238E27FC236}">
                  <a16:creationId xmlns:a16="http://schemas.microsoft.com/office/drawing/2014/main" id="{E869711A-C190-4532-9C6D-612ECAEB1228}"/>
                </a:ext>
              </a:extLst>
            </p:cNvPr>
            <p:cNvSpPr/>
            <p:nvPr/>
          </p:nvSpPr>
          <p:spPr>
            <a:xfrm>
              <a:off x="2939811" y="3040152"/>
              <a:ext cx="44752" cy="35241"/>
            </a:xfrm>
            <a:custGeom>
              <a:avLst/>
              <a:gdLst>
                <a:gd name="connsiteX0" fmla="*/ 13901 w 44752"/>
                <a:gd name="connsiteY0" fmla="*/ 26096 h 35241"/>
                <a:gd name="connsiteX1" fmla="*/ 244 w 44752"/>
                <a:gd name="connsiteY1" fmla="*/ 27315 h 35241"/>
                <a:gd name="connsiteX2" fmla="*/ 0 w 44752"/>
                <a:gd name="connsiteY2" fmla="*/ 29632 h 35241"/>
                <a:gd name="connsiteX3" fmla="*/ 10975 w 44752"/>
                <a:gd name="connsiteY3" fmla="*/ 33900 h 35241"/>
                <a:gd name="connsiteX4" fmla="*/ 23291 w 44752"/>
                <a:gd name="connsiteY4" fmla="*/ 35241 h 35241"/>
                <a:gd name="connsiteX5" fmla="*/ 41582 w 44752"/>
                <a:gd name="connsiteY5" fmla="*/ 34144 h 35241"/>
                <a:gd name="connsiteX6" fmla="*/ 44753 w 44752"/>
                <a:gd name="connsiteY6" fmla="*/ 21584 h 35241"/>
                <a:gd name="connsiteX7" fmla="*/ 44753 w 44752"/>
                <a:gd name="connsiteY7" fmla="*/ 4268 h 35241"/>
                <a:gd name="connsiteX8" fmla="*/ 33168 w 44752"/>
                <a:gd name="connsiteY8" fmla="*/ 2561 h 35241"/>
                <a:gd name="connsiteX9" fmla="*/ 26095 w 44752"/>
                <a:gd name="connsiteY9" fmla="*/ 0 h 35241"/>
                <a:gd name="connsiteX10" fmla="*/ 17438 w 44752"/>
                <a:gd name="connsiteY10" fmla="*/ 3780 h 35241"/>
                <a:gd name="connsiteX11" fmla="*/ 18413 w 44752"/>
                <a:gd name="connsiteY11" fmla="*/ 6463 h 35241"/>
                <a:gd name="connsiteX12" fmla="*/ 28169 w 44752"/>
                <a:gd name="connsiteY12" fmla="*/ 7926 h 35241"/>
                <a:gd name="connsiteX13" fmla="*/ 28169 w 44752"/>
                <a:gd name="connsiteY13" fmla="*/ 16218 h 35241"/>
                <a:gd name="connsiteX14" fmla="*/ 36705 w 44752"/>
                <a:gd name="connsiteY14" fmla="*/ 20120 h 35241"/>
                <a:gd name="connsiteX15" fmla="*/ 32193 w 44752"/>
                <a:gd name="connsiteY15" fmla="*/ 29144 h 35241"/>
                <a:gd name="connsiteX16" fmla="*/ 13901 w 44752"/>
                <a:gd name="connsiteY16" fmla="*/ 26096 h 3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752" h="35241">
                  <a:moveTo>
                    <a:pt x="13901" y="26096"/>
                  </a:moveTo>
                  <a:lnTo>
                    <a:pt x="244" y="27315"/>
                  </a:lnTo>
                  <a:lnTo>
                    <a:pt x="0" y="29632"/>
                  </a:lnTo>
                  <a:lnTo>
                    <a:pt x="10975" y="33900"/>
                  </a:lnTo>
                  <a:lnTo>
                    <a:pt x="23291" y="35241"/>
                  </a:lnTo>
                  <a:lnTo>
                    <a:pt x="41582" y="34144"/>
                  </a:lnTo>
                  <a:lnTo>
                    <a:pt x="44753" y="21584"/>
                  </a:lnTo>
                  <a:lnTo>
                    <a:pt x="44753" y="4268"/>
                  </a:lnTo>
                  <a:lnTo>
                    <a:pt x="33168" y="2561"/>
                  </a:lnTo>
                  <a:lnTo>
                    <a:pt x="26095" y="0"/>
                  </a:lnTo>
                  <a:lnTo>
                    <a:pt x="17438" y="3780"/>
                  </a:lnTo>
                  <a:lnTo>
                    <a:pt x="18413" y="6463"/>
                  </a:lnTo>
                  <a:lnTo>
                    <a:pt x="28169" y="7926"/>
                  </a:lnTo>
                  <a:lnTo>
                    <a:pt x="28169" y="16218"/>
                  </a:lnTo>
                  <a:lnTo>
                    <a:pt x="36705" y="20120"/>
                  </a:lnTo>
                  <a:lnTo>
                    <a:pt x="32193" y="29144"/>
                  </a:lnTo>
                  <a:lnTo>
                    <a:pt x="13901" y="2609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5" name="Freihandform: Form 654">
              <a:extLst>
                <a:ext uri="{FF2B5EF4-FFF2-40B4-BE49-F238E27FC236}">
                  <a16:creationId xmlns:a16="http://schemas.microsoft.com/office/drawing/2014/main" id="{02361B13-DBE7-465D-B944-F1360BE0A13C}"/>
                </a:ext>
              </a:extLst>
            </p:cNvPr>
            <p:cNvSpPr/>
            <p:nvPr/>
          </p:nvSpPr>
          <p:spPr>
            <a:xfrm>
              <a:off x="2864573" y="3070882"/>
              <a:ext cx="31583" cy="12559"/>
            </a:xfrm>
            <a:custGeom>
              <a:avLst/>
              <a:gdLst>
                <a:gd name="connsiteX0" fmla="*/ 9877 w 31583"/>
                <a:gd name="connsiteY0" fmla="*/ 11706 h 12559"/>
                <a:gd name="connsiteX1" fmla="*/ 31217 w 31583"/>
                <a:gd name="connsiteY1" fmla="*/ 12560 h 12559"/>
                <a:gd name="connsiteX2" fmla="*/ 31583 w 31583"/>
                <a:gd name="connsiteY2" fmla="*/ 10365 h 12559"/>
                <a:gd name="connsiteX3" fmla="*/ 7438 w 31583"/>
                <a:gd name="connsiteY3" fmla="*/ 0 h 12559"/>
                <a:gd name="connsiteX4" fmla="*/ 0 w 31583"/>
                <a:gd name="connsiteY4" fmla="*/ 3414 h 12559"/>
                <a:gd name="connsiteX5" fmla="*/ 2439 w 31583"/>
                <a:gd name="connsiteY5" fmla="*/ 7438 h 12559"/>
                <a:gd name="connsiteX6" fmla="*/ 9877 w 31583"/>
                <a:gd name="connsiteY6" fmla="*/ 11706 h 12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583" h="12559">
                  <a:moveTo>
                    <a:pt x="9877" y="11706"/>
                  </a:moveTo>
                  <a:lnTo>
                    <a:pt x="31217" y="12560"/>
                  </a:lnTo>
                  <a:lnTo>
                    <a:pt x="31583" y="10365"/>
                  </a:lnTo>
                  <a:lnTo>
                    <a:pt x="7438" y="0"/>
                  </a:lnTo>
                  <a:lnTo>
                    <a:pt x="0" y="3414"/>
                  </a:lnTo>
                  <a:lnTo>
                    <a:pt x="2439" y="7438"/>
                  </a:lnTo>
                  <a:lnTo>
                    <a:pt x="9877" y="1170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6" name="Freihandform: Form 655">
              <a:extLst>
                <a:ext uri="{FF2B5EF4-FFF2-40B4-BE49-F238E27FC236}">
                  <a16:creationId xmlns:a16="http://schemas.microsoft.com/office/drawing/2014/main" id="{9CB693CE-C6D7-46EC-95D1-FB2721C6C83F}"/>
                </a:ext>
              </a:extLst>
            </p:cNvPr>
            <p:cNvSpPr/>
            <p:nvPr/>
          </p:nvSpPr>
          <p:spPr>
            <a:xfrm>
              <a:off x="2955663" y="3015520"/>
              <a:ext cx="4145" cy="2316"/>
            </a:xfrm>
            <a:custGeom>
              <a:avLst/>
              <a:gdLst>
                <a:gd name="connsiteX0" fmla="*/ 4146 w 4145"/>
                <a:gd name="connsiteY0" fmla="*/ 975 h 2316"/>
                <a:gd name="connsiteX1" fmla="*/ 2439 w 4145"/>
                <a:gd name="connsiteY1" fmla="*/ 0 h 2316"/>
                <a:gd name="connsiteX2" fmla="*/ 0 w 4145"/>
                <a:gd name="connsiteY2" fmla="*/ 1585 h 2316"/>
                <a:gd name="connsiteX3" fmla="*/ 3049 w 4145"/>
                <a:gd name="connsiteY3" fmla="*/ 2317 h 2316"/>
                <a:gd name="connsiteX4" fmla="*/ 4146 w 4145"/>
                <a:gd name="connsiteY4" fmla="*/ 975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45" h="2316">
                  <a:moveTo>
                    <a:pt x="4146" y="975"/>
                  </a:moveTo>
                  <a:lnTo>
                    <a:pt x="2439" y="0"/>
                  </a:lnTo>
                  <a:lnTo>
                    <a:pt x="0" y="1585"/>
                  </a:lnTo>
                  <a:lnTo>
                    <a:pt x="3049" y="2317"/>
                  </a:lnTo>
                  <a:lnTo>
                    <a:pt x="4146" y="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7" name="Freihandform: Form 656">
              <a:extLst>
                <a:ext uri="{FF2B5EF4-FFF2-40B4-BE49-F238E27FC236}">
                  <a16:creationId xmlns:a16="http://schemas.microsoft.com/office/drawing/2014/main" id="{A6CC6F53-BB32-452A-A391-648E1D818A1C}"/>
                </a:ext>
              </a:extLst>
            </p:cNvPr>
            <p:cNvSpPr/>
            <p:nvPr/>
          </p:nvSpPr>
          <p:spPr>
            <a:xfrm>
              <a:off x="2987978" y="3040762"/>
              <a:ext cx="62068" cy="41460"/>
            </a:xfrm>
            <a:custGeom>
              <a:avLst/>
              <a:gdLst>
                <a:gd name="connsiteX0" fmla="*/ 62068 w 62068"/>
                <a:gd name="connsiteY0" fmla="*/ 29510 h 41460"/>
                <a:gd name="connsiteX1" fmla="*/ 61093 w 62068"/>
                <a:gd name="connsiteY1" fmla="*/ 23779 h 41460"/>
                <a:gd name="connsiteX2" fmla="*/ 54752 w 62068"/>
                <a:gd name="connsiteY2" fmla="*/ 18413 h 41460"/>
                <a:gd name="connsiteX3" fmla="*/ 49386 w 62068"/>
                <a:gd name="connsiteY3" fmla="*/ 14023 h 41460"/>
                <a:gd name="connsiteX4" fmla="*/ 38899 w 62068"/>
                <a:gd name="connsiteY4" fmla="*/ 13292 h 41460"/>
                <a:gd name="connsiteX5" fmla="*/ 21827 w 62068"/>
                <a:gd name="connsiteY5" fmla="*/ 1951 h 41460"/>
                <a:gd name="connsiteX6" fmla="*/ 4999 w 62068"/>
                <a:gd name="connsiteY6" fmla="*/ 0 h 41460"/>
                <a:gd name="connsiteX7" fmla="*/ 4512 w 62068"/>
                <a:gd name="connsiteY7" fmla="*/ 610 h 41460"/>
                <a:gd name="connsiteX8" fmla="*/ 4512 w 62068"/>
                <a:gd name="connsiteY8" fmla="*/ 21706 h 41460"/>
                <a:gd name="connsiteX9" fmla="*/ 4390 w 62068"/>
                <a:gd name="connsiteY9" fmla="*/ 22437 h 41460"/>
                <a:gd name="connsiteX10" fmla="*/ 1341 w 62068"/>
                <a:gd name="connsiteY10" fmla="*/ 34875 h 41460"/>
                <a:gd name="connsiteX11" fmla="*/ 244 w 62068"/>
                <a:gd name="connsiteY11" fmla="*/ 39143 h 41460"/>
                <a:gd name="connsiteX12" fmla="*/ 0 w 62068"/>
                <a:gd name="connsiteY12" fmla="*/ 39143 h 41460"/>
                <a:gd name="connsiteX13" fmla="*/ 244 w 62068"/>
                <a:gd name="connsiteY13" fmla="*/ 40119 h 41460"/>
                <a:gd name="connsiteX14" fmla="*/ 3780 w 62068"/>
                <a:gd name="connsiteY14" fmla="*/ 41460 h 41460"/>
                <a:gd name="connsiteX15" fmla="*/ 14511 w 62068"/>
                <a:gd name="connsiteY15" fmla="*/ 33900 h 41460"/>
                <a:gd name="connsiteX16" fmla="*/ 17803 w 62068"/>
                <a:gd name="connsiteY16" fmla="*/ 27437 h 41460"/>
                <a:gd name="connsiteX17" fmla="*/ 35485 w 62068"/>
                <a:gd name="connsiteY17" fmla="*/ 29022 h 41460"/>
                <a:gd name="connsiteX18" fmla="*/ 49386 w 62068"/>
                <a:gd name="connsiteY18" fmla="*/ 29022 h 41460"/>
                <a:gd name="connsiteX19" fmla="*/ 57069 w 62068"/>
                <a:gd name="connsiteY19" fmla="*/ 33534 h 41460"/>
                <a:gd name="connsiteX20" fmla="*/ 62068 w 62068"/>
                <a:gd name="connsiteY20" fmla="*/ 29510 h 4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2068" h="41460">
                  <a:moveTo>
                    <a:pt x="62068" y="29510"/>
                  </a:moveTo>
                  <a:lnTo>
                    <a:pt x="61093" y="23779"/>
                  </a:lnTo>
                  <a:lnTo>
                    <a:pt x="54752" y="18413"/>
                  </a:lnTo>
                  <a:lnTo>
                    <a:pt x="49386" y="14023"/>
                  </a:lnTo>
                  <a:lnTo>
                    <a:pt x="38899" y="13292"/>
                  </a:lnTo>
                  <a:lnTo>
                    <a:pt x="21827" y="1951"/>
                  </a:lnTo>
                  <a:lnTo>
                    <a:pt x="4999" y="0"/>
                  </a:lnTo>
                  <a:lnTo>
                    <a:pt x="4512" y="610"/>
                  </a:lnTo>
                  <a:lnTo>
                    <a:pt x="4512" y="21706"/>
                  </a:lnTo>
                  <a:lnTo>
                    <a:pt x="4390" y="22437"/>
                  </a:lnTo>
                  <a:lnTo>
                    <a:pt x="1341" y="34875"/>
                  </a:lnTo>
                  <a:lnTo>
                    <a:pt x="244" y="39143"/>
                  </a:lnTo>
                  <a:lnTo>
                    <a:pt x="0" y="39143"/>
                  </a:lnTo>
                  <a:lnTo>
                    <a:pt x="244" y="40119"/>
                  </a:lnTo>
                  <a:lnTo>
                    <a:pt x="3780" y="41460"/>
                  </a:lnTo>
                  <a:lnTo>
                    <a:pt x="14511" y="33900"/>
                  </a:lnTo>
                  <a:lnTo>
                    <a:pt x="17803" y="27437"/>
                  </a:lnTo>
                  <a:lnTo>
                    <a:pt x="35485" y="29022"/>
                  </a:lnTo>
                  <a:lnTo>
                    <a:pt x="49386" y="29022"/>
                  </a:lnTo>
                  <a:lnTo>
                    <a:pt x="57069" y="33534"/>
                  </a:lnTo>
                  <a:lnTo>
                    <a:pt x="62068" y="295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8" name="Freihandform: Form 657">
              <a:extLst>
                <a:ext uri="{FF2B5EF4-FFF2-40B4-BE49-F238E27FC236}">
                  <a16:creationId xmlns:a16="http://schemas.microsoft.com/office/drawing/2014/main" id="{DCED354E-34B2-43DB-B5CA-BBEF796AC97D}"/>
                </a:ext>
              </a:extLst>
            </p:cNvPr>
            <p:cNvSpPr/>
            <p:nvPr/>
          </p:nvSpPr>
          <p:spPr>
            <a:xfrm>
              <a:off x="2752753" y="2972475"/>
              <a:ext cx="180961" cy="66458"/>
            </a:xfrm>
            <a:custGeom>
              <a:avLst/>
              <a:gdLst>
                <a:gd name="connsiteX0" fmla="*/ 55605 w 180961"/>
                <a:gd name="connsiteY0" fmla="*/ 18413 h 66458"/>
                <a:gd name="connsiteX1" fmla="*/ 70116 w 180961"/>
                <a:gd name="connsiteY1" fmla="*/ 18413 h 66458"/>
                <a:gd name="connsiteX2" fmla="*/ 77799 w 180961"/>
                <a:gd name="connsiteY2" fmla="*/ 27071 h 66458"/>
                <a:gd name="connsiteX3" fmla="*/ 95602 w 180961"/>
                <a:gd name="connsiteY3" fmla="*/ 29876 h 66458"/>
                <a:gd name="connsiteX4" fmla="*/ 109747 w 180961"/>
                <a:gd name="connsiteY4" fmla="*/ 42070 h 66458"/>
                <a:gd name="connsiteX5" fmla="*/ 124380 w 180961"/>
                <a:gd name="connsiteY5" fmla="*/ 44021 h 66458"/>
                <a:gd name="connsiteX6" fmla="*/ 126819 w 180961"/>
                <a:gd name="connsiteY6" fmla="*/ 48289 h 66458"/>
                <a:gd name="connsiteX7" fmla="*/ 128527 w 180961"/>
                <a:gd name="connsiteY7" fmla="*/ 51094 h 66458"/>
                <a:gd name="connsiteX8" fmla="*/ 120356 w 180961"/>
                <a:gd name="connsiteY8" fmla="*/ 59264 h 66458"/>
                <a:gd name="connsiteX9" fmla="*/ 119747 w 180961"/>
                <a:gd name="connsiteY9" fmla="*/ 63654 h 66458"/>
                <a:gd name="connsiteX10" fmla="*/ 125234 w 180961"/>
                <a:gd name="connsiteY10" fmla="*/ 66458 h 66458"/>
                <a:gd name="connsiteX11" fmla="*/ 148403 w 180961"/>
                <a:gd name="connsiteY11" fmla="*/ 60849 h 66458"/>
                <a:gd name="connsiteX12" fmla="*/ 157061 w 180961"/>
                <a:gd name="connsiteY12" fmla="*/ 61824 h 66458"/>
                <a:gd name="connsiteX13" fmla="*/ 180961 w 180961"/>
                <a:gd name="connsiteY13" fmla="*/ 58532 h 66458"/>
                <a:gd name="connsiteX14" fmla="*/ 178523 w 180961"/>
                <a:gd name="connsiteY14" fmla="*/ 54630 h 66458"/>
                <a:gd name="connsiteX15" fmla="*/ 159987 w 180961"/>
                <a:gd name="connsiteY15" fmla="*/ 51825 h 66458"/>
                <a:gd name="connsiteX16" fmla="*/ 147793 w 180961"/>
                <a:gd name="connsiteY16" fmla="*/ 42314 h 66458"/>
                <a:gd name="connsiteX17" fmla="*/ 139989 w 180961"/>
                <a:gd name="connsiteY17" fmla="*/ 41460 h 66458"/>
                <a:gd name="connsiteX18" fmla="*/ 133160 w 180961"/>
                <a:gd name="connsiteY18" fmla="*/ 34510 h 66458"/>
                <a:gd name="connsiteX19" fmla="*/ 101699 w 180961"/>
                <a:gd name="connsiteY19" fmla="*/ 16950 h 66458"/>
                <a:gd name="connsiteX20" fmla="*/ 85847 w 180961"/>
                <a:gd name="connsiteY20" fmla="*/ 16950 h 66458"/>
                <a:gd name="connsiteX21" fmla="*/ 81701 w 180961"/>
                <a:gd name="connsiteY21" fmla="*/ 8780 h 66458"/>
                <a:gd name="connsiteX22" fmla="*/ 70482 w 180961"/>
                <a:gd name="connsiteY22" fmla="*/ 2805 h 66458"/>
                <a:gd name="connsiteX23" fmla="*/ 41460 w 180961"/>
                <a:gd name="connsiteY23" fmla="*/ 1829 h 66458"/>
                <a:gd name="connsiteX24" fmla="*/ 29388 w 180961"/>
                <a:gd name="connsiteY24" fmla="*/ 0 h 66458"/>
                <a:gd name="connsiteX25" fmla="*/ 17804 w 180961"/>
                <a:gd name="connsiteY25" fmla="*/ 1707 h 66458"/>
                <a:gd name="connsiteX26" fmla="*/ 976 w 180961"/>
                <a:gd name="connsiteY26" fmla="*/ 10609 h 66458"/>
                <a:gd name="connsiteX27" fmla="*/ 0 w 180961"/>
                <a:gd name="connsiteY27" fmla="*/ 14023 h 66458"/>
                <a:gd name="connsiteX28" fmla="*/ 8170 w 180961"/>
                <a:gd name="connsiteY28" fmla="*/ 15487 h 66458"/>
                <a:gd name="connsiteX29" fmla="*/ 24998 w 180961"/>
                <a:gd name="connsiteY29" fmla="*/ 5244 h 66458"/>
                <a:gd name="connsiteX30" fmla="*/ 40972 w 180961"/>
                <a:gd name="connsiteY30" fmla="*/ 4024 h 66458"/>
                <a:gd name="connsiteX31" fmla="*/ 40972 w 180961"/>
                <a:gd name="connsiteY31" fmla="*/ 9877 h 66458"/>
                <a:gd name="connsiteX32" fmla="*/ 55605 w 180961"/>
                <a:gd name="connsiteY32" fmla="*/ 18413 h 6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80961" h="66458">
                  <a:moveTo>
                    <a:pt x="55605" y="18413"/>
                  </a:moveTo>
                  <a:lnTo>
                    <a:pt x="70116" y="18413"/>
                  </a:lnTo>
                  <a:lnTo>
                    <a:pt x="77799" y="27071"/>
                  </a:lnTo>
                  <a:lnTo>
                    <a:pt x="95602" y="29876"/>
                  </a:lnTo>
                  <a:lnTo>
                    <a:pt x="109747" y="42070"/>
                  </a:lnTo>
                  <a:lnTo>
                    <a:pt x="124380" y="44021"/>
                  </a:lnTo>
                  <a:lnTo>
                    <a:pt x="126819" y="48289"/>
                  </a:lnTo>
                  <a:lnTo>
                    <a:pt x="128527" y="51094"/>
                  </a:lnTo>
                  <a:lnTo>
                    <a:pt x="120356" y="59264"/>
                  </a:lnTo>
                  <a:lnTo>
                    <a:pt x="119747" y="63654"/>
                  </a:lnTo>
                  <a:lnTo>
                    <a:pt x="125234" y="66458"/>
                  </a:lnTo>
                  <a:lnTo>
                    <a:pt x="148403" y="60849"/>
                  </a:lnTo>
                  <a:lnTo>
                    <a:pt x="157061" y="61824"/>
                  </a:lnTo>
                  <a:lnTo>
                    <a:pt x="180961" y="58532"/>
                  </a:lnTo>
                  <a:lnTo>
                    <a:pt x="178523" y="54630"/>
                  </a:lnTo>
                  <a:lnTo>
                    <a:pt x="159987" y="51825"/>
                  </a:lnTo>
                  <a:lnTo>
                    <a:pt x="147793" y="42314"/>
                  </a:lnTo>
                  <a:lnTo>
                    <a:pt x="139989" y="41460"/>
                  </a:lnTo>
                  <a:lnTo>
                    <a:pt x="133160" y="34510"/>
                  </a:lnTo>
                  <a:lnTo>
                    <a:pt x="101699" y="16950"/>
                  </a:lnTo>
                  <a:lnTo>
                    <a:pt x="85847" y="16950"/>
                  </a:lnTo>
                  <a:lnTo>
                    <a:pt x="81701" y="8780"/>
                  </a:lnTo>
                  <a:lnTo>
                    <a:pt x="70482" y="2805"/>
                  </a:lnTo>
                  <a:lnTo>
                    <a:pt x="41460" y="1829"/>
                  </a:lnTo>
                  <a:lnTo>
                    <a:pt x="29388" y="0"/>
                  </a:lnTo>
                  <a:lnTo>
                    <a:pt x="17804" y="1707"/>
                  </a:lnTo>
                  <a:lnTo>
                    <a:pt x="976" y="10609"/>
                  </a:lnTo>
                  <a:lnTo>
                    <a:pt x="0" y="14023"/>
                  </a:lnTo>
                  <a:lnTo>
                    <a:pt x="8170" y="15487"/>
                  </a:lnTo>
                  <a:lnTo>
                    <a:pt x="24998" y="5244"/>
                  </a:lnTo>
                  <a:lnTo>
                    <a:pt x="40972" y="4024"/>
                  </a:lnTo>
                  <a:lnTo>
                    <a:pt x="40972" y="9877"/>
                  </a:lnTo>
                  <a:lnTo>
                    <a:pt x="55605" y="1841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59" name="Freihandform: Form 658">
              <a:extLst>
                <a:ext uri="{FF2B5EF4-FFF2-40B4-BE49-F238E27FC236}">
                  <a16:creationId xmlns:a16="http://schemas.microsoft.com/office/drawing/2014/main" id="{5458BA61-0817-4619-8967-502D6226899B}"/>
                </a:ext>
              </a:extLst>
            </p:cNvPr>
            <p:cNvSpPr/>
            <p:nvPr/>
          </p:nvSpPr>
          <p:spPr>
            <a:xfrm>
              <a:off x="3041632" y="3197945"/>
              <a:ext cx="1829" cy="1585"/>
            </a:xfrm>
            <a:custGeom>
              <a:avLst/>
              <a:gdLst>
                <a:gd name="connsiteX0" fmla="*/ 0 w 1829"/>
                <a:gd name="connsiteY0" fmla="*/ 366 h 1585"/>
                <a:gd name="connsiteX1" fmla="*/ 1829 w 1829"/>
                <a:gd name="connsiteY1" fmla="*/ 1585 h 1585"/>
                <a:gd name="connsiteX2" fmla="*/ 1463 w 1829"/>
                <a:gd name="connsiteY2" fmla="*/ 976 h 1585"/>
                <a:gd name="connsiteX3" fmla="*/ 854 w 1829"/>
                <a:gd name="connsiteY3" fmla="*/ 0 h 1585"/>
                <a:gd name="connsiteX4" fmla="*/ 0 w 1829"/>
                <a:gd name="connsiteY4" fmla="*/ 366 h 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" h="1585">
                  <a:moveTo>
                    <a:pt x="0" y="366"/>
                  </a:moveTo>
                  <a:lnTo>
                    <a:pt x="1829" y="1585"/>
                  </a:lnTo>
                  <a:lnTo>
                    <a:pt x="1463" y="976"/>
                  </a:lnTo>
                  <a:lnTo>
                    <a:pt x="854" y="0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0" name="Freihandform: Form 659">
              <a:extLst>
                <a:ext uri="{FF2B5EF4-FFF2-40B4-BE49-F238E27FC236}">
                  <a16:creationId xmlns:a16="http://schemas.microsoft.com/office/drawing/2014/main" id="{993F6F5D-3257-46C2-8A11-40E2A033106C}"/>
                </a:ext>
              </a:extLst>
            </p:cNvPr>
            <p:cNvSpPr/>
            <p:nvPr/>
          </p:nvSpPr>
          <p:spPr>
            <a:xfrm>
              <a:off x="3154062" y="2404593"/>
              <a:ext cx="20364" cy="6828"/>
            </a:xfrm>
            <a:custGeom>
              <a:avLst/>
              <a:gdLst>
                <a:gd name="connsiteX0" fmla="*/ 0 w 20364"/>
                <a:gd name="connsiteY0" fmla="*/ 1341 h 6828"/>
                <a:gd name="connsiteX1" fmla="*/ 3049 w 20364"/>
                <a:gd name="connsiteY1" fmla="*/ 6097 h 6828"/>
                <a:gd name="connsiteX2" fmla="*/ 17438 w 20364"/>
                <a:gd name="connsiteY2" fmla="*/ 6829 h 6828"/>
                <a:gd name="connsiteX3" fmla="*/ 20364 w 20364"/>
                <a:gd name="connsiteY3" fmla="*/ 0 h 6828"/>
                <a:gd name="connsiteX4" fmla="*/ 4512 w 20364"/>
                <a:gd name="connsiteY4" fmla="*/ 976 h 6828"/>
                <a:gd name="connsiteX5" fmla="*/ 0 w 20364"/>
                <a:gd name="connsiteY5" fmla="*/ 1341 h 6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64" h="6828">
                  <a:moveTo>
                    <a:pt x="0" y="1341"/>
                  </a:moveTo>
                  <a:lnTo>
                    <a:pt x="3049" y="6097"/>
                  </a:lnTo>
                  <a:lnTo>
                    <a:pt x="17438" y="6829"/>
                  </a:lnTo>
                  <a:lnTo>
                    <a:pt x="20364" y="0"/>
                  </a:lnTo>
                  <a:lnTo>
                    <a:pt x="4512" y="976"/>
                  </a:lnTo>
                  <a:lnTo>
                    <a:pt x="0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1" name="Freihandform: Form 660">
              <a:extLst>
                <a:ext uri="{FF2B5EF4-FFF2-40B4-BE49-F238E27FC236}">
                  <a16:creationId xmlns:a16="http://schemas.microsoft.com/office/drawing/2014/main" id="{A0B94590-DA1E-4038-9FB2-EE458E7E175E}"/>
                </a:ext>
              </a:extLst>
            </p:cNvPr>
            <p:cNvSpPr/>
            <p:nvPr/>
          </p:nvSpPr>
          <p:spPr>
            <a:xfrm>
              <a:off x="3185280" y="3096490"/>
              <a:ext cx="853" cy="1097"/>
            </a:xfrm>
            <a:custGeom>
              <a:avLst/>
              <a:gdLst>
                <a:gd name="connsiteX0" fmla="*/ 122 w 853"/>
                <a:gd name="connsiteY0" fmla="*/ 975 h 1097"/>
                <a:gd name="connsiteX1" fmla="*/ 122 w 853"/>
                <a:gd name="connsiteY1" fmla="*/ 1097 h 1097"/>
                <a:gd name="connsiteX2" fmla="*/ 854 w 853"/>
                <a:gd name="connsiteY2" fmla="*/ 366 h 1097"/>
                <a:gd name="connsiteX3" fmla="*/ 366 w 853"/>
                <a:gd name="connsiteY3" fmla="*/ 0 h 1097"/>
                <a:gd name="connsiteX4" fmla="*/ 0 w 853"/>
                <a:gd name="connsiteY4" fmla="*/ 366 h 1097"/>
                <a:gd name="connsiteX5" fmla="*/ 122 w 853"/>
                <a:gd name="connsiteY5" fmla="*/ 975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3" h="1097">
                  <a:moveTo>
                    <a:pt x="122" y="975"/>
                  </a:moveTo>
                  <a:lnTo>
                    <a:pt x="122" y="1097"/>
                  </a:lnTo>
                  <a:lnTo>
                    <a:pt x="854" y="366"/>
                  </a:lnTo>
                  <a:lnTo>
                    <a:pt x="366" y="0"/>
                  </a:lnTo>
                  <a:lnTo>
                    <a:pt x="0" y="366"/>
                  </a:lnTo>
                  <a:lnTo>
                    <a:pt x="122" y="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2" name="Freihandform: Form 661">
              <a:extLst>
                <a:ext uri="{FF2B5EF4-FFF2-40B4-BE49-F238E27FC236}">
                  <a16:creationId xmlns:a16="http://schemas.microsoft.com/office/drawing/2014/main" id="{7C6FBB5D-E5C6-4A23-B4CE-9C2A5125AD22}"/>
                </a:ext>
              </a:extLst>
            </p:cNvPr>
            <p:cNvSpPr/>
            <p:nvPr/>
          </p:nvSpPr>
          <p:spPr>
            <a:xfrm>
              <a:off x="3081385" y="3070516"/>
              <a:ext cx="22437" cy="6341"/>
            </a:xfrm>
            <a:custGeom>
              <a:avLst/>
              <a:gdLst>
                <a:gd name="connsiteX0" fmla="*/ 22437 w 22437"/>
                <a:gd name="connsiteY0" fmla="*/ 2927 h 6341"/>
                <a:gd name="connsiteX1" fmla="*/ 21584 w 22437"/>
                <a:gd name="connsiteY1" fmla="*/ 1219 h 6341"/>
                <a:gd name="connsiteX2" fmla="*/ 2317 w 22437"/>
                <a:gd name="connsiteY2" fmla="*/ 0 h 6341"/>
                <a:gd name="connsiteX3" fmla="*/ 0 w 22437"/>
                <a:gd name="connsiteY3" fmla="*/ 2195 h 6341"/>
                <a:gd name="connsiteX4" fmla="*/ 0 w 22437"/>
                <a:gd name="connsiteY4" fmla="*/ 6341 h 6341"/>
                <a:gd name="connsiteX5" fmla="*/ 20730 w 22437"/>
                <a:gd name="connsiteY5" fmla="*/ 6341 h 6341"/>
                <a:gd name="connsiteX6" fmla="*/ 22437 w 22437"/>
                <a:gd name="connsiteY6" fmla="*/ 2927 h 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37" h="6341">
                  <a:moveTo>
                    <a:pt x="22437" y="2927"/>
                  </a:moveTo>
                  <a:lnTo>
                    <a:pt x="21584" y="1219"/>
                  </a:lnTo>
                  <a:lnTo>
                    <a:pt x="2317" y="0"/>
                  </a:lnTo>
                  <a:lnTo>
                    <a:pt x="0" y="2195"/>
                  </a:lnTo>
                  <a:lnTo>
                    <a:pt x="0" y="6341"/>
                  </a:lnTo>
                  <a:lnTo>
                    <a:pt x="20730" y="6341"/>
                  </a:lnTo>
                  <a:lnTo>
                    <a:pt x="22437" y="29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3" name="Freihandform: Form 662">
              <a:extLst>
                <a:ext uri="{FF2B5EF4-FFF2-40B4-BE49-F238E27FC236}">
                  <a16:creationId xmlns:a16="http://schemas.microsoft.com/office/drawing/2014/main" id="{6BC9B661-E16C-4F18-AACC-BB53A2F259DD}"/>
                </a:ext>
              </a:extLst>
            </p:cNvPr>
            <p:cNvSpPr/>
            <p:nvPr/>
          </p:nvSpPr>
          <p:spPr>
            <a:xfrm>
              <a:off x="2927739" y="4448822"/>
              <a:ext cx="4145" cy="4389"/>
            </a:xfrm>
            <a:custGeom>
              <a:avLst/>
              <a:gdLst>
                <a:gd name="connsiteX0" fmla="*/ 0 w 4145"/>
                <a:gd name="connsiteY0" fmla="*/ 4390 h 4389"/>
                <a:gd name="connsiteX1" fmla="*/ 2073 w 4145"/>
                <a:gd name="connsiteY1" fmla="*/ 4390 h 4389"/>
                <a:gd name="connsiteX2" fmla="*/ 4146 w 4145"/>
                <a:gd name="connsiteY2" fmla="*/ 2683 h 4389"/>
                <a:gd name="connsiteX3" fmla="*/ 2926 w 4145"/>
                <a:gd name="connsiteY3" fmla="*/ 0 h 4389"/>
                <a:gd name="connsiteX4" fmla="*/ 976 w 4145"/>
                <a:gd name="connsiteY4" fmla="*/ 1341 h 4389"/>
                <a:gd name="connsiteX5" fmla="*/ 0 w 4145"/>
                <a:gd name="connsiteY5" fmla="*/ 4390 h 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" h="4389">
                  <a:moveTo>
                    <a:pt x="0" y="4390"/>
                  </a:moveTo>
                  <a:lnTo>
                    <a:pt x="2073" y="4390"/>
                  </a:lnTo>
                  <a:lnTo>
                    <a:pt x="4146" y="2683"/>
                  </a:lnTo>
                  <a:lnTo>
                    <a:pt x="2926" y="0"/>
                  </a:lnTo>
                  <a:lnTo>
                    <a:pt x="976" y="1341"/>
                  </a:lnTo>
                  <a:lnTo>
                    <a:pt x="0" y="439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4" name="Freihandform: Form 663">
              <a:extLst>
                <a:ext uri="{FF2B5EF4-FFF2-40B4-BE49-F238E27FC236}">
                  <a16:creationId xmlns:a16="http://schemas.microsoft.com/office/drawing/2014/main" id="{3429E0B6-7CF8-46A9-913C-DB6CED1D360C}"/>
                </a:ext>
              </a:extLst>
            </p:cNvPr>
            <p:cNvSpPr/>
            <p:nvPr/>
          </p:nvSpPr>
          <p:spPr>
            <a:xfrm>
              <a:off x="3188816" y="2367522"/>
              <a:ext cx="5121" cy="2316"/>
            </a:xfrm>
            <a:custGeom>
              <a:avLst/>
              <a:gdLst>
                <a:gd name="connsiteX0" fmla="*/ 2805 w 5121"/>
                <a:gd name="connsiteY0" fmla="*/ 0 h 2316"/>
                <a:gd name="connsiteX1" fmla="*/ 0 w 5121"/>
                <a:gd name="connsiteY1" fmla="*/ 2317 h 2316"/>
                <a:gd name="connsiteX2" fmla="*/ 4999 w 5121"/>
                <a:gd name="connsiteY2" fmla="*/ 976 h 2316"/>
                <a:gd name="connsiteX3" fmla="*/ 5122 w 5121"/>
                <a:gd name="connsiteY3" fmla="*/ 0 h 2316"/>
                <a:gd name="connsiteX4" fmla="*/ 2805 w 5121"/>
                <a:gd name="connsiteY4" fmla="*/ 0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1" h="2316">
                  <a:moveTo>
                    <a:pt x="2805" y="0"/>
                  </a:moveTo>
                  <a:lnTo>
                    <a:pt x="0" y="2317"/>
                  </a:lnTo>
                  <a:lnTo>
                    <a:pt x="4999" y="976"/>
                  </a:lnTo>
                  <a:lnTo>
                    <a:pt x="5122" y="0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5" name="Freihandform: Form 664">
              <a:extLst>
                <a:ext uri="{FF2B5EF4-FFF2-40B4-BE49-F238E27FC236}">
                  <a16:creationId xmlns:a16="http://schemas.microsoft.com/office/drawing/2014/main" id="{3F0CDF67-904C-4020-B042-F37D277263E9}"/>
                </a:ext>
              </a:extLst>
            </p:cNvPr>
            <p:cNvSpPr/>
            <p:nvPr/>
          </p:nvSpPr>
          <p:spPr>
            <a:xfrm>
              <a:off x="2693855" y="1697819"/>
              <a:ext cx="124380" cy="117673"/>
            </a:xfrm>
            <a:custGeom>
              <a:avLst/>
              <a:gdLst>
                <a:gd name="connsiteX0" fmla="*/ 124380 w 124380"/>
                <a:gd name="connsiteY0" fmla="*/ 88773 h 117673"/>
                <a:gd name="connsiteX1" fmla="*/ 122551 w 124380"/>
                <a:gd name="connsiteY1" fmla="*/ 85969 h 117673"/>
                <a:gd name="connsiteX2" fmla="*/ 95602 w 124380"/>
                <a:gd name="connsiteY2" fmla="*/ 81579 h 117673"/>
                <a:gd name="connsiteX3" fmla="*/ 100358 w 124380"/>
                <a:gd name="connsiteY3" fmla="*/ 64141 h 117673"/>
                <a:gd name="connsiteX4" fmla="*/ 97797 w 124380"/>
                <a:gd name="connsiteY4" fmla="*/ 50118 h 117673"/>
                <a:gd name="connsiteX5" fmla="*/ 74263 w 124380"/>
                <a:gd name="connsiteY5" fmla="*/ 40485 h 117673"/>
                <a:gd name="connsiteX6" fmla="*/ 65849 w 124380"/>
                <a:gd name="connsiteY6" fmla="*/ 30607 h 117673"/>
                <a:gd name="connsiteX7" fmla="*/ 49021 w 124380"/>
                <a:gd name="connsiteY7" fmla="*/ 24144 h 117673"/>
                <a:gd name="connsiteX8" fmla="*/ 42680 w 124380"/>
                <a:gd name="connsiteY8" fmla="*/ 28900 h 117673"/>
                <a:gd name="connsiteX9" fmla="*/ 31095 w 124380"/>
                <a:gd name="connsiteY9" fmla="*/ 15609 h 117673"/>
                <a:gd name="connsiteX10" fmla="*/ 28412 w 124380"/>
                <a:gd name="connsiteY10" fmla="*/ 854 h 117673"/>
                <a:gd name="connsiteX11" fmla="*/ 24145 w 124380"/>
                <a:gd name="connsiteY11" fmla="*/ 0 h 117673"/>
                <a:gd name="connsiteX12" fmla="*/ 20852 w 124380"/>
                <a:gd name="connsiteY12" fmla="*/ 5365 h 117673"/>
                <a:gd name="connsiteX13" fmla="*/ 19511 w 124380"/>
                <a:gd name="connsiteY13" fmla="*/ 14755 h 117673"/>
                <a:gd name="connsiteX14" fmla="*/ 18169 w 124380"/>
                <a:gd name="connsiteY14" fmla="*/ 52069 h 117673"/>
                <a:gd name="connsiteX15" fmla="*/ 0 w 124380"/>
                <a:gd name="connsiteY15" fmla="*/ 88286 h 117673"/>
                <a:gd name="connsiteX16" fmla="*/ 1829 w 124380"/>
                <a:gd name="connsiteY16" fmla="*/ 92066 h 117673"/>
                <a:gd name="connsiteX17" fmla="*/ 26461 w 124380"/>
                <a:gd name="connsiteY17" fmla="*/ 94993 h 117673"/>
                <a:gd name="connsiteX18" fmla="*/ 29144 w 124380"/>
                <a:gd name="connsiteY18" fmla="*/ 117674 h 117673"/>
                <a:gd name="connsiteX19" fmla="*/ 37314 w 124380"/>
                <a:gd name="connsiteY19" fmla="*/ 113650 h 117673"/>
                <a:gd name="connsiteX20" fmla="*/ 51703 w 124380"/>
                <a:gd name="connsiteY20" fmla="*/ 94871 h 117673"/>
                <a:gd name="connsiteX21" fmla="*/ 60239 w 124380"/>
                <a:gd name="connsiteY21" fmla="*/ 93529 h 117673"/>
                <a:gd name="connsiteX22" fmla="*/ 69995 w 124380"/>
                <a:gd name="connsiteY22" fmla="*/ 79506 h 117673"/>
                <a:gd name="connsiteX23" fmla="*/ 80603 w 124380"/>
                <a:gd name="connsiteY23" fmla="*/ 75970 h 117673"/>
                <a:gd name="connsiteX24" fmla="*/ 87432 w 124380"/>
                <a:gd name="connsiteY24" fmla="*/ 84506 h 117673"/>
                <a:gd name="connsiteX25" fmla="*/ 90115 w 124380"/>
                <a:gd name="connsiteY25" fmla="*/ 92554 h 117673"/>
                <a:gd name="connsiteX26" fmla="*/ 100236 w 124380"/>
                <a:gd name="connsiteY26" fmla="*/ 97553 h 117673"/>
                <a:gd name="connsiteX27" fmla="*/ 122186 w 124380"/>
                <a:gd name="connsiteY27" fmla="*/ 98895 h 117673"/>
                <a:gd name="connsiteX28" fmla="*/ 124380 w 124380"/>
                <a:gd name="connsiteY28" fmla="*/ 88773 h 11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4380" h="117673">
                  <a:moveTo>
                    <a:pt x="124380" y="88773"/>
                  </a:moveTo>
                  <a:lnTo>
                    <a:pt x="122551" y="85969"/>
                  </a:lnTo>
                  <a:lnTo>
                    <a:pt x="95602" y="81579"/>
                  </a:lnTo>
                  <a:lnTo>
                    <a:pt x="100358" y="64141"/>
                  </a:lnTo>
                  <a:lnTo>
                    <a:pt x="97797" y="50118"/>
                  </a:lnTo>
                  <a:lnTo>
                    <a:pt x="74263" y="40485"/>
                  </a:lnTo>
                  <a:lnTo>
                    <a:pt x="65849" y="30607"/>
                  </a:lnTo>
                  <a:lnTo>
                    <a:pt x="49021" y="24144"/>
                  </a:lnTo>
                  <a:lnTo>
                    <a:pt x="42680" y="28900"/>
                  </a:lnTo>
                  <a:lnTo>
                    <a:pt x="31095" y="15609"/>
                  </a:lnTo>
                  <a:lnTo>
                    <a:pt x="28412" y="854"/>
                  </a:lnTo>
                  <a:lnTo>
                    <a:pt x="24145" y="0"/>
                  </a:lnTo>
                  <a:lnTo>
                    <a:pt x="20852" y="5365"/>
                  </a:lnTo>
                  <a:lnTo>
                    <a:pt x="19511" y="14755"/>
                  </a:lnTo>
                  <a:lnTo>
                    <a:pt x="18169" y="52069"/>
                  </a:lnTo>
                  <a:lnTo>
                    <a:pt x="0" y="88286"/>
                  </a:lnTo>
                  <a:lnTo>
                    <a:pt x="1829" y="92066"/>
                  </a:lnTo>
                  <a:lnTo>
                    <a:pt x="26461" y="94993"/>
                  </a:lnTo>
                  <a:lnTo>
                    <a:pt x="29144" y="117674"/>
                  </a:lnTo>
                  <a:lnTo>
                    <a:pt x="37314" y="113650"/>
                  </a:lnTo>
                  <a:lnTo>
                    <a:pt x="51703" y="94871"/>
                  </a:lnTo>
                  <a:lnTo>
                    <a:pt x="60239" y="93529"/>
                  </a:lnTo>
                  <a:lnTo>
                    <a:pt x="69995" y="79506"/>
                  </a:lnTo>
                  <a:lnTo>
                    <a:pt x="80603" y="75970"/>
                  </a:lnTo>
                  <a:lnTo>
                    <a:pt x="87432" y="84506"/>
                  </a:lnTo>
                  <a:lnTo>
                    <a:pt x="90115" y="92554"/>
                  </a:lnTo>
                  <a:lnTo>
                    <a:pt x="100236" y="97553"/>
                  </a:lnTo>
                  <a:lnTo>
                    <a:pt x="122186" y="98895"/>
                  </a:lnTo>
                  <a:lnTo>
                    <a:pt x="124380" y="8877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6" name="Freihandform: Form 665">
              <a:extLst>
                <a:ext uri="{FF2B5EF4-FFF2-40B4-BE49-F238E27FC236}">
                  <a16:creationId xmlns:a16="http://schemas.microsoft.com/office/drawing/2014/main" id="{E909CAAD-126D-4A0C-A3A2-09A96203FAA2}"/>
                </a:ext>
              </a:extLst>
            </p:cNvPr>
            <p:cNvSpPr/>
            <p:nvPr/>
          </p:nvSpPr>
          <p:spPr>
            <a:xfrm>
              <a:off x="2443509" y="1555513"/>
              <a:ext cx="76579" cy="37314"/>
            </a:xfrm>
            <a:custGeom>
              <a:avLst/>
              <a:gdLst>
                <a:gd name="connsiteX0" fmla="*/ 48045 w 76579"/>
                <a:gd name="connsiteY0" fmla="*/ 6341 h 37314"/>
                <a:gd name="connsiteX1" fmla="*/ 37436 w 76579"/>
                <a:gd name="connsiteY1" fmla="*/ 732 h 37314"/>
                <a:gd name="connsiteX2" fmla="*/ 31461 w 76579"/>
                <a:gd name="connsiteY2" fmla="*/ 0 h 37314"/>
                <a:gd name="connsiteX3" fmla="*/ 24388 w 76579"/>
                <a:gd name="connsiteY3" fmla="*/ 4268 h 37314"/>
                <a:gd name="connsiteX4" fmla="*/ 22925 w 76579"/>
                <a:gd name="connsiteY4" fmla="*/ 13779 h 37314"/>
                <a:gd name="connsiteX5" fmla="*/ 0 w 76579"/>
                <a:gd name="connsiteY5" fmla="*/ 22681 h 37314"/>
                <a:gd name="connsiteX6" fmla="*/ 2317 w 76579"/>
                <a:gd name="connsiteY6" fmla="*/ 26461 h 37314"/>
                <a:gd name="connsiteX7" fmla="*/ 14023 w 76579"/>
                <a:gd name="connsiteY7" fmla="*/ 27193 h 37314"/>
                <a:gd name="connsiteX8" fmla="*/ 36095 w 76579"/>
                <a:gd name="connsiteY8" fmla="*/ 30729 h 37314"/>
                <a:gd name="connsiteX9" fmla="*/ 51215 w 76579"/>
                <a:gd name="connsiteY9" fmla="*/ 37314 h 37314"/>
                <a:gd name="connsiteX10" fmla="*/ 58898 w 76579"/>
                <a:gd name="connsiteY10" fmla="*/ 37314 h 37314"/>
                <a:gd name="connsiteX11" fmla="*/ 71214 w 76579"/>
                <a:gd name="connsiteY11" fmla="*/ 31583 h 37314"/>
                <a:gd name="connsiteX12" fmla="*/ 76579 w 76579"/>
                <a:gd name="connsiteY12" fmla="*/ 28900 h 37314"/>
                <a:gd name="connsiteX13" fmla="*/ 60483 w 76579"/>
                <a:gd name="connsiteY13" fmla="*/ 17072 h 37314"/>
                <a:gd name="connsiteX14" fmla="*/ 59142 w 76579"/>
                <a:gd name="connsiteY14" fmla="*/ 13901 h 37314"/>
                <a:gd name="connsiteX15" fmla="*/ 52435 w 76579"/>
                <a:gd name="connsiteY15" fmla="*/ 11462 h 37314"/>
                <a:gd name="connsiteX16" fmla="*/ 48045 w 76579"/>
                <a:gd name="connsiteY16" fmla="*/ 6341 h 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579" h="37314">
                  <a:moveTo>
                    <a:pt x="48045" y="6341"/>
                  </a:moveTo>
                  <a:lnTo>
                    <a:pt x="37436" y="732"/>
                  </a:lnTo>
                  <a:lnTo>
                    <a:pt x="31461" y="0"/>
                  </a:lnTo>
                  <a:lnTo>
                    <a:pt x="24388" y="4268"/>
                  </a:lnTo>
                  <a:lnTo>
                    <a:pt x="22925" y="13779"/>
                  </a:lnTo>
                  <a:lnTo>
                    <a:pt x="0" y="22681"/>
                  </a:lnTo>
                  <a:lnTo>
                    <a:pt x="2317" y="26461"/>
                  </a:lnTo>
                  <a:lnTo>
                    <a:pt x="14023" y="27193"/>
                  </a:lnTo>
                  <a:lnTo>
                    <a:pt x="36095" y="30729"/>
                  </a:lnTo>
                  <a:lnTo>
                    <a:pt x="51215" y="37314"/>
                  </a:lnTo>
                  <a:lnTo>
                    <a:pt x="58898" y="37314"/>
                  </a:lnTo>
                  <a:lnTo>
                    <a:pt x="71214" y="31583"/>
                  </a:lnTo>
                  <a:lnTo>
                    <a:pt x="76579" y="28900"/>
                  </a:lnTo>
                  <a:lnTo>
                    <a:pt x="60483" y="17072"/>
                  </a:lnTo>
                  <a:lnTo>
                    <a:pt x="59142" y="13901"/>
                  </a:lnTo>
                  <a:lnTo>
                    <a:pt x="52435" y="11462"/>
                  </a:lnTo>
                  <a:lnTo>
                    <a:pt x="48045" y="6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7" name="Freihandform: Form 666">
              <a:extLst>
                <a:ext uri="{FF2B5EF4-FFF2-40B4-BE49-F238E27FC236}">
                  <a16:creationId xmlns:a16="http://schemas.microsoft.com/office/drawing/2014/main" id="{97FD7916-C3BA-4B6A-8078-683FA06E638B}"/>
                </a:ext>
              </a:extLst>
            </p:cNvPr>
            <p:cNvSpPr/>
            <p:nvPr/>
          </p:nvSpPr>
          <p:spPr>
            <a:xfrm>
              <a:off x="2059759" y="1420280"/>
              <a:ext cx="353020" cy="173401"/>
            </a:xfrm>
            <a:custGeom>
              <a:avLst/>
              <a:gdLst>
                <a:gd name="connsiteX0" fmla="*/ 351314 w 353020"/>
                <a:gd name="connsiteY0" fmla="*/ 130965 h 173401"/>
                <a:gd name="connsiteX1" fmla="*/ 353021 w 353020"/>
                <a:gd name="connsiteY1" fmla="*/ 128892 h 173401"/>
                <a:gd name="connsiteX2" fmla="*/ 353021 w 353020"/>
                <a:gd name="connsiteY2" fmla="*/ 124990 h 173401"/>
                <a:gd name="connsiteX3" fmla="*/ 327779 w 353020"/>
                <a:gd name="connsiteY3" fmla="*/ 112430 h 173401"/>
                <a:gd name="connsiteX4" fmla="*/ 325096 w 353020"/>
                <a:gd name="connsiteY4" fmla="*/ 102553 h 173401"/>
                <a:gd name="connsiteX5" fmla="*/ 315829 w 353020"/>
                <a:gd name="connsiteY5" fmla="*/ 100480 h 173401"/>
                <a:gd name="connsiteX6" fmla="*/ 309732 w 353020"/>
                <a:gd name="connsiteY6" fmla="*/ 104016 h 173401"/>
                <a:gd name="connsiteX7" fmla="*/ 280344 w 353020"/>
                <a:gd name="connsiteY7" fmla="*/ 87310 h 173401"/>
                <a:gd name="connsiteX8" fmla="*/ 284734 w 353020"/>
                <a:gd name="connsiteY8" fmla="*/ 70726 h 173401"/>
                <a:gd name="connsiteX9" fmla="*/ 272418 w 353020"/>
                <a:gd name="connsiteY9" fmla="*/ 58532 h 173401"/>
                <a:gd name="connsiteX10" fmla="*/ 266442 w 353020"/>
                <a:gd name="connsiteY10" fmla="*/ 40972 h 173401"/>
                <a:gd name="connsiteX11" fmla="*/ 266442 w 353020"/>
                <a:gd name="connsiteY11" fmla="*/ 19267 h 173401"/>
                <a:gd name="connsiteX12" fmla="*/ 249493 w 353020"/>
                <a:gd name="connsiteY12" fmla="*/ 11341 h 173401"/>
                <a:gd name="connsiteX13" fmla="*/ 249493 w 353020"/>
                <a:gd name="connsiteY13" fmla="*/ 7804 h 173401"/>
                <a:gd name="connsiteX14" fmla="*/ 243639 w 353020"/>
                <a:gd name="connsiteY14" fmla="*/ 4268 h 173401"/>
                <a:gd name="connsiteX15" fmla="*/ 233152 w 353020"/>
                <a:gd name="connsiteY15" fmla="*/ 6829 h 173401"/>
                <a:gd name="connsiteX16" fmla="*/ 223763 w 353020"/>
                <a:gd name="connsiteY16" fmla="*/ 4756 h 173401"/>
                <a:gd name="connsiteX17" fmla="*/ 217178 w 353020"/>
                <a:gd name="connsiteY17" fmla="*/ 1707 h 173401"/>
                <a:gd name="connsiteX18" fmla="*/ 214007 w 353020"/>
                <a:gd name="connsiteY18" fmla="*/ 2195 h 173401"/>
                <a:gd name="connsiteX19" fmla="*/ 214007 w 353020"/>
                <a:gd name="connsiteY19" fmla="*/ 8536 h 173401"/>
                <a:gd name="connsiteX20" fmla="*/ 218397 w 353020"/>
                <a:gd name="connsiteY20" fmla="*/ 20730 h 173401"/>
                <a:gd name="connsiteX21" fmla="*/ 215593 w 353020"/>
                <a:gd name="connsiteY21" fmla="*/ 29998 h 173401"/>
                <a:gd name="connsiteX22" fmla="*/ 220836 w 353020"/>
                <a:gd name="connsiteY22" fmla="*/ 43411 h 173401"/>
                <a:gd name="connsiteX23" fmla="*/ 229006 w 353020"/>
                <a:gd name="connsiteY23" fmla="*/ 52313 h 173401"/>
                <a:gd name="connsiteX24" fmla="*/ 212300 w 353020"/>
                <a:gd name="connsiteY24" fmla="*/ 68409 h 173401"/>
                <a:gd name="connsiteX25" fmla="*/ 201569 w 353020"/>
                <a:gd name="connsiteY25" fmla="*/ 63044 h 173401"/>
                <a:gd name="connsiteX26" fmla="*/ 197058 w 353020"/>
                <a:gd name="connsiteY26" fmla="*/ 42436 h 173401"/>
                <a:gd name="connsiteX27" fmla="*/ 193034 w 353020"/>
                <a:gd name="connsiteY27" fmla="*/ 29632 h 173401"/>
                <a:gd name="connsiteX28" fmla="*/ 175718 w 353020"/>
                <a:gd name="connsiteY28" fmla="*/ 15243 h 173401"/>
                <a:gd name="connsiteX29" fmla="*/ 166816 w 353020"/>
                <a:gd name="connsiteY29" fmla="*/ 15243 h 173401"/>
                <a:gd name="connsiteX30" fmla="*/ 168401 w 353020"/>
                <a:gd name="connsiteY30" fmla="*/ 19145 h 173401"/>
                <a:gd name="connsiteX31" fmla="*/ 173157 w 353020"/>
                <a:gd name="connsiteY31" fmla="*/ 29510 h 173401"/>
                <a:gd name="connsiteX32" fmla="*/ 168645 w 353020"/>
                <a:gd name="connsiteY32" fmla="*/ 36217 h 173401"/>
                <a:gd name="connsiteX33" fmla="*/ 158280 w 353020"/>
                <a:gd name="connsiteY33" fmla="*/ 31705 h 173401"/>
                <a:gd name="connsiteX34" fmla="*/ 152427 w 353020"/>
                <a:gd name="connsiteY34" fmla="*/ 35851 h 173401"/>
                <a:gd name="connsiteX35" fmla="*/ 147671 w 353020"/>
                <a:gd name="connsiteY35" fmla="*/ 42436 h 173401"/>
                <a:gd name="connsiteX36" fmla="*/ 131819 w 353020"/>
                <a:gd name="connsiteY36" fmla="*/ 42436 h 173401"/>
                <a:gd name="connsiteX37" fmla="*/ 131819 w 353020"/>
                <a:gd name="connsiteY37" fmla="*/ 35729 h 173401"/>
                <a:gd name="connsiteX38" fmla="*/ 141452 w 353020"/>
                <a:gd name="connsiteY38" fmla="*/ 29876 h 173401"/>
                <a:gd name="connsiteX39" fmla="*/ 140477 w 353020"/>
                <a:gd name="connsiteY39" fmla="*/ 23291 h 173401"/>
                <a:gd name="connsiteX40" fmla="*/ 111211 w 353020"/>
                <a:gd name="connsiteY40" fmla="*/ 13657 h 173401"/>
                <a:gd name="connsiteX41" fmla="*/ 105114 w 353020"/>
                <a:gd name="connsiteY41" fmla="*/ 16096 h 173401"/>
                <a:gd name="connsiteX42" fmla="*/ 106455 w 353020"/>
                <a:gd name="connsiteY42" fmla="*/ 23901 h 173401"/>
                <a:gd name="connsiteX43" fmla="*/ 96944 w 353020"/>
                <a:gd name="connsiteY43" fmla="*/ 27315 h 173401"/>
                <a:gd name="connsiteX44" fmla="*/ 91456 w 353020"/>
                <a:gd name="connsiteY44" fmla="*/ 24876 h 173401"/>
                <a:gd name="connsiteX45" fmla="*/ 81701 w 353020"/>
                <a:gd name="connsiteY45" fmla="*/ 30729 h 173401"/>
                <a:gd name="connsiteX46" fmla="*/ 77433 w 353020"/>
                <a:gd name="connsiteY46" fmla="*/ 19267 h 173401"/>
                <a:gd name="connsiteX47" fmla="*/ 88530 w 353020"/>
                <a:gd name="connsiteY47" fmla="*/ 10121 h 173401"/>
                <a:gd name="connsiteX48" fmla="*/ 84262 w 353020"/>
                <a:gd name="connsiteY48" fmla="*/ 3049 h 173401"/>
                <a:gd name="connsiteX49" fmla="*/ 74262 w 353020"/>
                <a:gd name="connsiteY49" fmla="*/ 0 h 173401"/>
                <a:gd name="connsiteX50" fmla="*/ 58166 w 353020"/>
                <a:gd name="connsiteY50" fmla="*/ 4878 h 173401"/>
                <a:gd name="connsiteX51" fmla="*/ 34022 w 353020"/>
                <a:gd name="connsiteY51" fmla="*/ 19389 h 173401"/>
                <a:gd name="connsiteX52" fmla="*/ 25120 w 353020"/>
                <a:gd name="connsiteY52" fmla="*/ 21096 h 173401"/>
                <a:gd name="connsiteX53" fmla="*/ 10365 w 353020"/>
                <a:gd name="connsiteY53" fmla="*/ 25120 h 173401"/>
                <a:gd name="connsiteX54" fmla="*/ 3780 w 353020"/>
                <a:gd name="connsiteY54" fmla="*/ 34997 h 173401"/>
                <a:gd name="connsiteX55" fmla="*/ 13657 w 353020"/>
                <a:gd name="connsiteY55" fmla="*/ 38777 h 173401"/>
                <a:gd name="connsiteX56" fmla="*/ 15852 w 353020"/>
                <a:gd name="connsiteY56" fmla="*/ 47801 h 173401"/>
                <a:gd name="connsiteX57" fmla="*/ 0 w 353020"/>
                <a:gd name="connsiteY57" fmla="*/ 52069 h 173401"/>
                <a:gd name="connsiteX58" fmla="*/ 1097 w 353020"/>
                <a:gd name="connsiteY58" fmla="*/ 63897 h 173401"/>
                <a:gd name="connsiteX59" fmla="*/ 15852 w 353020"/>
                <a:gd name="connsiteY59" fmla="*/ 64751 h 173401"/>
                <a:gd name="connsiteX60" fmla="*/ 14389 w 353020"/>
                <a:gd name="connsiteY60" fmla="*/ 72068 h 173401"/>
                <a:gd name="connsiteX61" fmla="*/ 17438 w 353020"/>
                <a:gd name="connsiteY61" fmla="*/ 72921 h 173401"/>
                <a:gd name="connsiteX62" fmla="*/ 24022 w 353020"/>
                <a:gd name="connsiteY62" fmla="*/ 69751 h 173401"/>
                <a:gd name="connsiteX63" fmla="*/ 50484 w 353020"/>
                <a:gd name="connsiteY63" fmla="*/ 67068 h 173401"/>
                <a:gd name="connsiteX64" fmla="*/ 61458 w 353020"/>
                <a:gd name="connsiteY64" fmla="*/ 71092 h 173401"/>
                <a:gd name="connsiteX65" fmla="*/ 48167 w 353020"/>
                <a:gd name="connsiteY65" fmla="*/ 82433 h 173401"/>
                <a:gd name="connsiteX66" fmla="*/ 26339 w 353020"/>
                <a:gd name="connsiteY66" fmla="*/ 84140 h 173401"/>
                <a:gd name="connsiteX67" fmla="*/ 11584 w 353020"/>
                <a:gd name="connsiteY67" fmla="*/ 87554 h 173401"/>
                <a:gd name="connsiteX68" fmla="*/ 21584 w 353020"/>
                <a:gd name="connsiteY68" fmla="*/ 98895 h 173401"/>
                <a:gd name="connsiteX69" fmla="*/ 39143 w 353020"/>
                <a:gd name="connsiteY69" fmla="*/ 103772 h 173401"/>
                <a:gd name="connsiteX70" fmla="*/ 58532 w 353020"/>
                <a:gd name="connsiteY70" fmla="*/ 104504 h 173401"/>
                <a:gd name="connsiteX71" fmla="*/ 85603 w 353020"/>
                <a:gd name="connsiteY71" fmla="*/ 97675 h 173401"/>
                <a:gd name="connsiteX72" fmla="*/ 85603 w 353020"/>
                <a:gd name="connsiteY72" fmla="*/ 97675 h 173401"/>
                <a:gd name="connsiteX73" fmla="*/ 105845 w 353020"/>
                <a:gd name="connsiteY73" fmla="*/ 102065 h 173401"/>
                <a:gd name="connsiteX74" fmla="*/ 114503 w 353020"/>
                <a:gd name="connsiteY74" fmla="*/ 102919 h 173401"/>
                <a:gd name="connsiteX75" fmla="*/ 140477 w 353020"/>
                <a:gd name="connsiteY75" fmla="*/ 109747 h 173401"/>
                <a:gd name="connsiteX76" fmla="*/ 134867 w 353020"/>
                <a:gd name="connsiteY76" fmla="*/ 116332 h 173401"/>
                <a:gd name="connsiteX77" fmla="*/ 111211 w 353020"/>
                <a:gd name="connsiteY77" fmla="*/ 118161 h 173401"/>
                <a:gd name="connsiteX78" fmla="*/ 85725 w 353020"/>
                <a:gd name="connsiteY78" fmla="*/ 116454 h 173401"/>
                <a:gd name="connsiteX79" fmla="*/ 42192 w 353020"/>
                <a:gd name="connsiteY79" fmla="*/ 120600 h 173401"/>
                <a:gd name="connsiteX80" fmla="*/ 26705 w 353020"/>
                <a:gd name="connsiteY80" fmla="*/ 126819 h 173401"/>
                <a:gd name="connsiteX81" fmla="*/ 26705 w 353020"/>
                <a:gd name="connsiteY81" fmla="*/ 131941 h 173401"/>
                <a:gd name="connsiteX82" fmla="*/ 45240 w 353020"/>
                <a:gd name="connsiteY82" fmla="*/ 143769 h 173401"/>
                <a:gd name="connsiteX83" fmla="*/ 66092 w 353020"/>
                <a:gd name="connsiteY83" fmla="*/ 146208 h 173401"/>
                <a:gd name="connsiteX84" fmla="*/ 93407 w 353020"/>
                <a:gd name="connsiteY84" fmla="*/ 147062 h 173401"/>
                <a:gd name="connsiteX85" fmla="*/ 101943 w 353020"/>
                <a:gd name="connsiteY85" fmla="*/ 152305 h 173401"/>
                <a:gd name="connsiteX86" fmla="*/ 101943 w 353020"/>
                <a:gd name="connsiteY86" fmla="*/ 165963 h 173401"/>
                <a:gd name="connsiteX87" fmla="*/ 113162 w 353020"/>
                <a:gd name="connsiteY87" fmla="*/ 173401 h 173401"/>
                <a:gd name="connsiteX88" fmla="*/ 164987 w 353020"/>
                <a:gd name="connsiteY88" fmla="*/ 170962 h 173401"/>
                <a:gd name="connsiteX89" fmla="*/ 177303 w 353020"/>
                <a:gd name="connsiteY89" fmla="*/ 170109 h 173401"/>
                <a:gd name="connsiteX90" fmla="*/ 198643 w 353020"/>
                <a:gd name="connsiteY90" fmla="*/ 160719 h 173401"/>
                <a:gd name="connsiteX91" fmla="*/ 221324 w 353020"/>
                <a:gd name="connsiteY91" fmla="*/ 160719 h 173401"/>
                <a:gd name="connsiteX92" fmla="*/ 232786 w 353020"/>
                <a:gd name="connsiteY92" fmla="*/ 154500 h 173401"/>
                <a:gd name="connsiteX93" fmla="*/ 235835 w 353020"/>
                <a:gd name="connsiteY93" fmla="*/ 144501 h 173401"/>
                <a:gd name="connsiteX94" fmla="*/ 248761 w 353020"/>
                <a:gd name="connsiteY94" fmla="*/ 144501 h 173401"/>
                <a:gd name="connsiteX95" fmla="*/ 251687 w 353020"/>
                <a:gd name="connsiteY95" fmla="*/ 151695 h 173401"/>
                <a:gd name="connsiteX96" fmla="*/ 269857 w 353020"/>
                <a:gd name="connsiteY96" fmla="*/ 155841 h 173401"/>
                <a:gd name="connsiteX97" fmla="*/ 275222 w 353020"/>
                <a:gd name="connsiteY97" fmla="*/ 163890 h 173401"/>
                <a:gd name="connsiteX98" fmla="*/ 285465 w 353020"/>
                <a:gd name="connsiteY98" fmla="*/ 161573 h 173401"/>
                <a:gd name="connsiteX99" fmla="*/ 302415 w 353020"/>
                <a:gd name="connsiteY99" fmla="*/ 163158 h 173401"/>
                <a:gd name="connsiteX100" fmla="*/ 319487 w 353020"/>
                <a:gd name="connsiteY100" fmla="*/ 158158 h 173401"/>
                <a:gd name="connsiteX101" fmla="*/ 330828 w 353020"/>
                <a:gd name="connsiteY101" fmla="*/ 157183 h 173401"/>
                <a:gd name="connsiteX102" fmla="*/ 327901 w 353020"/>
                <a:gd name="connsiteY102" fmla="*/ 148403 h 173401"/>
                <a:gd name="connsiteX103" fmla="*/ 321072 w 353020"/>
                <a:gd name="connsiteY103" fmla="*/ 146330 h 173401"/>
                <a:gd name="connsiteX104" fmla="*/ 306927 w 353020"/>
                <a:gd name="connsiteY104" fmla="*/ 150110 h 173401"/>
                <a:gd name="connsiteX105" fmla="*/ 303147 w 353020"/>
                <a:gd name="connsiteY105" fmla="*/ 137672 h 173401"/>
                <a:gd name="connsiteX106" fmla="*/ 307537 w 353020"/>
                <a:gd name="connsiteY106" fmla="*/ 132307 h 173401"/>
                <a:gd name="connsiteX107" fmla="*/ 320706 w 353020"/>
                <a:gd name="connsiteY107" fmla="*/ 135843 h 173401"/>
                <a:gd name="connsiteX108" fmla="*/ 329242 w 353020"/>
                <a:gd name="connsiteY108" fmla="*/ 129868 h 173401"/>
                <a:gd name="connsiteX109" fmla="*/ 336803 w 353020"/>
                <a:gd name="connsiteY109" fmla="*/ 132551 h 173401"/>
                <a:gd name="connsiteX110" fmla="*/ 343753 w 353020"/>
                <a:gd name="connsiteY110" fmla="*/ 130965 h 173401"/>
                <a:gd name="connsiteX111" fmla="*/ 351314 w 353020"/>
                <a:gd name="connsiteY111" fmla="*/ 130965 h 17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353020" h="173401">
                  <a:moveTo>
                    <a:pt x="351314" y="130965"/>
                  </a:moveTo>
                  <a:lnTo>
                    <a:pt x="353021" y="128892"/>
                  </a:lnTo>
                  <a:lnTo>
                    <a:pt x="353021" y="124990"/>
                  </a:lnTo>
                  <a:lnTo>
                    <a:pt x="327779" y="112430"/>
                  </a:lnTo>
                  <a:lnTo>
                    <a:pt x="325096" y="102553"/>
                  </a:lnTo>
                  <a:lnTo>
                    <a:pt x="315829" y="100480"/>
                  </a:lnTo>
                  <a:lnTo>
                    <a:pt x="309732" y="104016"/>
                  </a:lnTo>
                  <a:lnTo>
                    <a:pt x="280344" y="87310"/>
                  </a:lnTo>
                  <a:lnTo>
                    <a:pt x="284734" y="70726"/>
                  </a:lnTo>
                  <a:lnTo>
                    <a:pt x="272418" y="58532"/>
                  </a:lnTo>
                  <a:lnTo>
                    <a:pt x="266442" y="40972"/>
                  </a:lnTo>
                  <a:lnTo>
                    <a:pt x="266442" y="19267"/>
                  </a:lnTo>
                  <a:lnTo>
                    <a:pt x="249493" y="11341"/>
                  </a:lnTo>
                  <a:lnTo>
                    <a:pt x="249493" y="7804"/>
                  </a:lnTo>
                  <a:lnTo>
                    <a:pt x="243639" y="4268"/>
                  </a:lnTo>
                  <a:lnTo>
                    <a:pt x="233152" y="6829"/>
                  </a:lnTo>
                  <a:lnTo>
                    <a:pt x="223763" y="4756"/>
                  </a:lnTo>
                  <a:lnTo>
                    <a:pt x="217178" y="1707"/>
                  </a:lnTo>
                  <a:lnTo>
                    <a:pt x="214007" y="2195"/>
                  </a:lnTo>
                  <a:lnTo>
                    <a:pt x="214007" y="8536"/>
                  </a:lnTo>
                  <a:lnTo>
                    <a:pt x="218397" y="20730"/>
                  </a:lnTo>
                  <a:lnTo>
                    <a:pt x="215593" y="29998"/>
                  </a:lnTo>
                  <a:lnTo>
                    <a:pt x="220836" y="43411"/>
                  </a:lnTo>
                  <a:lnTo>
                    <a:pt x="229006" y="52313"/>
                  </a:lnTo>
                  <a:lnTo>
                    <a:pt x="212300" y="68409"/>
                  </a:lnTo>
                  <a:lnTo>
                    <a:pt x="201569" y="63044"/>
                  </a:lnTo>
                  <a:lnTo>
                    <a:pt x="197058" y="42436"/>
                  </a:lnTo>
                  <a:lnTo>
                    <a:pt x="193034" y="29632"/>
                  </a:lnTo>
                  <a:lnTo>
                    <a:pt x="175718" y="15243"/>
                  </a:lnTo>
                  <a:lnTo>
                    <a:pt x="166816" y="15243"/>
                  </a:lnTo>
                  <a:lnTo>
                    <a:pt x="168401" y="19145"/>
                  </a:lnTo>
                  <a:lnTo>
                    <a:pt x="173157" y="29510"/>
                  </a:lnTo>
                  <a:lnTo>
                    <a:pt x="168645" y="36217"/>
                  </a:lnTo>
                  <a:lnTo>
                    <a:pt x="158280" y="31705"/>
                  </a:lnTo>
                  <a:lnTo>
                    <a:pt x="152427" y="35851"/>
                  </a:lnTo>
                  <a:lnTo>
                    <a:pt x="147671" y="42436"/>
                  </a:lnTo>
                  <a:lnTo>
                    <a:pt x="131819" y="42436"/>
                  </a:lnTo>
                  <a:lnTo>
                    <a:pt x="131819" y="35729"/>
                  </a:lnTo>
                  <a:lnTo>
                    <a:pt x="141452" y="29876"/>
                  </a:lnTo>
                  <a:lnTo>
                    <a:pt x="140477" y="23291"/>
                  </a:lnTo>
                  <a:lnTo>
                    <a:pt x="111211" y="13657"/>
                  </a:lnTo>
                  <a:lnTo>
                    <a:pt x="105114" y="16096"/>
                  </a:lnTo>
                  <a:lnTo>
                    <a:pt x="106455" y="23901"/>
                  </a:lnTo>
                  <a:lnTo>
                    <a:pt x="96944" y="27315"/>
                  </a:lnTo>
                  <a:lnTo>
                    <a:pt x="91456" y="24876"/>
                  </a:lnTo>
                  <a:lnTo>
                    <a:pt x="81701" y="30729"/>
                  </a:lnTo>
                  <a:lnTo>
                    <a:pt x="77433" y="19267"/>
                  </a:lnTo>
                  <a:lnTo>
                    <a:pt x="88530" y="10121"/>
                  </a:lnTo>
                  <a:lnTo>
                    <a:pt x="84262" y="3049"/>
                  </a:lnTo>
                  <a:lnTo>
                    <a:pt x="74262" y="0"/>
                  </a:lnTo>
                  <a:lnTo>
                    <a:pt x="58166" y="4878"/>
                  </a:lnTo>
                  <a:lnTo>
                    <a:pt x="34022" y="19389"/>
                  </a:lnTo>
                  <a:lnTo>
                    <a:pt x="25120" y="21096"/>
                  </a:lnTo>
                  <a:lnTo>
                    <a:pt x="10365" y="25120"/>
                  </a:lnTo>
                  <a:lnTo>
                    <a:pt x="3780" y="34997"/>
                  </a:lnTo>
                  <a:lnTo>
                    <a:pt x="13657" y="38777"/>
                  </a:lnTo>
                  <a:lnTo>
                    <a:pt x="15852" y="47801"/>
                  </a:lnTo>
                  <a:lnTo>
                    <a:pt x="0" y="52069"/>
                  </a:lnTo>
                  <a:lnTo>
                    <a:pt x="1097" y="63897"/>
                  </a:lnTo>
                  <a:lnTo>
                    <a:pt x="15852" y="64751"/>
                  </a:lnTo>
                  <a:lnTo>
                    <a:pt x="14389" y="72068"/>
                  </a:lnTo>
                  <a:lnTo>
                    <a:pt x="17438" y="72921"/>
                  </a:lnTo>
                  <a:lnTo>
                    <a:pt x="24022" y="69751"/>
                  </a:lnTo>
                  <a:lnTo>
                    <a:pt x="50484" y="67068"/>
                  </a:lnTo>
                  <a:lnTo>
                    <a:pt x="61458" y="71092"/>
                  </a:lnTo>
                  <a:lnTo>
                    <a:pt x="48167" y="82433"/>
                  </a:lnTo>
                  <a:lnTo>
                    <a:pt x="26339" y="84140"/>
                  </a:lnTo>
                  <a:lnTo>
                    <a:pt x="11584" y="87554"/>
                  </a:lnTo>
                  <a:lnTo>
                    <a:pt x="21584" y="98895"/>
                  </a:lnTo>
                  <a:lnTo>
                    <a:pt x="39143" y="103772"/>
                  </a:lnTo>
                  <a:lnTo>
                    <a:pt x="58532" y="104504"/>
                  </a:lnTo>
                  <a:lnTo>
                    <a:pt x="85603" y="97675"/>
                  </a:lnTo>
                  <a:lnTo>
                    <a:pt x="85603" y="97675"/>
                  </a:lnTo>
                  <a:lnTo>
                    <a:pt x="105845" y="102065"/>
                  </a:lnTo>
                  <a:lnTo>
                    <a:pt x="114503" y="102919"/>
                  </a:lnTo>
                  <a:lnTo>
                    <a:pt x="140477" y="109747"/>
                  </a:lnTo>
                  <a:lnTo>
                    <a:pt x="134867" y="116332"/>
                  </a:lnTo>
                  <a:lnTo>
                    <a:pt x="111211" y="118161"/>
                  </a:lnTo>
                  <a:lnTo>
                    <a:pt x="85725" y="116454"/>
                  </a:lnTo>
                  <a:lnTo>
                    <a:pt x="42192" y="120600"/>
                  </a:lnTo>
                  <a:lnTo>
                    <a:pt x="26705" y="126819"/>
                  </a:lnTo>
                  <a:lnTo>
                    <a:pt x="26705" y="131941"/>
                  </a:lnTo>
                  <a:lnTo>
                    <a:pt x="45240" y="143769"/>
                  </a:lnTo>
                  <a:lnTo>
                    <a:pt x="66092" y="146208"/>
                  </a:lnTo>
                  <a:lnTo>
                    <a:pt x="93407" y="147062"/>
                  </a:lnTo>
                  <a:lnTo>
                    <a:pt x="101943" y="152305"/>
                  </a:lnTo>
                  <a:lnTo>
                    <a:pt x="101943" y="165963"/>
                  </a:lnTo>
                  <a:lnTo>
                    <a:pt x="113162" y="173401"/>
                  </a:lnTo>
                  <a:lnTo>
                    <a:pt x="164987" y="170962"/>
                  </a:lnTo>
                  <a:lnTo>
                    <a:pt x="177303" y="170109"/>
                  </a:lnTo>
                  <a:lnTo>
                    <a:pt x="198643" y="160719"/>
                  </a:lnTo>
                  <a:lnTo>
                    <a:pt x="221324" y="160719"/>
                  </a:lnTo>
                  <a:lnTo>
                    <a:pt x="232786" y="154500"/>
                  </a:lnTo>
                  <a:lnTo>
                    <a:pt x="235835" y="144501"/>
                  </a:lnTo>
                  <a:lnTo>
                    <a:pt x="248761" y="144501"/>
                  </a:lnTo>
                  <a:lnTo>
                    <a:pt x="251687" y="151695"/>
                  </a:lnTo>
                  <a:lnTo>
                    <a:pt x="269857" y="155841"/>
                  </a:lnTo>
                  <a:lnTo>
                    <a:pt x="275222" y="163890"/>
                  </a:lnTo>
                  <a:lnTo>
                    <a:pt x="285465" y="161573"/>
                  </a:lnTo>
                  <a:lnTo>
                    <a:pt x="302415" y="163158"/>
                  </a:lnTo>
                  <a:lnTo>
                    <a:pt x="319487" y="158158"/>
                  </a:lnTo>
                  <a:lnTo>
                    <a:pt x="330828" y="157183"/>
                  </a:lnTo>
                  <a:lnTo>
                    <a:pt x="327901" y="148403"/>
                  </a:lnTo>
                  <a:lnTo>
                    <a:pt x="321072" y="146330"/>
                  </a:lnTo>
                  <a:lnTo>
                    <a:pt x="306927" y="150110"/>
                  </a:lnTo>
                  <a:lnTo>
                    <a:pt x="303147" y="137672"/>
                  </a:lnTo>
                  <a:lnTo>
                    <a:pt x="307537" y="132307"/>
                  </a:lnTo>
                  <a:lnTo>
                    <a:pt x="320706" y="135843"/>
                  </a:lnTo>
                  <a:lnTo>
                    <a:pt x="329242" y="129868"/>
                  </a:lnTo>
                  <a:lnTo>
                    <a:pt x="336803" y="132551"/>
                  </a:lnTo>
                  <a:lnTo>
                    <a:pt x="343753" y="130965"/>
                  </a:lnTo>
                  <a:lnTo>
                    <a:pt x="351314" y="1309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8" name="Freihandform: Form 667">
              <a:extLst>
                <a:ext uri="{FF2B5EF4-FFF2-40B4-BE49-F238E27FC236}">
                  <a16:creationId xmlns:a16="http://schemas.microsoft.com/office/drawing/2014/main" id="{26D6C6C9-D5C4-44C3-AD11-6BE54A5AF80A}"/>
                </a:ext>
              </a:extLst>
            </p:cNvPr>
            <p:cNvSpPr/>
            <p:nvPr/>
          </p:nvSpPr>
          <p:spPr>
            <a:xfrm>
              <a:off x="2137923" y="1278706"/>
              <a:ext cx="15730" cy="1829"/>
            </a:xfrm>
            <a:custGeom>
              <a:avLst/>
              <a:gdLst>
                <a:gd name="connsiteX0" fmla="*/ 0 w 15730"/>
                <a:gd name="connsiteY0" fmla="*/ 488 h 1829"/>
                <a:gd name="connsiteX1" fmla="*/ 11584 w 15730"/>
                <a:gd name="connsiteY1" fmla="*/ 1829 h 1829"/>
                <a:gd name="connsiteX2" fmla="*/ 15730 w 15730"/>
                <a:gd name="connsiteY2" fmla="*/ 976 h 1829"/>
                <a:gd name="connsiteX3" fmla="*/ 15121 w 15730"/>
                <a:gd name="connsiteY3" fmla="*/ 610 h 1829"/>
                <a:gd name="connsiteX4" fmla="*/ 4756 w 15730"/>
                <a:gd name="connsiteY4" fmla="*/ 0 h 1829"/>
                <a:gd name="connsiteX5" fmla="*/ 0 w 15730"/>
                <a:gd name="connsiteY5" fmla="*/ 488 h 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30" h="1829">
                  <a:moveTo>
                    <a:pt x="0" y="488"/>
                  </a:moveTo>
                  <a:lnTo>
                    <a:pt x="11584" y="1829"/>
                  </a:lnTo>
                  <a:lnTo>
                    <a:pt x="15730" y="976"/>
                  </a:lnTo>
                  <a:lnTo>
                    <a:pt x="15121" y="610"/>
                  </a:lnTo>
                  <a:lnTo>
                    <a:pt x="4756" y="0"/>
                  </a:lnTo>
                  <a:lnTo>
                    <a:pt x="0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69" name="Freihandform: Form 668">
              <a:extLst>
                <a:ext uri="{FF2B5EF4-FFF2-40B4-BE49-F238E27FC236}">
                  <a16:creationId xmlns:a16="http://schemas.microsoft.com/office/drawing/2014/main" id="{9D9D38E0-2A23-4588-9564-7DD4031C3872}"/>
                </a:ext>
              </a:extLst>
            </p:cNvPr>
            <p:cNvSpPr/>
            <p:nvPr/>
          </p:nvSpPr>
          <p:spPr>
            <a:xfrm>
              <a:off x="3188694" y="3226723"/>
              <a:ext cx="10243" cy="9511"/>
            </a:xfrm>
            <a:custGeom>
              <a:avLst/>
              <a:gdLst>
                <a:gd name="connsiteX0" fmla="*/ 9390 w 10243"/>
                <a:gd name="connsiteY0" fmla="*/ 9511 h 9511"/>
                <a:gd name="connsiteX1" fmla="*/ 10243 w 10243"/>
                <a:gd name="connsiteY1" fmla="*/ 2805 h 9511"/>
                <a:gd name="connsiteX2" fmla="*/ 5122 w 10243"/>
                <a:gd name="connsiteY2" fmla="*/ 1707 h 9511"/>
                <a:gd name="connsiteX3" fmla="*/ 6585 w 10243"/>
                <a:gd name="connsiteY3" fmla="*/ 0 h 9511"/>
                <a:gd name="connsiteX4" fmla="*/ 0 w 10243"/>
                <a:gd name="connsiteY4" fmla="*/ 1951 h 9511"/>
                <a:gd name="connsiteX5" fmla="*/ 366 w 10243"/>
                <a:gd name="connsiteY5" fmla="*/ 9024 h 9511"/>
                <a:gd name="connsiteX6" fmla="*/ 9390 w 10243"/>
                <a:gd name="connsiteY6" fmla="*/ 9511 h 9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43" h="9511">
                  <a:moveTo>
                    <a:pt x="9390" y="9511"/>
                  </a:moveTo>
                  <a:lnTo>
                    <a:pt x="10243" y="2805"/>
                  </a:lnTo>
                  <a:lnTo>
                    <a:pt x="5122" y="1707"/>
                  </a:lnTo>
                  <a:lnTo>
                    <a:pt x="6585" y="0"/>
                  </a:lnTo>
                  <a:lnTo>
                    <a:pt x="0" y="1951"/>
                  </a:lnTo>
                  <a:lnTo>
                    <a:pt x="366" y="9024"/>
                  </a:lnTo>
                  <a:lnTo>
                    <a:pt x="9390" y="951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0" name="Freihandform: Form 669">
              <a:extLst>
                <a:ext uri="{FF2B5EF4-FFF2-40B4-BE49-F238E27FC236}">
                  <a16:creationId xmlns:a16="http://schemas.microsoft.com/office/drawing/2014/main" id="{EBFBF9E8-587F-49E1-B903-CE9E52B1EDF4}"/>
                </a:ext>
              </a:extLst>
            </p:cNvPr>
            <p:cNvSpPr/>
            <p:nvPr/>
          </p:nvSpPr>
          <p:spPr>
            <a:xfrm>
              <a:off x="2166214" y="1232002"/>
              <a:ext cx="68531" cy="22803"/>
            </a:xfrm>
            <a:custGeom>
              <a:avLst/>
              <a:gdLst>
                <a:gd name="connsiteX0" fmla="*/ 19145 w 68531"/>
                <a:gd name="connsiteY0" fmla="*/ 22803 h 22803"/>
                <a:gd name="connsiteX1" fmla="*/ 52557 w 68531"/>
                <a:gd name="connsiteY1" fmla="*/ 20364 h 22803"/>
                <a:gd name="connsiteX2" fmla="*/ 59751 w 68531"/>
                <a:gd name="connsiteY2" fmla="*/ 17682 h 22803"/>
                <a:gd name="connsiteX3" fmla="*/ 58776 w 68531"/>
                <a:gd name="connsiteY3" fmla="*/ 15730 h 22803"/>
                <a:gd name="connsiteX4" fmla="*/ 41704 w 68531"/>
                <a:gd name="connsiteY4" fmla="*/ 13048 h 22803"/>
                <a:gd name="connsiteX5" fmla="*/ 44265 w 68531"/>
                <a:gd name="connsiteY5" fmla="*/ 4512 h 22803"/>
                <a:gd name="connsiteX6" fmla="*/ 68531 w 68531"/>
                <a:gd name="connsiteY6" fmla="*/ 1585 h 22803"/>
                <a:gd name="connsiteX7" fmla="*/ 68409 w 68531"/>
                <a:gd name="connsiteY7" fmla="*/ 1097 h 22803"/>
                <a:gd name="connsiteX8" fmla="*/ 49996 w 68531"/>
                <a:gd name="connsiteY8" fmla="*/ 0 h 22803"/>
                <a:gd name="connsiteX9" fmla="*/ 31949 w 68531"/>
                <a:gd name="connsiteY9" fmla="*/ 610 h 22803"/>
                <a:gd name="connsiteX10" fmla="*/ 0 w 68531"/>
                <a:gd name="connsiteY10" fmla="*/ 8048 h 22803"/>
                <a:gd name="connsiteX11" fmla="*/ 976 w 68531"/>
                <a:gd name="connsiteY11" fmla="*/ 17682 h 22803"/>
                <a:gd name="connsiteX12" fmla="*/ 19145 w 68531"/>
                <a:gd name="connsiteY12" fmla="*/ 22803 h 2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31" h="22803">
                  <a:moveTo>
                    <a:pt x="19145" y="22803"/>
                  </a:moveTo>
                  <a:lnTo>
                    <a:pt x="52557" y="20364"/>
                  </a:lnTo>
                  <a:lnTo>
                    <a:pt x="59751" y="17682"/>
                  </a:lnTo>
                  <a:lnTo>
                    <a:pt x="58776" y="15730"/>
                  </a:lnTo>
                  <a:lnTo>
                    <a:pt x="41704" y="13048"/>
                  </a:lnTo>
                  <a:lnTo>
                    <a:pt x="44265" y="4512"/>
                  </a:lnTo>
                  <a:lnTo>
                    <a:pt x="68531" y="1585"/>
                  </a:lnTo>
                  <a:lnTo>
                    <a:pt x="68409" y="1097"/>
                  </a:lnTo>
                  <a:lnTo>
                    <a:pt x="49996" y="0"/>
                  </a:lnTo>
                  <a:lnTo>
                    <a:pt x="31949" y="610"/>
                  </a:lnTo>
                  <a:lnTo>
                    <a:pt x="0" y="8048"/>
                  </a:lnTo>
                  <a:lnTo>
                    <a:pt x="976" y="17682"/>
                  </a:lnTo>
                  <a:lnTo>
                    <a:pt x="19145" y="2280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1" name="Freihandform: Form 670">
              <a:extLst>
                <a:ext uri="{FF2B5EF4-FFF2-40B4-BE49-F238E27FC236}">
                  <a16:creationId xmlns:a16="http://schemas.microsoft.com/office/drawing/2014/main" id="{005FFBD7-195D-4BFF-9942-1A2EB2A1810B}"/>
                </a:ext>
              </a:extLst>
            </p:cNvPr>
            <p:cNvSpPr/>
            <p:nvPr/>
          </p:nvSpPr>
          <p:spPr>
            <a:xfrm>
              <a:off x="3204059" y="3275866"/>
              <a:ext cx="73286" cy="137428"/>
            </a:xfrm>
            <a:custGeom>
              <a:avLst/>
              <a:gdLst>
                <a:gd name="connsiteX0" fmla="*/ 22803 w 73286"/>
                <a:gd name="connsiteY0" fmla="*/ 105845 h 137428"/>
                <a:gd name="connsiteX1" fmla="*/ 22803 w 73286"/>
                <a:gd name="connsiteY1" fmla="*/ 124624 h 137428"/>
                <a:gd name="connsiteX2" fmla="*/ 33046 w 73286"/>
                <a:gd name="connsiteY2" fmla="*/ 134014 h 137428"/>
                <a:gd name="connsiteX3" fmla="*/ 33534 w 73286"/>
                <a:gd name="connsiteY3" fmla="*/ 134136 h 137428"/>
                <a:gd name="connsiteX4" fmla="*/ 46460 w 73286"/>
                <a:gd name="connsiteY4" fmla="*/ 137428 h 137428"/>
                <a:gd name="connsiteX5" fmla="*/ 55240 w 73286"/>
                <a:gd name="connsiteY5" fmla="*/ 136697 h 137428"/>
                <a:gd name="connsiteX6" fmla="*/ 59507 w 73286"/>
                <a:gd name="connsiteY6" fmla="*/ 130356 h 137428"/>
                <a:gd name="connsiteX7" fmla="*/ 60605 w 73286"/>
                <a:gd name="connsiteY7" fmla="*/ 128648 h 137428"/>
                <a:gd name="connsiteX8" fmla="*/ 62678 w 73286"/>
                <a:gd name="connsiteY8" fmla="*/ 128039 h 137428"/>
                <a:gd name="connsiteX9" fmla="*/ 71458 w 73286"/>
                <a:gd name="connsiteY9" fmla="*/ 124990 h 137428"/>
                <a:gd name="connsiteX10" fmla="*/ 72677 w 73286"/>
                <a:gd name="connsiteY10" fmla="*/ 122064 h 137428"/>
                <a:gd name="connsiteX11" fmla="*/ 72921 w 73286"/>
                <a:gd name="connsiteY11" fmla="*/ 121210 h 137428"/>
                <a:gd name="connsiteX12" fmla="*/ 72921 w 73286"/>
                <a:gd name="connsiteY12" fmla="*/ 119869 h 137428"/>
                <a:gd name="connsiteX13" fmla="*/ 73287 w 73286"/>
                <a:gd name="connsiteY13" fmla="*/ 106089 h 137428"/>
                <a:gd name="connsiteX14" fmla="*/ 65117 w 73286"/>
                <a:gd name="connsiteY14" fmla="*/ 101943 h 137428"/>
                <a:gd name="connsiteX15" fmla="*/ 59629 w 73286"/>
                <a:gd name="connsiteY15" fmla="*/ 99260 h 137428"/>
                <a:gd name="connsiteX16" fmla="*/ 56581 w 73286"/>
                <a:gd name="connsiteY16" fmla="*/ 97675 h 137428"/>
                <a:gd name="connsiteX17" fmla="*/ 56337 w 73286"/>
                <a:gd name="connsiteY17" fmla="*/ 94139 h 137428"/>
                <a:gd name="connsiteX18" fmla="*/ 55483 w 73286"/>
                <a:gd name="connsiteY18" fmla="*/ 80238 h 137428"/>
                <a:gd name="connsiteX19" fmla="*/ 55361 w 73286"/>
                <a:gd name="connsiteY19" fmla="*/ 77555 h 137428"/>
                <a:gd name="connsiteX20" fmla="*/ 57313 w 73286"/>
                <a:gd name="connsiteY20" fmla="*/ 75604 h 137428"/>
                <a:gd name="connsiteX21" fmla="*/ 58288 w 73286"/>
                <a:gd name="connsiteY21" fmla="*/ 74506 h 137428"/>
                <a:gd name="connsiteX22" fmla="*/ 67800 w 73286"/>
                <a:gd name="connsiteY22" fmla="*/ 64995 h 137428"/>
                <a:gd name="connsiteX23" fmla="*/ 69019 w 73286"/>
                <a:gd name="connsiteY23" fmla="*/ 50728 h 137428"/>
                <a:gd name="connsiteX24" fmla="*/ 69385 w 73286"/>
                <a:gd name="connsiteY24" fmla="*/ 46948 h 137428"/>
                <a:gd name="connsiteX25" fmla="*/ 69750 w 73286"/>
                <a:gd name="connsiteY25" fmla="*/ 46826 h 137428"/>
                <a:gd name="connsiteX26" fmla="*/ 66946 w 73286"/>
                <a:gd name="connsiteY26" fmla="*/ 39143 h 137428"/>
                <a:gd name="connsiteX27" fmla="*/ 63166 w 73286"/>
                <a:gd name="connsiteY27" fmla="*/ 30485 h 137428"/>
                <a:gd name="connsiteX28" fmla="*/ 51825 w 73286"/>
                <a:gd name="connsiteY28" fmla="*/ 29022 h 137428"/>
                <a:gd name="connsiteX29" fmla="*/ 44509 w 73286"/>
                <a:gd name="connsiteY29" fmla="*/ 12926 h 137428"/>
                <a:gd name="connsiteX30" fmla="*/ 32314 w 73286"/>
                <a:gd name="connsiteY30" fmla="*/ 4878 h 137428"/>
                <a:gd name="connsiteX31" fmla="*/ 22803 w 73286"/>
                <a:gd name="connsiteY31" fmla="*/ 0 h 137428"/>
                <a:gd name="connsiteX32" fmla="*/ 22559 w 73286"/>
                <a:gd name="connsiteY32" fmla="*/ 2195 h 137428"/>
                <a:gd name="connsiteX33" fmla="*/ 21949 w 73286"/>
                <a:gd name="connsiteY33" fmla="*/ 9146 h 137428"/>
                <a:gd name="connsiteX34" fmla="*/ 21584 w 73286"/>
                <a:gd name="connsiteY34" fmla="*/ 12926 h 137428"/>
                <a:gd name="connsiteX35" fmla="*/ 18047 w 73286"/>
                <a:gd name="connsiteY35" fmla="*/ 14267 h 137428"/>
                <a:gd name="connsiteX36" fmla="*/ 16340 w 73286"/>
                <a:gd name="connsiteY36" fmla="*/ 14877 h 137428"/>
                <a:gd name="connsiteX37" fmla="*/ 9267 w 73286"/>
                <a:gd name="connsiteY37" fmla="*/ 17682 h 137428"/>
                <a:gd name="connsiteX38" fmla="*/ 8780 w 73286"/>
                <a:gd name="connsiteY38" fmla="*/ 21950 h 137428"/>
                <a:gd name="connsiteX39" fmla="*/ 10609 w 73286"/>
                <a:gd name="connsiteY39" fmla="*/ 22803 h 137428"/>
                <a:gd name="connsiteX40" fmla="*/ 14633 w 73286"/>
                <a:gd name="connsiteY40" fmla="*/ 24876 h 137428"/>
                <a:gd name="connsiteX41" fmla="*/ 13901 w 73286"/>
                <a:gd name="connsiteY41" fmla="*/ 29266 h 137428"/>
                <a:gd name="connsiteX42" fmla="*/ 13779 w 73286"/>
                <a:gd name="connsiteY42" fmla="*/ 30241 h 137428"/>
                <a:gd name="connsiteX43" fmla="*/ 13413 w 73286"/>
                <a:gd name="connsiteY43" fmla="*/ 31949 h 137428"/>
                <a:gd name="connsiteX44" fmla="*/ 12804 w 73286"/>
                <a:gd name="connsiteY44" fmla="*/ 36095 h 137428"/>
                <a:gd name="connsiteX45" fmla="*/ 8780 w 73286"/>
                <a:gd name="connsiteY45" fmla="*/ 36948 h 137428"/>
                <a:gd name="connsiteX46" fmla="*/ 4268 w 73286"/>
                <a:gd name="connsiteY46" fmla="*/ 37924 h 137428"/>
                <a:gd name="connsiteX47" fmla="*/ 0 w 73286"/>
                <a:gd name="connsiteY47" fmla="*/ 38778 h 137428"/>
                <a:gd name="connsiteX48" fmla="*/ 0 w 73286"/>
                <a:gd name="connsiteY48" fmla="*/ 55727 h 137428"/>
                <a:gd name="connsiteX49" fmla="*/ 1829 w 73286"/>
                <a:gd name="connsiteY49" fmla="*/ 57435 h 137428"/>
                <a:gd name="connsiteX50" fmla="*/ 1829 w 73286"/>
                <a:gd name="connsiteY50" fmla="*/ 57556 h 137428"/>
                <a:gd name="connsiteX51" fmla="*/ 2926 w 73286"/>
                <a:gd name="connsiteY51" fmla="*/ 57800 h 137428"/>
                <a:gd name="connsiteX52" fmla="*/ 7926 w 73286"/>
                <a:gd name="connsiteY52" fmla="*/ 59020 h 137428"/>
                <a:gd name="connsiteX53" fmla="*/ 9267 w 73286"/>
                <a:gd name="connsiteY53" fmla="*/ 59386 h 137428"/>
                <a:gd name="connsiteX54" fmla="*/ 10243 w 73286"/>
                <a:gd name="connsiteY54" fmla="*/ 60239 h 137428"/>
                <a:gd name="connsiteX55" fmla="*/ 24266 w 73286"/>
                <a:gd name="connsiteY55" fmla="*/ 71580 h 137428"/>
                <a:gd name="connsiteX56" fmla="*/ 26339 w 73286"/>
                <a:gd name="connsiteY56" fmla="*/ 73287 h 137428"/>
                <a:gd name="connsiteX57" fmla="*/ 26583 w 73286"/>
                <a:gd name="connsiteY57" fmla="*/ 75970 h 137428"/>
                <a:gd name="connsiteX58" fmla="*/ 27315 w 73286"/>
                <a:gd name="connsiteY58" fmla="*/ 88408 h 137428"/>
                <a:gd name="connsiteX59" fmla="*/ 27437 w 73286"/>
                <a:gd name="connsiteY59" fmla="*/ 89749 h 137428"/>
                <a:gd name="connsiteX60" fmla="*/ 27437 w 73286"/>
                <a:gd name="connsiteY60" fmla="*/ 90846 h 137428"/>
                <a:gd name="connsiteX61" fmla="*/ 27193 w 73286"/>
                <a:gd name="connsiteY61" fmla="*/ 91944 h 137428"/>
                <a:gd name="connsiteX62" fmla="*/ 22803 w 73286"/>
                <a:gd name="connsiteY62" fmla="*/ 105845 h 13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73286" h="137428">
                  <a:moveTo>
                    <a:pt x="22803" y="105845"/>
                  </a:moveTo>
                  <a:lnTo>
                    <a:pt x="22803" y="124624"/>
                  </a:lnTo>
                  <a:lnTo>
                    <a:pt x="33046" y="134014"/>
                  </a:lnTo>
                  <a:lnTo>
                    <a:pt x="33534" y="134136"/>
                  </a:lnTo>
                  <a:lnTo>
                    <a:pt x="46460" y="137428"/>
                  </a:lnTo>
                  <a:lnTo>
                    <a:pt x="55240" y="136697"/>
                  </a:lnTo>
                  <a:lnTo>
                    <a:pt x="59507" y="130356"/>
                  </a:lnTo>
                  <a:lnTo>
                    <a:pt x="60605" y="128648"/>
                  </a:lnTo>
                  <a:lnTo>
                    <a:pt x="62678" y="128039"/>
                  </a:lnTo>
                  <a:lnTo>
                    <a:pt x="71458" y="124990"/>
                  </a:lnTo>
                  <a:lnTo>
                    <a:pt x="72677" y="122064"/>
                  </a:lnTo>
                  <a:lnTo>
                    <a:pt x="72921" y="121210"/>
                  </a:lnTo>
                  <a:lnTo>
                    <a:pt x="72921" y="119869"/>
                  </a:lnTo>
                  <a:lnTo>
                    <a:pt x="73287" y="106089"/>
                  </a:lnTo>
                  <a:lnTo>
                    <a:pt x="65117" y="101943"/>
                  </a:lnTo>
                  <a:lnTo>
                    <a:pt x="59629" y="99260"/>
                  </a:lnTo>
                  <a:lnTo>
                    <a:pt x="56581" y="97675"/>
                  </a:lnTo>
                  <a:lnTo>
                    <a:pt x="56337" y="94139"/>
                  </a:lnTo>
                  <a:lnTo>
                    <a:pt x="55483" y="80238"/>
                  </a:lnTo>
                  <a:lnTo>
                    <a:pt x="55361" y="77555"/>
                  </a:lnTo>
                  <a:lnTo>
                    <a:pt x="57313" y="75604"/>
                  </a:lnTo>
                  <a:lnTo>
                    <a:pt x="58288" y="74506"/>
                  </a:lnTo>
                  <a:lnTo>
                    <a:pt x="67800" y="64995"/>
                  </a:lnTo>
                  <a:lnTo>
                    <a:pt x="69019" y="50728"/>
                  </a:lnTo>
                  <a:lnTo>
                    <a:pt x="69385" y="46948"/>
                  </a:lnTo>
                  <a:lnTo>
                    <a:pt x="69750" y="46826"/>
                  </a:lnTo>
                  <a:lnTo>
                    <a:pt x="66946" y="39143"/>
                  </a:lnTo>
                  <a:lnTo>
                    <a:pt x="63166" y="30485"/>
                  </a:lnTo>
                  <a:lnTo>
                    <a:pt x="51825" y="29022"/>
                  </a:lnTo>
                  <a:lnTo>
                    <a:pt x="44509" y="12926"/>
                  </a:lnTo>
                  <a:lnTo>
                    <a:pt x="32314" y="4878"/>
                  </a:lnTo>
                  <a:lnTo>
                    <a:pt x="22803" y="0"/>
                  </a:lnTo>
                  <a:lnTo>
                    <a:pt x="22559" y="2195"/>
                  </a:lnTo>
                  <a:lnTo>
                    <a:pt x="21949" y="9146"/>
                  </a:lnTo>
                  <a:lnTo>
                    <a:pt x="21584" y="12926"/>
                  </a:lnTo>
                  <a:lnTo>
                    <a:pt x="18047" y="14267"/>
                  </a:lnTo>
                  <a:lnTo>
                    <a:pt x="16340" y="14877"/>
                  </a:lnTo>
                  <a:lnTo>
                    <a:pt x="9267" y="17682"/>
                  </a:lnTo>
                  <a:lnTo>
                    <a:pt x="8780" y="21950"/>
                  </a:lnTo>
                  <a:lnTo>
                    <a:pt x="10609" y="22803"/>
                  </a:lnTo>
                  <a:lnTo>
                    <a:pt x="14633" y="24876"/>
                  </a:lnTo>
                  <a:lnTo>
                    <a:pt x="13901" y="29266"/>
                  </a:lnTo>
                  <a:lnTo>
                    <a:pt x="13779" y="30241"/>
                  </a:lnTo>
                  <a:lnTo>
                    <a:pt x="13413" y="31949"/>
                  </a:lnTo>
                  <a:lnTo>
                    <a:pt x="12804" y="36095"/>
                  </a:lnTo>
                  <a:lnTo>
                    <a:pt x="8780" y="36948"/>
                  </a:lnTo>
                  <a:lnTo>
                    <a:pt x="4268" y="37924"/>
                  </a:lnTo>
                  <a:lnTo>
                    <a:pt x="0" y="38778"/>
                  </a:lnTo>
                  <a:lnTo>
                    <a:pt x="0" y="55727"/>
                  </a:lnTo>
                  <a:lnTo>
                    <a:pt x="1829" y="57435"/>
                  </a:lnTo>
                  <a:lnTo>
                    <a:pt x="1829" y="57556"/>
                  </a:lnTo>
                  <a:lnTo>
                    <a:pt x="2926" y="57800"/>
                  </a:lnTo>
                  <a:lnTo>
                    <a:pt x="7926" y="59020"/>
                  </a:lnTo>
                  <a:lnTo>
                    <a:pt x="9267" y="59386"/>
                  </a:lnTo>
                  <a:lnTo>
                    <a:pt x="10243" y="60239"/>
                  </a:lnTo>
                  <a:lnTo>
                    <a:pt x="24266" y="71580"/>
                  </a:lnTo>
                  <a:lnTo>
                    <a:pt x="26339" y="73287"/>
                  </a:lnTo>
                  <a:lnTo>
                    <a:pt x="26583" y="75970"/>
                  </a:lnTo>
                  <a:lnTo>
                    <a:pt x="27315" y="88408"/>
                  </a:lnTo>
                  <a:lnTo>
                    <a:pt x="27437" y="89749"/>
                  </a:lnTo>
                  <a:lnTo>
                    <a:pt x="27437" y="90846"/>
                  </a:lnTo>
                  <a:lnTo>
                    <a:pt x="27193" y="91944"/>
                  </a:lnTo>
                  <a:lnTo>
                    <a:pt x="22803" y="10584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2" name="Freihandform: Form 671">
              <a:extLst>
                <a:ext uri="{FF2B5EF4-FFF2-40B4-BE49-F238E27FC236}">
                  <a16:creationId xmlns:a16="http://schemas.microsoft.com/office/drawing/2014/main" id="{44BBD40F-09BC-4F9B-804E-BBB59FF0D4F7}"/>
                </a:ext>
              </a:extLst>
            </p:cNvPr>
            <p:cNvSpPr/>
            <p:nvPr/>
          </p:nvSpPr>
          <p:spPr>
            <a:xfrm>
              <a:off x="2958956" y="3202213"/>
              <a:ext cx="260345" cy="221202"/>
            </a:xfrm>
            <a:custGeom>
              <a:avLst/>
              <a:gdLst>
                <a:gd name="connsiteX0" fmla="*/ 242054 w 260345"/>
                <a:gd name="connsiteY0" fmla="*/ 104992 h 221202"/>
                <a:gd name="connsiteX1" fmla="*/ 250956 w 260345"/>
                <a:gd name="connsiteY1" fmla="*/ 103041 h 221202"/>
                <a:gd name="connsiteX2" fmla="*/ 250956 w 260345"/>
                <a:gd name="connsiteY2" fmla="*/ 103041 h 221202"/>
                <a:gd name="connsiteX3" fmla="*/ 249249 w 260345"/>
                <a:gd name="connsiteY3" fmla="*/ 102065 h 221202"/>
                <a:gd name="connsiteX4" fmla="*/ 245469 w 260345"/>
                <a:gd name="connsiteY4" fmla="*/ 100236 h 221202"/>
                <a:gd name="connsiteX5" fmla="*/ 245834 w 260345"/>
                <a:gd name="connsiteY5" fmla="*/ 96090 h 221202"/>
                <a:gd name="connsiteX6" fmla="*/ 246566 w 260345"/>
                <a:gd name="connsiteY6" fmla="*/ 89383 h 221202"/>
                <a:gd name="connsiteX7" fmla="*/ 246932 w 260345"/>
                <a:gd name="connsiteY7" fmla="*/ 85603 h 221202"/>
                <a:gd name="connsiteX8" fmla="*/ 250346 w 260345"/>
                <a:gd name="connsiteY8" fmla="*/ 84262 h 221202"/>
                <a:gd name="connsiteX9" fmla="*/ 257906 w 260345"/>
                <a:gd name="connsiteY9" fmla="*/ 81335 h 221202"/>
                <a:gd name="connsiteX10" fmla="*/ 259126 w 260345"/>
                <a:gd name="connsiteY10" fmla="*/ 80847 h 221202"/>
                <a:gd name="connsiteX11" fmla="*/ 259858 w 260345"/>
                <a:gd name="connsiteY11" fmla="*/ 74750 h 221202"/>
                <a:gd name="connsiteX12" fmla="*/ 260101 w 260345"/>
                <a:gd name="connsiteY12" fmla="*/ 72189 h 221202"/>
                <a:gd name="connsiteX13" fmla="*/ 260345 w 260345"/>
                <a:gd name="connsiteY13" fmla="*/ 69141 h 221202"/>
                <a:gd name="connsiteX14" fmla="*/ 251200 w 260345"/>
                <a:gd name="connsiteY14" fmla="*/ 62312 h 221202"/>
                <a:gd name="connsiteX15" fmla="*/ 244371 w 260345"/>
                <a:gd name="connsiteY15" fmla="*/ 52679 h 221202"/>
                <a:gd name="connsiteX16" fmla="*/ 229738 w 260345"/>
                <a:gd name="connsiteY16" fmla="*/ 43411 h 221202"/>
                <a:gd name="connsiteX17" fmla="*/ 214983 w 260345"/>
                <a:gd name="connsiteY17" fmla="*/ 44874 h 221202"/>
                <a:gd name="connsiteX18" fmla="*/ 203521 w 260345"/>
                <a:gd name="connsiteY18" fmla="*/ 27437 h 221202"/>
                <a:gd name="connsiteX19" fmla="*/ 191936 w 260345"/>
                <a:gd name="connsiteY19" fmla="*/ 24876 h 221202"/>
                <a:gd name="connsiteX20" fmla="*/ 184376 w 260345"/>
                <a:gd name="connsiteY20" fmla="*/ 26217 h 221202"/>
                <a:gd name="connsiteX21" fmla="*/ 171694 w 260345"/>
                <a:gd name="connsiteY21" fmla="*/ 35973 h 221202"/>
                <a:gd name="connsiteX22" fmla="*/ 160841 w 260345"/>
                <a:gd name="connsiteY22" fmla="*/ 39143 h 221202"/>
                <a:gd name="connsiteX23" fmla="*/ 147183 w 260345"/>
                <a:gd name="connsiteY23" fmla="*/ 36095 h 221202"/>
                <a:gd name="connsiteX24" fmla="*/ 138770 w 260345"/>
                <a:gd name="connsiteY24" fmla="*/ 30485 h 221202"/>
                <a:gd name="connsiteX25" fmla="*/ 90603 w 260345"/>
                <a:gd name="connsiteY25" fmla="*/ 26096 h 221202"/>
                <a:gd name="connsiteX26" fmla="*/ 90603 w 260345"/>
                <a:gd name="connsiteY26" fmla="*/ 14145 h 221202"/>
                <a:gd name="connsiteX27" fmla="*/ 78043 w 260345"/>
                <a:gd name="connsiteY27" fmla="*/ 7804 h 221202"/>
                <a:gd name="connsiteX28" fmla="*/ 69019 w 260345"/>
                <a:gd name="connsiteY28" fmla="*/ 7804 h 221202"/>
                <a:gd name="connsiteX29" fmla="*/ 63166 w 260345"/>
                <a:gd name="connsiteY29" fmla="*/ 610 h 221202"/>
                <a:gd name="connsiteX30" fmla="*/ 59995 w 260345"/>
                <a:gd name="connsiteY30" fmla="*/ 0 h 221202"/>
                <a:gd name="connsiteX31" fmla="*/ 62556 w 260345"/>
                <a:gd name="connsiteY31" fmla="*/ 13048 h 221202"/>
                <a:gd name="connsiteX32" fmla="*/ 38899 w 260345"/>
                <a:gd name="connsiteY32" fmla="*/ 18901 h 221202"/>
                <a:gd name="connsiteX33" fmla="*/ 35485 w 260345"/>
                <a:gd name="connsiteY33" fmla="*/ 27071 h 221202"/>
                <a:gd name="connsiteX34" fmla="*/ 40972 w 260345"/>
                <a:gd name="connsiteY34" fmla="*/ 39387 h 221202"/>
                <a:gd name="connsiteX35" fmla="*/ 40972 w 260345"/>
                <a:gd name="connsiteY35" fmla="*/ 55483 h 221202"/>
                <a:gd name="connsiteX36" fmla="*/ 24754 w 260345"/>
                <a:gd name="connsiteY36" fmla="*/ 60849 h 221202"/>
                <a:gd name="connsiteX37" fmla="*/ 24754 w 260345"/>
                <a:gd name="connsiteY37" fmla="*/ 60849 h 221202"/>
                <a:gd name="connsiteX38" fmla="*/ 19877 w 260345"/>
                <a:gd name="connsiteY38" fmla="*/ 47435 h 221202"/>
                <a:gd name="connsiteX39" fmla="*/ 18169 w 260345"/>
                <a:gd name="connsiteY39" fmla="*/ 42558 h 221202"/>
                <a:gd name="connsiteX40" fmla="*/ 18169 w 260345"/>
                <a:gd name="connsiteY40" fmla="*/ 42558 h 221202"/>
                <a:gd name="connsiteX41" fmla="*/ 23779 w 260345"/>
                <a:gd name="connsiteY41" fmla="*/ 28412 h 221202"/>
                <a:gd name="connsiteX42" fmla="*/ 20974 w 260345"/>
                <a:gd name="connsiteY42" fmla="*/ 21462 h 221202"/>
                <a:gd name="connsiteX43" fmla="*/ 23535 w 260345"/>
                <a:gd name="connsiteY43" fmla="*/ 12438 h 221202"/>
                <a:gd name="connsiteX44" fmla="*/ 9146 w 260345"/>
                <a:gd name="connsiteY44" fmla="*/ 28168 h 221202"/>
                <a:gd name="connsiteX45" fmla="*/ 0 w 260345"/>
                <a:gd name="connsiteY45" fmla="*/ 53167 h 221202"/>
                <a:gd name="connsiteX46" fmla="*/ 4268 w 260345"/>
                <a:gd name="connsiteY46" fmla="*/ 56947 h 221202"/>
                <a:gd name="connsiteX47" fmla="*/ 5365 w 260345"/>
                <a:gd name="connsiteY47" fmla="*/ 57922 h 221202"/>
                <a:gd name="connsiteX48" fmla="*/ 5731 w 260345"/>
                <a:gd name="connsiteY48" fmla="*/ 58288 h 221202"/>
                <a:gd name="connsiteX49" fmla="*/ 6097 w 260345"/>
                <a:gd name="connsiteY49" fmla="*/ 58776 h 221202"/>
                <a:gd name="connsiteX50" fmla="*/ 15609 w 260345"/>
                <a:gd name="connsiteY50" fmla="*/ 70848 h 221202"/>
                <a:gd name="connsiteX51" fmla="*/ 17803 w 260345"/>
                <a:gd name="connsiteY51" fmla="*/ 73653 h 221202"/>
                <a:gd name="connsiteX52" fmla="*/ 16584 w 260345"/>
                <a:gd name="connsiteY52" fmla="*/ 76823 h 221202"/>
                <a:gd name="connsiteX53" fmla="*/ 14023 w 260345"/>
                <a:gd name="connsiteY53" fmla="*/ 83164 h 221202"/>
                <a:gd name="connsiteX54" fmla="*/ 21218 w 260345"/>
                <a:gd name="connsiteY54" fmla="*/ 93285 h 221202"/>
                <a:gd name="connsiteX55" fmla="*/ 46948 w 260345"/>
                <a:gd name="connsiteY55" fmla="*/ 97553 h 221202"/>
                <a:gd name="connsiteX56" fmla="*/ 64385 w 260345"/>
                <a:gd name="connsiteY56" fmla="*/ 100480 h 221202"/>
                <a:gd name="connsiteX57" fmla="*/ 66214 w 260345"/>
                <a:gd name="connsiteY57" fmla="*/ 100846 h 221202"/>
                <a:gd name="connsiteX58" fmla="*/ 67678 w 260345"/>
                <a:gd name="connsiteY58" fmla="*/ 102187 h 221202"/>
                <a:gd name="connsiteX59" fmla="*/ 73775 w 260345"/>
                <a:gd name="connsiteY59" fmla="*/ 108284 h 221202"/>
                <a:gd name="connsiteX60" fmla="*/ 97187 w 260345"/>
                <a:gd name="connsiteY60" fmla="*/ 110845 h 221202"/>
                <a:gd name="connsiteX61" fmla="*/ 99139 w 260345"/>
                <a:gd name="connsiteY61" fmla="*/ 111089 h 221202"/>
                <a:gd name="connsiteX62" fmla="*/ 100602 w 260345"/>
                <a:gd name="connsiteY62" fmla="*/ 112430 h 221202"/>
                <a:gd name="connsiteX63" fmla="*/ 108772 w 260345"/>
                <a:gd name="connsiteY63" fmla="*/ 119747 h 221202"/>
                <a:gd name="connsiteX64" fmla="*/ 111089 w 260345"/>
                <a:gd name="connsiteY64" fmla="*/ 121820 h 221202"/>
                <a:gd name="connsiteX65" fmla="*/ 110723 w 260345"/>
                <a:gd name="connsiteY65" fmla="*/ 124868 h 221202"/>
                <a:gd name="connsiteX66" fmla="*/ 110601 w 260345"/>
                <a:gd name="connsiteY66" fmla="*/ 126575 h 221202"/>
                <a:gd name="connsiteX67" fmla="*/ 109016 w 260345"/>
                <a:gd name="connsiteY67" fmla="*/ 143281 h 221202"/>
                <a:gd name="connsiteX68" fmla="*/ 108894 w 260345"/>
                <a:gd name="connsiteY68" fmla="*/ 144257 h 221202"/>
                <a:gd name="connsiteX69" fmla="*/ 108650 w 260345"/>
                <a:gd name="connsiteY69" fmla="*/ 144989 h 221202"/>
                <a:gd name="connsiteX70" fmla="*/ 105601 w 260345"/>
                <a:gd name="connsiteY70" fmla="*/ 152549 h 221202"/>
                <a:gd name="connsiteX71" fmla="*/ 113772 w 260345"/>
                <a:gd name="connsiteY71" fmla="*/ 167913 h 221202"/>
                <a:gd name="connsiteX72" fmla="*/ 114991 w 260345"/>
                <a:gd name="connsiteY72" fmla="*/ 170474 h 221202"/>
                <a:gd name="connsiteX73" fmla="*/ 114015 w 260345"/>
                <a:gd name="connsiteY73" fmla="*/ 173035 h 221202"/>
                <a:gd name="connsiteX74" fmla="*/ 112186 w 260345"/>
                <a:gd name="connsiteY74" fmla="*/ 177913 h 221202"/>
                <a:gd name="connsiteX75" fmla="*/ 110967 w 260345"/>
                <a:gd name="connsiteY75" fmla="*/ 180961 h 221202"/>
                <a:gd name="connsiteX76" fmla="*/ 116576 w 260345"/>
                <a:gd name="connsiteY76" fmla="*/ 183766 h 221202"/>
                <a:gd name="connsiteX77" fmla="*/ 118283 w 260345"/>
                <a:gd name="connsiteY77" fmla="*/ 184620 h 221202"/>
                <a:gd name="connsiteX78" fmla="*/ 119137 w 260345"/>
                <a:gd name="connsiteY78" fmla="*/ 186205 h 221202"/>
                <a:gd name="connsiteX79" fmla="*/ 125112 w 260345"/>
                <a:gd name="connsiteY79" fmla="*/ 196448 h 221202"/>
                <a:gd name="connsiteX80" fmla="*/ 126088 w 260345"/>
                <a:gd name="connsiteY80" fmla="*/ 198033 h 221202"/>
                <a:gd name="connsiteX81" fmla="*/ 125966 w 260345"/>
                <a:gd name="connsiteY81" fmla="*/ 199862 h 221202"/>
                <a:gd name="connsiteX82" fmla="*/ 125234 w 260345"/>
                <a:gd name="connsiteY82" fmla="*/ 214251 h 221202"/>
                <a:gd name="connsiteX83" fmla="*/ 125234 w 260345"/>
                <a:gd name="connsiteY83" fmla="*/ 214495 h 221202"/>
                <a:gd name="connsiteX84" fmla="*/ 140233 w 260345"/>
                <a:gd name="connsiteY84" fmla="*/ 221202 h 221202"/>
                <a:gd name="connsiteX85" fmla="*/ 153524 w 260345"/>
                <a:gd name="connsiteY85" fmla="*/ 217056 h 221202"/>
                <a:gd name="connsiteX86" fmla="*/ 189497 w 260345"/>
                <a:gd name="connsiteY86" fmla="*/ 199984 h 221202"/>
                <a:gd name="connsiteX87" fmla="*/ 190473 w 260345"/>
                <a:gd name="connsiteY87" fmla="*/ 195228 h 221202"/>
                <a:gd name="connsiteX88" fmla="*/ 190229 w 260345"/>
                <a:gd name="connsiteY88" fmla="*/ 194863 h 221202"/>
                <a:gd name="connsiteX89" fmla="*/ 189375 w 260345"/>
                <a:gd name="connsiteY89" fmla="*/ 193765 h 221202"/>
                <a:gd name="connsiteX90" fmla="*/ 179864 w 260345"/>
                <a:gd name="connsiteY90" fmla="*/ 195107 h 221202"/>
                <a:gd name="connsiteX91" fmla="*/ 172669 w 260345"/>
                <a:gd name="connsiteY91" fmla="*/ 196082 h 221202"/>
                <a:gd name="connsiteX92" fmla="*/ 173035 w 260345"/>
                <a:gd name="connsiteY92" fmla="*/ 188766 h 221202"/>
                <a:gd name="connsiteX93" fmla="*/ 173401 w 260345"/>
                <a:gd name="connsiteY93" fmla="*/ 179132 h 221202"/>
                <a:gd name="connsiteX94" fmla="*/ 173767 w 260345"/>
                <a:gd name="connsiteY94" fmla="*/ 169133 h 221202"/>
                <a:gd name="connsiteX95" fmla="*/ 170474 w 260345"/>
                <a:gd name="connsiteY95" fmla="*/ 167304 h 221202"/>
                <a:gd name="connsiteX96" fmla="*/ 166816 w 260345"/>
                <a:gd name="connsiteY96" fmla="*/ 165109 h 221202"/>
                <a:gd name="connsiteX97" fmla="*/ 167548 w 260345"/>
                <a:gd name="connsiteY97" fmla="*/ 160963 h 221202"/>
                <a:gd name="connsiteX98" fmla="*/ 168036 w 260345"/>
                <a:gd name="connsiteY98" fmla="*/ 157914 h 221202"/>
                <a:gd name="connsiteX99" fmla="*/ 168889 w 260345"/>
                <a:gd name="connsiteY99" fmla="*/ 153646 h 221202"/>
                <a:gd name="connsiteX100" fmla="*/ 169743 w 260345"/>
                <a:gd name="connsiteY100" fmla="*/ 149013 h 221202"/>
                <a:gd name="connsiteX101" fmla="*/ 174377 w 260345"/>
                <a:gd name="connsiteY101" fmla="*/ 148647 h 221202"/>
                <a:gd name="connsiteX102" fmla="*/ 185351 w 260345"/>
                <a:gd name="connsiteY102" fmla="*/ 147793 h 221202"/>
                <a:gd name="connsiteX103" fmla="*/ 187302 w 260345"/>
                <a:gd name="connsiteY103" fmla="*/ 147671 h 221202"/>
                <a:gd name="connsiteX104" fmla="*/ 188888 w 260345"/>
                <a:gd name="connsiteY104" fmla="*/ 148647 h 221202"/>
                <a:gd name="connsiteX105" fmla="*/ 209374 w 260345"/>
                <a:gd name="connsiteY105" fmla="*/ 160597 h 221202"/>
                <a:gd name="connsiteX106" fmla="*/ 235835 w 260345"/>
                <a:gd name="connsiteY106" fmla="*/ 150964 h 221202"/>
                <a:gd name="connsiteX107" fmla="*/ 236932 w 260345"/>
                <a:gd name="connsiteY107" fmla="*/ 150598 h 221202"/>
                <a:gd name="connsiteX108" fmla="*/ 240469 w 260345"/>
                <a:gd name="connsiteY108" fmla="*/ 135965 h 221202"/>
                <a:gd name="connsiteX109" fmla="*/ 239006 w 260345"/>
                <a:gd name="connsiteY109" fmla="*/ 134380 h 221202"/>
                <a:gd name="connsiteX110" fmla="*/ 237176 w 260345"/>
                <a:gd name="connsiteY110" fmla="*/ 132672 h 221202"/>
                <a:gd name="connsiteX111" fmla="*/ 237176 w 260345"/>
                <a:gd name="connsiteY111" fmla="*/ 106089 h 221202"/>
                <a:gd name="connsiteX112" fmla="*/ 242054 w 260345"/>
                <a:gd name="connsiteY112" fmla="*/ 104992 h 22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260345" h="221202">
                  <a:moveTo>
                    <a:pt x="242054" y="104992"/>
                  </a:moveTo>
                  <a:lnTo>
                    <a:pt x="250956" y="103041"/>
                  </a:lnTo>
                  <a:lnTo>
                    <a:pt x="250956" y="103041"/>
                  </a:lnTo>
                  <a:lnTo>
                    <a:pt x="249249" y="102065"/>
                  </a:lnTo>
                  <a:lnTo>
                    <a:pt x="245469" y="100236"/>
                  </a:lnTo>
                  <a:lnTo>
                    <a:pt x="245834" y="96090"/>
                  </a:lnTo>
                  <a:lnTo>
                    <a:pt x="246566" y="89383"/>
                  </a:lnTo>
                  <a:lnTo>
                    <a:pt x="246932" y="85603"/>
                  </a:lnTo>
                  <a:lnTo>
                    <a:pt x="250346" y="84262"/>
                  </a:lnTo>
                  <a:lnTo>
                    <a:pt x="257906" y="81335"/>
                  </a:lnTo>
                  <a:lnTo>
                    <a:pt x="259126" y="80847"/>
                  </a:lnTo>
                  <a:lnTo>
                    <a:pt x="259858" y="74750"/>
                  </a:lnTo>
                  <a:lnTo>
                    <a:pt x="260101" y="72189"/>
                  </a:lnTo>
                  <a:lnTo>
                    <a:pt x="260345" y="69141"/>
                  </a:lnTo>
                  <a:lnTo>
                    <a:pt x="251200" y="62312"/>
                  </a:lnTo>
                  <a:lnTo>
                    <a:pt x="244371" y="52679"/>
                  </a:lnTo>
                  <a:lnTo>
                    <a:pt x="229738" y="43411"/>
                  </a:lnTo>
                  <a:lnTo>
                    <a:pt x="214983" y="44874"/>
                  </a:lnTo>
                  <a:lnTo>
                    <a:pt x="203521" y="27437"/>
                  </a:lnTo>
                  <a:lnTo>
                    <a:pt x="191936" y="24876"/>
                  </a:lnTo>
                  <a:lnTo>
                    <a:pt x="184376" y="26217"/>
                  </a:lnTo>
                  <a:lnTo>
                    <a:pt x="171694" y="35973"/>
                  </a:lnTo>
                  <a:lnTo>
                    <a:pt x="160841" y="39143"/>
                  </a:lnTo>
                  <a:lnTo>
                    <a:pt x="147183" y="36095"/>
                  </a:lnTo>
                  <a:lnTo>
                    <a:pt x="138770" y="30485"/>
                  </a:lnTo>
                  <a:lnTo>
                    <a:pt x="90603" y="26096"/>
                  </a:lnTo>
                  <a:lnTo>
                    <a:pt x="90603" y="14145"/>
                  </a:lnTo>
                  <a:lnTo>
                    <a:pt x="78043" y="7804"/>
                  </a:lnTo>
                  <a:lnTo>
                    <a:pt x="69019" y="7804"/>
                  </a:lnTo>
                  <a:lnTo>
                    <a:pt x="63166" y="610"/>
                  </a:lnTo>
                  <a:lnTo>
                    <a:pt x="59995" y="0"/>
                  </a:lnTo>
                  <a:lnTo>
                    <a:pt x="62556" y="13048"/>
                  </a:lnTo>
                  <a:lnTo>
                    <a:pt x="38899" y="18901"/>
                  </a:lnTo>
                  <a:lnTo>
                    <a:pt x="35485" y="27071"/>
                  </a:lnTo>
                  <a:lnTo>
                    <a:pt x="40972" y="39387"/>
                  </a:lnTo>
                  <a:lnTo>
                    <a:pt x="40972" y="55483"/>
                  </a:lnTo>
                  <a:lnTo>
                    <a:pt x="24754" y="60849"/>
                  </a:lnTo>
                  <a:lnTo>
                    <a:pt x="24754" y="60849"/>
                  </a:lnTo>
                  <a:lnTo>
                    <a:pt x="19877" y="47435"/>
                  </a:lnTo>
                  <a:lnTo>
                    <a:pt x="18169" y="42558"/>
                  </a:lnTo>
                  <a:lnTo>
                    <a:pt x="18169" y="42558"/>
                  </a:lnTo>
                  <a:lnTo>
                    <a:pt x="23779" y="28412"/>
                  </a:lnTo>
                  <a:lnTo>
                    <a:pt x="20974" y="21462"/>
                  </a:lnTo>
                  <a:lnTo>
                    <a:pt x="23535" y="12438"/>
                  </a:lnTo>
                  <a:lnTo>
                    <a:pt x="9146" y="28168"/>
                  </a:lnTo>
                  <a:lnTo>
                    <a:pt x="0" y="53167"/>
                  </a:lnTo>
                  <a:lnTo>
                    <a:pt x="4268" y="56947"/>
                  </a:lnTo>
                  <a:lnTo>
                    <a:pt x="5365" y="57922"/>
                  </a:lnTo>
                  <a:lnTo>
                    <a:pt x="5731" y="58288"/>
                  </a:lnTo>
                  <a:lnTo>
                    <a:pt x="6097" y="58776"/>
                  </a:lnTo>
                  <a:lnTo>
                    <a:pt x="15609" y="70848"/>
                  </a:lnTo>
                  <a:lnTo>
                    <a:pt x="17803" y="73653"/>
                  </a:lnTo>
                  <a:lnTo>
                    <a:pt x="16584" y="76823"/>
                  </a:lnTo>
                  <a:lnTo>
                    <a:pt x="14023" y="83164"/>
                  </a:lnTo>
                  <a:lnTo>
                    <a:pt x="21218" y="93285"/>
                  </a:lnTo>
                  <a:lnTo>
                    <a:pt x="46948" y="97553"/>
                  </a:lnTo>
                  <a:lnTo>
                    <a:pt x="64385" y="100480"/>
                  </a:lnTo>
                  <a:lnTo>
                    <a:pt x="66214" y="100846"/>
                  </a:lnTo>
                  <a:lnTo>
                    <a:pt x="67678" y="102187"/>
                  </a:lnTo>
                  <a:lnTo>
                    <a:pt x="73775" y="108284"/>
                  </a:lnTo>
                  <a:lnTo>
                    <a:pt x="97187" y="110845"/>
                  </a:lnTo>
                  <a:lnTo>
                    <a:pt x="99139" y="111089"/>
                  </a:lnTo>
                  <a:lnTo>
                    <a:pt x="100602" y="112430"/>
                  </a:lnTo>
                  <a:lnTo>
                    <a:pt x="108772" y="119747"/>
                  </a:lnTo>
                  <a:lnTo>
                    <a:pt x="111089" y="121820"/>
                  </a:lnTo>
                  <a:lnTo>
                    <a:pt x="110723" y="124868"/>
                  </a:lnTo>
                  <a:lnTo>
                    <a:pt x="110601" y="126575"/>
                  </a:lnTo>
                  <a:lnTo>
                    <a:pt x="109016" y="143281"/>
                  </a:lnTo>
                  <a:lnTo>
                    <a:pt x="108894" y="144257"/>
                  </a:lnTo>
                  <a:lnTo>
                    <a:pt x="108650" y="144989"/>
                  </a:lnTo>
                  <a:lnTo>
                    <a:pt x="105601" y="152549"/>
                  </a:lnTo>
                  <a:lnTo>
                    <a:pt x="113772" y="167913"/>
                  </a:lnTo>
                  <a:lnTo>
                    <a:pt x="114991" y="170474"/>
                  </a:lnTo>
                  <a:lnTo>
                    <a:pt x="114015" y="173035"/>
                  </a:lnTo>
                  <a:lnTo>
                    <a:pt x="112186" y="177913"/>
                  </a:lnTo>
                  <a:lnTo>
                    <a:pt x="110967" y="180961"/>
                  </a:lnTo>
                  <a:lnTo>
                    <a:pt x="116576" y="183766"/>
                  </a:lnTo>
                  <a:lnTo>
                    <a:pt x="118283" y="184620"/>
                  </a:lnTo>
                  <a:lnTo>
                    <a:pt x="119137" y="186205"/>
                  </a:lnTo>
                  <a:lnTo>
                    <a:pt x="125112" y="196448"/>
                  </a:lnTo>
                  <a:lnTo>
                    <a:pt x="126088" y="198033"/>
                  </a:lnTo>
                  <a:lnTo>
                    <a:pt x="125966" y="199862"/>
                  </a:lnTo>
                  <a:lnTo>
                    <a:pt x="125234" y="214251"/>
                  </a:lnTo>
                  <a:lnTo>
                    <a:pt x="125234" y="214495"/>
                  </a:lnTo>
                  <a:lnTo>
                    <a:pt x="140233" y="221202"/>
                  </a:lnTo>
                  <a:lnTo>
                    <a:pt x="153524" y="217056"/>
                  </a:lnTo>
                  <a:lnTo>
                    <a:pt x="189497" y="199984"/>
                  </a:lnTo>
                  <a:lnTo>
                    <a:pt x="190473" y="195228"/>
                  </a:lnTo>
                  <a:lnTo>
                    <a:pt x="190229" y="194863"/>
                  </a:lnTo>
                  <a:lnTo>
                    <a:pt x="189375" y="193765"/>
                  </a:lnTo>
                  <a:lnTo>
                    <a:pt x="179864" y="195107"/>
                  </a:lnTo>
                  <a:lnTo>
                    <a:pt x="172669" y="196082"/>
                  </a:lnTo>
                  <a:lnTo>
                    <a:pt x="173035" y="188766"/>
                  </a:lnTo>
                  <a:lnTo>
                    <a:pt x="173401" y="179132"/>
                  </a:lnTo>
                  <a:lnTo>
                    <a:pt x="173767" y="169133"/>
                  </a:lnTo>
                  <a:lnTo>
                    <a:pt x="170474" y="167304"/>
                  </a:lnTo>
                  <a:lnTo>
                    <a:pt x="166816" y="165109"/>
                  </a:lnTo>
                  <a:lnTo>
                    <a:pt x="167548" y="160963"/>
                  </a:lnTo>
                  <a:lnTo>
                    <a:pt x="168036" y="157914"/>
                  </a:lnTo>
                  <a:lnTo>
                    <a:pt x="168889" y="153646"/>
                  </a:lnTo>
                  <a:lnTo>
                    <a:pt x="169743" y="149013"/>
                  </a:lnTo>
                  <a:lnTo>
                    <a:pt x="174377" y="148647"/>
                  </a:lnTo>
                  <a:lnTo>
                    <a:pt x="185351" y="147793"/>
                  </a:lnTo>
                  <a:lnTo>
                    <a:pt x="187302" y="147671"/>
                  </a:lnTo>
                  <a:lnTo>
                    <a:pt x="188888" y="148647"/>
                  </a:lnTo>
                  <a:lnTo>
                    <a:pt x="209374" y="160597"/>
                  </a:lnTo>
                  <a:lnTo>
                    <a:pt x="235835" y="150964"/>
                  </a:lnTo>
                  <a:lnTo>
                    <a:pt x="236932" y="150598"/>
                  </a:lnTo>
                  <a:lnTo>
                    <a:pt x="240469" y="135965"/>
                  </a:lnTo>
                  <a:lnTo>
                    <a:pt x="239006" y="134380"/>
                  </a:lnTo>
                  <a:lnTo>
                    <a:pt x="237176" y="132672"/>
                  </a:lnTo>
                  <a:lnTo>
                    <a:pt x="237176" y="106089"/>
                  </a:lnTo>
                  <a:lnTo>
                    <a:pt x="242054" y="10499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3" name="Freihandform: Form 672">
              <a:extLst>
                <a:ext uri="{FF2B5EF4-FFF2-40B4-BE49-F238E27FC236}">
                  <a16:creationId xmlns:a16="http://schemas.microsoft.com/office/drawing/2014/main" id="{6519AE88-C051-4C43-B0BB-ABA6EB3D12B7}"/>
                </a:ext>
              </a:extLst>
            </p:cNvPr>
            <p:cNvSpPr/>
            <p:nvPr/>
          </p:nvSpPr>
          <p:spPr>
            <a:xfrm>
              <a:off x="2846892" y="3197335"/>
              <a:ext cx="230103" cy="311439"/>
            </a:xfrm>
            <a:custGeom>
              <a:avLst/>
              <a:gdLst>
                <a:gd name="connsiteX0" fmla="*/ 171206 w 230103"/>
                <a:gd name="connsiteY0" fmla="*/ 209862 h 311439"/>
                <a:gd name="connsiteX1" fmla="*/ 172304 w 230103"/>
                <a:gd name="connsiteY1" fmla="*/ 205959 h 311439"/>
                <a:gd name="connsiteX2" fmla="*/ 176450 w 230103"/>
                <a:gd name="connsiteY2" fmla="*/ 205472 h 311439"/>
                <a:gd name="connsiteX3" fmla="*/ 207179 w 230103"/>
                <a:gd name="connsiteY3" fmla="*/ 201935 h 311439"/>
                <a:gd name="connsiteX4" fmla="*/ 209862 w 230103"/>
                <a:gd name="connsiteY4" fmla="*/ 201570 h 311439"/>
                <a:gd name="connsiteX5" fmla="*/ 211935 w 230103"/>
                <a:gd name="connsiteY5" fmla="*/ 203521 h 311439"/>
                <a:gd name="connsiteX6" fmla="*/ 223031 w 230103"/>
                <a:gd name="connsiteY6" fmla="*/ 213642 h 311439"/>
                <a:gd name="connsiteX7" fmla="*/ 229494 w 230103"/>
                <a:gd name="connsiteY7" fmla="*/ 216203 h 311439"/>
                <a:gd name="connsiteX8" fmla="*/ 230104 w 230103"/>
                <a:gd name="connsiteY8" fmla="*/ 204862 h 311439"/>
                <a:gd name="connsiteX9" fmla="*/ 224616 w 230103"/>
                <a:gd name="connsiteY9" fmla="*/ 195594 h 311439"/>
                <a:gd name="connsiteX10" fmla="*/ 217910 w 230103"/>
                <a:gd name="connsiteY10" fmla="*/ 192302 h 311439"/>
                <a:gd name="connsiteX11" fmla="*/ 213032 w 230103"/>
                <a:gd name="connsiteY11" fmla="*/ 189741 h 311439"/>
                <a:gd name="connsiteX12" fmla="*/ 214983 w 230103"/>
                <a:gd name="connsiteY12" fmla="*/ 184620 h 311439"/>
                <a:gd name="connsiteX13" fmla="*/ 216934 w 230103"/>
                <a:gd name="connsiteY13" fmla="*/ 179620 h 311439"/>
                <a:gd name="connsiteX14" fmla="*/ 218397 w 230103"/>
                <a:gd name="connsiteY14" fmla="*/ 175840 h 311439"/>
                <a:gd name="connsiteX15" fmla="*/ 210227 w 230103"/>
                <a:gd name="connsiteY15" fmla="*/ 160231 h 311439"/>
                <a:gd name="connsiteX16" fmla="*/ 208886 w 230103"/>
                <a:gd name="connsiteY16" fmla="*/ 157793 h 311439"/>
                <a:gd name="connsiteX17" fmla="*/ 209983 w 230103"/>
                <a:gd name="connsiteY17" fmla="*/ 155232 h 311439"/>
                <a:gd name="connsiteX18" fmla="*/ 213032 w 230103"/>
                <a:gd name="connsiteY18" fmla="*/ 147428 h 311439"/>
                <a:gd name="connsiteX19" fmla="*/ 214739 w 230103"/>
                <a:gd name="connsiteY19" fmla="*/ 130356 h 311439"/>
                <a:gd name="connsiteX20" fmla="*/ 214861 w 230103"/>
                <a:gd name="connsiteY20" fmla="*/ 129868 h 311439"/>
                <a:gd name="connsiteX21" fmla="*/ 207789 w 230103"/>
                <a:gd name="connsiteY21" fmla="*/ 123649 h 311439"/>
                <a:gd name="connsiteX22" fmla="*/ 184254 w 230103"/>
                <a:gd name="connsiteY22" fmla="*/ 120966 h 311439"/>
                <a:gd name="connsiteX23" fmla="*/ 182181 w 230103"/>
                <a:gd name="connsiteY23" fmla="*/ 120722 h 311439"/>
                <a:gd name="connsiteX24" fmla="*/ 180595 w 230103"/>
                <a:gd name="connsiteY24" fmla="*/ 119259 h 311439"/>
                <a:gd name="connsiteX25" fmla="*/ 174498 w 230103"/>
                <a:gd name="connsiteY25" fmla="*/ 113162 h 311439"/>
                <a:gd name="connsiteX26" fmla="*/ 160719 w 230103"/>
                <a:gd name="connsiteY26" fmla="*/ 110845 h 311439"/>
                <a:gd name="connsiteX27" fmla="*/ 131209 w 230103"/>
                <a:gd name="connsiteY27" fmla="*/ 105967 h 311439"/>
                <a:gd name="connsiteX28" fmla="*/ 128770 w 230103"/>
                <a:gd name="connsiteY28" fmla="*/ 105480 h 311439"/>
                <a:gd name="connsiteX29" fmla="*/ 127307 w 230103"/>
                <a:gd name="connsiteY29" fmla="*/ 103407 h 311439"/>
                <a:gd name="connsiteX30" fmla="*/ 119015 w 230103"/>
                <a:gd name="connsiteY30" fmla="*/ 91822 h 311439"/>
                <a:gd name="connsiteX31" fmla="*/ 117064 w 230103"/>
                <a:gd name="connsiteY31" fmla="*/ 89139 h 311439"/>
                <a:gd name="connsiteX32" fmla="*/ 118283 w 230103"/>
                <a:gd name="connsiteY32" fmla="*/ 86091 h 311439"/>
                <a:gd name="connsiteX33" fmla="*/ 120844 w 230103"/>
                <a:gd name="connsiteY33" fmla="*/ 79750 h 311439"/>
                <a:gd name="connsiteX34" fmla="*/ 112186 w 230103"/>
                <a:gd name="connsiteY34" fmla="*/ 68775 h 311439"/>
                <a:gd name="connsiteX35" fmla="*/ 110967 w 230103"/>
                <a:gd name="connsiteY35" fmla="*/ 67800 h 311439"/>
                <a:gd name="connsiteX36" fmla="*/ 105845 w 230103"/>
                <a:gd name="connsiteY36" fmla="*/ 63288 h 311439"/>
                <a:gd name="connsiteX37" fmla="*/ 102675 w 230103"/>
                <a:gd name="connsiteY37" fmla="*/ 60483 h 311439"/>
                <a:gd name="connsiteX38" fmla="*/ 104138 w 230103"/>
                <a:gd name="connsiteY38" fmla="*/ 56581 h 311439"/>
                <a:gd name="connsiteX39" fmla="*/ 113893 w 230103"/>
                <a:gd name="connsiteY39" fmla="*/ 29998 h 311439"/>
                <a:gd name="connsiteX40" fmla="*/ 114381 w 230103"/>
                <a:gd name="connsiteY40" fmla="*/ 28900 h 311439"/>
                <a:gd name="connsiteX41" fmla="*/ 115113 w 230103"/>
                <a:gd name="connsiteY41" fmla="*/ 27925 h 311439"/>
                <a:gd name="connsiteX42" fmla="*/ 134258 w 230103"/>
                <a:gd name="connsiteY42" fmla="*/ 7073 h 311439"/>
                <a:gd name="connsiteX43" fmla="*/ 135599 w 230103"/>
                <a:gd name="connsiteY43" fmla="*/ 5488 h 311439"/>
                <a:gd name="connsiteX44" fmla="*/ 137672 w 230103"/>
                <a:gd name="connsiteY44" fmla="*/ 5122 h 311439"/>
                <a:gd name="connsiteX45" fmla="*/ 141452 w 230103"/>
                <a:gd name="connsiteY45" fmla="*/ 4512 h 311439"/>
                <a:gd name="connsiteX46" fmla="*/ 149744 w 230103"/>
                <a:gd name="connsiteY46" fmla="*/ 3049 h 311439"/>
                <a:gd name="connsiteX47" fmla="*/ 149866 w 230103"/>
                <a:gd name="connsiteY47" fmla="*/ 2073 h 311439"/>
                <a:gd name="connsiteX48" fmla="*/ 143403 w 230103"/>
                <a:gd name="connsiteY48" fmla="*/ 0 h 311439"/>
                <a:gd name="connsiteX49" fmla="*/ 132673 w 230103"/>
                <a:gd name="connsiteY49" fmla="*/ 0 h 311439"/>
                <a:gd name="connsiteX50" fmla="*/ 129868 w 230103"/>
                <a:gd name="connsiteY50" fmla="*/ 9390 h 311439"/>
                <a:gd name="connsiteX51" fmla="*/ 92432 w 230103"/>
                <a:gd name="connsiteY51" fmla="*/ 22437 h 311439"/>
                <a:gd name="connsiteX52" fmla="*/ 86091 w 230103"/>
                <a:gd name="connsiteY52" fmla="*/ 28656 h 311439"/>
                <a:gd name="connsiteX53" fmla="*/ 76335 w 230103"/>
                <a:gd name="connsiteY53" fmla="*/ 24510 h 311439"/>
                <a:gd name="connsiteX54" fmla="*/ 70604 w 230103"/>
                <a:gd name="connsiteY54" fmla="*/ 31339 h 311439"/>
                <a:gd name="connsiteX55" fmla="*/ 69141 w 230103"/>
                <a:gd name="connsiteY55" fmla="*/ 44631 h 311439"/>
                <a:gd name="connsiteX56" fmla="*/ 59386 w 230103"/>
                <a:gd name="connsiteY56" fmla="*/ 48899 h 311439"/>
                <a:gd name="connsiteX57" fmla="*/ 59386 w 230103"/>
                <a:gd name="connsiteY57" fmla="*/ 58410 h 311439"/>
                <a:gd name="connsiteX58" fmla="*/ 46948 w 230103"/>
                <a:gd name="connsiteY58" fmla="*/ 69385 h 311439"/>
                <a:gd name="connsiteX59" fmla="*/ 49752 w 230103"/>
                <a:gd name="connsiteY59" fmla="*/ 79262 h 311439"/>
                <a:gd name="connsiteX60" fmla="*/ 46948 w 230103"/>
                <a:gd name="connsiteY60" fmla="*/ 82067 h 311439"/>
                <a:gd name="connsiteX61" fmla="*/ 47801 w 230103"/>
                <a:gd name="connsiteY61" fmla="*/ 82311 h 311439"/>
                <a:gd name="connsiteX62" fmla="*/ 43533 w 230103"/>
                <a:gd name="connsiteY62" fmla="*/ 88773 h 311439"/>
                <a:gd name="connsiteX63" fmla="*/ 39143 w 230103"/>
                <a:gd name="connsiteY63" fmla="*/ 95358 h 311439"/>
                <a:gd name="connsiteX64" fmla="*/ 38412 w 230103"/>
                <a:gd name="connsiteY64" fmla="*/ 96334 h 311439"/>
                <a:gd name="connsiteX65" fmla="*/ 36826 w 230103"/>
                <a:gd name="connsiteY65" fmla="*/ 98773 h 311439"/>
                <a:gd name="connsiteX66" fmla="*/ 34022 w 230103"/>
                <a:gd name="connsiteY66" fmla="*/ 99017 h 311439"/>
                <a:gd name="connsiteX67" fmla="*/ 26339 w 230103"/>
                <a:gd name="connsiteY67" fmla="*/ 99870 h 311439"/>
                <a:gd name="connsiteX68" fmla="*/ 29144 w 230103"/>
                <a:gd name="connsiteY68" fmla="*/ 110357 h 311439"/>
                <a:gd name="connsiteX69" fmla="*/ 29144 w 230103"/>
                <a:gd name="connsiteY69" fmla="*/ 132794 h 311439"/>
                <a:gd name="connsiteX70" fmla="*/ 31949 w 230103"/>
                <a:gd name="connsiteY70" fmla="*/ 151574 h 311439"/>
                <a:gd name="connsiteX71" fmla="*/ 34997 w 230103"/>
                <a:gd name="connsiteY71" fmla="*/ 165719 h 311439"/>
                <a:gd name="connsiteX72" fmla="*/ 26339 w 230103"/>
                <a:gd name="connsiteY72" fmla="*/ 176328 h 311439"/>
                <a:gd name="connsiteX73" fmla="*/ 26339 w 230103"/>
                <a:gd name="connsiteY73" fmla="*/ 183035 h 311439"/>
                <a:gd name="connsiteX74" fmla="*/ 19511 w 230103"/>
                <a:gd name="connsiteY74" fmla="*/ 189741 h 311439"/>
                <a:gd name="connsiteX75" fmla="*/ 9390 w 230103"/>
                <a:gd name="connsiteY75" fmla="*/ 191692 h 311439"/>
                <a:gd name="connsiteX76" fmla="*/ 732 w 230103"/>
                <a:gd name="connsiteY76" fmla="*/ 203643 h 311439"/>
                <a:gd name="connsiteX77" fmla="*/ 0 w 230103"/>
                <a:gd name="connsiteY77" fmla="*/ 217666 h 311439"/>
                <a:gd name="connsiteX78" fmla="*/ 488 w 230103"/>
                <a:gd name="connsiteY78" fmla="*/ 218032 h 311439"/>
                <a:gd name="connsiteX79" fmla="*/ 9146 w 230103"/>
                <a:gd name="connsiteY79" fmla="*/ 224007 h 311439"/>
                <a:gd name="connsiteX80" fmla="*/ 14023 w 230103"/>
                <a:gd name="connsiteY80" fmla="*/ 227299 h 311439"/>
                <a:gd name="connsiteX81" fmla="*/ 17072 w 230103"/>
                <a:gd name="connsiteY81" fmla="*/ 229372 h 311439"/>
                <a:gd name="connsiteX82" fmla="*/ 16706 w 230103"/>
                <a:gd name="connsiteY82" fmla="*/ 232909 h 311439"/>
                <a:gd name="connsiteX83" fmla="*/ 16096 w 230103"/>
                <a:gd name="connsiteY83" fmla="*/ 238640 h 311439"/>
                <a:gd name="connsiteX84" fmla="*/ 18535 w 230103"/>
                <a:gd name="connsiteY84" fmla="*/ 240225 h 311439"/>
                <a:gd name="connsiteX85" fmla="*/ 19754 w 230103"/>
                <a:gd name="connsiteY85" fmla="*/ 240957 h 311439"/>
                <a:gd name="connsiteX86" fmla="*/ 24144 w 230103"/>
                <a:gd name="connsiteY86" fmla="*/ 239128 h 311439"/>
                <a:gd name="connsiteX87" fmla="*/ 25242 w 230103"/>
                <a:gd name="connsiteY87" fmla="*/ 238640 h 311439"/>
                <a:gd name="connsiteX88" fmla="*/ 42192 w 230103"/>
                <a:gd name="connsiteY88" fmla="*/ 238640 h 311439"/>
                <a:gd name="connsiteX89" fmla="*/ 43533 w 230103"/>
                <a:gd name="connsiteY89" fmla="*/ 239371 h 311439"/>
                <a:gd name="connsiteX90" fmla="*/ 51094 w 230103"/>
                <a:gd name="connsiteY90" fmla="*/ 243517 h 311439"/>
                <a:gd name="connsiteX91" fmla="*/ 51703 w 230103"/>
                <a:gd name="connsiteY91" fmla="*/ 243030 h 311439"/>
                <a:gd name="connsiteX92" fmla="*/ 54020 w 230103"/>
                <a:gd name="connsiteY92" fmla="*/ 241079 h 311439"/>
                <a:gd name="connsiteX93" fmla="*/ 55971 w 230103"/>
                <a:gd name="connsiteY93" fmla="*/ 239493 h 311439"/>
                <a:gd name="connsiteX94" fmla="*/ 58532 w 230103"/>
                <a:gd name="connsiteY94" fmla="*/ 239737 h 311439"/>
                <a:gd name="connsiteX95" fmla="*/ 75604 w 230103"/>
                <a:gd name="connsiteY95" fmla="*/ 241444 h 311439"/>
                <a:gd name="connsiteX96" fmla="*/ 78409 w 230103"/>
                <a:gd name="connsiteY96" fmla="*/ 241688 h 311439"/>
                <a:gd name="connsiteX97" fmla="*/ 79994 w 230103"/>
                <a:gd name="connsiteY97" fmla="*/ 243883 h 311439"/>
                <a:gd name="connsiteX98" fmla="*/ 94505 w 230103"/>
                <a:gd name="connsiteY98" fmla="*/ 263882 h 311439"/>
                <a:gd name="connsiteX99" fmla="*/ 110235 w 230103"/>
                <a:gd name="connsiteY99" fmla="*/ 285709 h 311439"/>
                <a:gd name="connsiteX100" fmla="*/ 149135 w 230103"/>
                <a:gd name="connsiteY100" fmla="*/ 283148 h 311439"/>
                <a:gd name="connsiteX101" fmla="*/ 150720 w 230103"/>
                <a:gd name="connsiteY101" fmla="*/ 283027 h 311439"/>
                <a:gd name="connsiteX102" fmla="*/ 152183 w 230103"/>
                <a:gd name="connsiteY102" fmla="*/ 283636 h 311439"/>
                <a:gd name="connsiteX103" fmla="*/ 168036 w 230103"/>
                <a:gd name="connsiteY103" fmla="*/ 291197 h 311439"/>
                <a:gd name="connsiteX104" fmla="*/ 172547 w 230103"/>
                <a:gd name="connsiteY104" fmla="*/ 293392 h 311439"/>
                <a:gd name="connsiteX105" fmla="*/ 171328 w 230103"/>
                <a:gd name="connsiteY105" fmla="*/ 298147 h 311439"/>
                <a:gd name="connsiteX106" fmla="*/ 168158 w 230103"/>
                <a:gd name="connsiteY106" fmla="*/ 311439 h 311439"/>
                <a:gd name="connsiteX107" fmla="*/ 172181 w 230103"/>
                <a:gd name="connsiteY107" fmla="*/ 311439 h 311439"/>
                <a:gd name="connsiteX108" fmla="*/ 180595 w 230103"/>
                <a:gd name="connsiteY108" fmla="*/ 265833 h 311439"/>
                <a:gd name="connsiteX109" fmla="*/ 175352 w 230103"/>
                <a:gd name="connsiteY109" fmla="*/ 261321 h 311439"/>
                <a:gd name="connsiteX110" fmla="*/ 173645 w 230103"/>
                <a:gd name="connsiteY110" fmla="*/ 259736 h 311439"/>
                <a:gd name="connsiteX111" fmla="*/ 173279 w 230103"/>
                <a:gd name="connsiteY111" fmla="*/ 257541 h 311439"/>
                <a:gd name="connsiteX112" fmla="*/ 170962 w 230103"/>
                <a:gd name="connsiteY112" fmla="*/ 239250 h 311439"/>
                <a:gd name="connsiteX113" fmla="*/ 169987 w 230103"/>
                <a:gd name="connsiteY113" fmla="*/ 231567 h 311439"/>
                <a:gd name="connsiteX114" fmla="*/ 177669 w 230103"/>
                <a:gd name="connsiteY114" fmla="*/ 232421 h 311439"/>
                <a:gd name="connsiteX115" fmla="*/ 181083 w 230103"/>
                <a:gd name="connsiteY115" fmla="*/ 232787 h 311439"/>
                <a:gd name="connsiteX116" fmla="*/ 183400 w 230103"/>
                <a:gd name="connsiteY116" fmla="*/ 229250 h 311439"/>
                <a:gd name="connsiteX117" fmla="*/ 172181 w 230103"/>
                <a:gd name="connsiteY117" fmla="*/ 220105 h 311439"/>
                <a:gd name="connsiteX118" fmla="*/ 169011 w 230103"/>
                <a:gd name="connsiteY118" fmla="*/ 217666 h 311439"/>
                <a:gd name="connsiteX119" fmla="*/ 170109 w 230103"/>
                <a:gd name="connsiteY119" fmla="*/ 213764 h 311439"/>
                <a:gd name="connsiteX120" fmla="*/ 171206 w 230103"/>
                <a:gd name="connsiteY120" fmla="*/ 209862 h 31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30103" h="311439">
                  <a:moveTo>
                    <a:pt x="171206" y="209862"/>
                  </a:moveTo>
                  <a:lnTo>
                    <a:pt x="172304" y="205959"/>
                  </a:lnTo>
                  <a:lnTo>
                    <a:pt x="176450" y="205472"/>
                  </a:lnTo>
                  <a:lnTo>
                    <a:pt x="207179" y="201935"/>
                  </a:lnTo>
                  <a:lnTo>
                    <a:pt x="209862" y="201570"/>
                  </a:lnTo>
                  <a:lnTo>
                    <a:pt x="211935" y="203521"/>
                  </a:lnTo>
                  <a:lnTo>
                    <a:pt x="223031" y="213642"/>
                  </a:lnTo>
                  <a:lnTo>
                    <a:pt x="229494" y="216203"/>
                  </a:lnTo>
                  <a:lnTo>
                    <a:pt x="230104" y="204862"/>
                  </a:lnTo>
                  <a:lnTo>
                    <a:pt x="224616" y="195594"/>
                  </a:lnTo>
                  <a:lnTo>
                    <a:pt x="217910" y="192302"/>
                  </a:lnTo>
                  <a:lnTo>
                    <a:pt x="213032" y="189741"/>
                  </a:lnTo>
                  <a:lnTo>
                    <a:pt x="214983" y="184620"/>
                  </a:lnTo>
                  <a:lnTo>
                    <a:pt x="216934" y="179620"/>
                  </a:lnTo>
                  <a:lnTo>
                    <a:pt x="218397" y="175840"/>
                  </a:lnTo>
                  <a:lnTo>
                    <a:pt x="210227" y="160231"/>
                  </a:lnTo>
                  <a:lnTo>
                    <a:pt x="208886" y="157793"/>
                  </a:lnTo>
                  <a:lnTo>
                    <a:pt x="209983" y="155232"/>
                  </a:lnTo>
                  <a:lnTo>
                    <a:pt x="213032" y="147428"/>
                  </a:lnTo>
                  <a:lnTo>
                    <a:pt x="214739" y="130356"/>
                  </a:lnTo>
                  <a:lnTo>
                    <a:pt x="214861" y="129868"/>
                  </a:lnTo>
                  <a:lnTo>
                    <a:pt x="207789" y="123649"/>
                  </a:lnTo>
                  <a:lnTo>
                    <a:pt x="184254" y="120966"/>
                  </a:lnTo>
                  <a:lnTo>
                    <a:pt x="182181" y="120722"/>
                  </a:lnTo>
                  <a:lnTo>
                    <a:pt x="180595" y="119259"/>
                  </a:lnTo>
                  <a:lnTo>
                    <a:pt x="174498" y="113162"/>
                  </a:lnTo>
                  <a:lnTo>
                    <a:pt x="160719" y="110845"/>
                  </a:lnTo>
                  <a:lnTo>
                    <a:pt x="131209" y="105967"/>
                  </a:lnTo>
                  <a:lnTo>
                    <a:pt x="128770" y="105480"/>
                  </a:lnTo>
                  <a:lnTo>
                    <a:pt x="127307" y="103407"/>
                  </a:lnTo>
                  <a:lnTo>
                    <a:pt x="119015" y="91822"/>
                  </a:lnTo>
                  <a:lnTo>
                    <a:pt x="117064" y="89139"/>
                  </a:lnTo>
                  <a:lnTo>
                    <a:pt x="118283" y="86091"/>
                  </a:lnTo>
                  <a:lnTo>
                    <a:pt x="120844" y="79750"/>
                  </a:lnTo>
                  <a:lnTo>
                    <a:pt x="112186" y="68775"/>
                  </a:lnTo>
                  <a:lnTo>
                    <a:pt x="110967" y="67800"/>
                  </a:lnTo>
                  <a:lnTo>
                    <a:pt x="105845" y="63288"/>
                  </a:lnTo>
                  <a:lnTo>
                    <a:pt x="102675" y="60483"/>
                  </a:lnTo>
                  <a:lnTo>
                    <a:pt x="104138" y="56581"/>
                  </a:lnTo>
                  <a:lnTo>
                    <a:pt x="113893" y="29998"/>
                  </a:lnTo>
                  <a:lnTo>
                    <a:pt x="114381" y="28900"/>
                  </a:lnTo>
                  <a:lnTo>
                    <a:pt x="115113" y="27925"/>
                  </a:lnTo>
                  <a:lnTo>
                    <a:pt x="134258" y="7073"/>
                  </a:lnTo>
                  <a:lnTo>
                    <a:pt x="135599" y="5488"/>
                  </a:lnTo>
                  <a:lnTo>
                    <a:pt x="137672" y="5122"/>
                  </a:lnTo>
                  <a:lnTo>
                    <a:pt x="141452" y="4512"/>
                  </a:lnTo>
                  <a:lnTo>
                    <a:pt x="149744" y="3049"/>
                  </a:lnTo>
                  <a:lnTo>
                    <a:pt x="149866" y="2073"/>
                  </a:lnTo>
                  <a:lnTo>
                    <a:pt x="143403" y="0"/>
                  </a:lnTo>
                  <a:lnTo>
                    <a:pt x="132673" y="0"/>
                  </a:lnTo>
                  <a:lnTo>
                    <a:pt x="129868" y="9390"/>
                  </a:lnTo>
                  <a:lnTo>
                    <a:pt x="92432" y="22437"/>
                  </a:lnTo>
                  <a:lnTo>
                    <a:pt x="86091" y="28656"/>
                  </a:lnTo>
                  <a:lnTo>
                    <a:pt x="76335" y="24510"/>
                  </a:lnTo>
                  <a:lnTo>
                    <a:pt x="70604" y="31339"/>
                  </a:lnTo>
                  <a:lnTo>
                    <a:pt x="69141" y="44631"/>
                  </a:lnTo>
                  <a:lnTo>
                    <a:pt x="59386" y="48899"/>
                  </a:lnTo>
                  <a:lnTo>
                    <a:pt x="59386" y="58410"/>
                  </a:lnTo>
                  <a:lnTo>
                    <a:pt x="46948" y="69385"/>
                  </a:lnTo>
                  <a:lnTo>
                    <a:pt x="49752" y="79262"/>
                  </a:lnTo>
                  <a:lnTo>
                    <a:pt x="46948" y="82067"/>
                  </a:lnTo>
                  <a:lnTo>
                    <a:pt x="47801" y="82311"/>
                  </a:lnTo>
                  <a:lnTo>
                    <a:pt x="43533" y="88773"/>
                  </a:lnTo>
                  <a:lnTo>
                    <a:pt x="39143" y="95358"/>
                  </a:lnTo>
                  <a:lnTo>
                    <a:pt x="38412" y="96334"/>
                  </a:lnTo>
                  <a:lnTo>
                    <a:pt x="36826" y="98773"/>
                  </a:lnTo>
                  <a:lnTo>
                    <a:pt x="34022" y="99017"/>
                  </a:lnTo>
                  <a:lnTo>
                    <a:pt x="26339" y="99870"/>
                  </a:lnTo>
                  <a:lnTo>
                    <a:pt x="29144" y="110357"/>
                  </a:lnTo>
                  <a:lnTo>
                    <a:pt x="29144" y="132794"/>
                  </a:lnTo>
                  <a:lnTo>
                    <a:pt x="31949" y="151574"/>
                  </a:lnTo>
                  <a:lnTo>
                    <a:pt x="34997" y="165719"/>
                  </a:lnTo>
                  <a:lnTo>
                    <a:pt x="26339" y="176328"/>
                  </a:lnTo>
                  <a:lnTo>
                    <a:pt x="26339" y="183035"/>
                  </a:lnTo>
                  <a:lnTo>
                    <a:pt x="19511" y="189741"/>
                  </a:lnTo>
                  <a:lnTo>
                    <a:pt x="9390" y="191692"/>
                  </a:lnTo>
                  <a:lnTo>
                    <a:pt x="732" y="203643"/>
                  </a:lnTo>
                  <a:lnTo>
                    <a:pt x="0" y="217666"/>
                  </a:lnTo>
                  <a:lnTo>
                    <a:pt x="488" y="218032"/>
                  </a:lnTo>
                  <a:lnTo>
                    <a:pt x="9146" y="224007"/>
                  </a:lnTo>
                  <a:lnTo>
                    <a:pt x="14023" y="227299"/>
                  </a:lnTo>
                  <a:lnTo>
                    <a:pt x="17072" y="229372"/>
                  </a:lnTo>
                  <a:lnTo>
                    <a:pt x="16706" y="232909"/>
                  </a:lnTo>
                  <a:lnTo>
                    <a:pt x="16096" y="238640"/>
                  </a:lnTo>
                  <a:lnTo>
                    <a:pt x="18535" y="240225"/>
                  </a:lnTo>
                  <a:lnTo>
                    <a:pt x="19754" y="240957"/>
                  </a:lnTo>
                  <a:lnTo>
                    <a:pt x="24144" y="239128"/>
                  </a:lnTo>
                  <a:lnTo>
                    <a:pt x="25242" y="238640"/>
                  </a:lnTo>
                  <a:lnTo>
                    <a:pt x="42192" y="238640"/>
                  </a:lnTo>
                  <a:lnTo>
                    <a:pt x="43533" y="239371"/>
                  </a:lnTo>
                  <a:lnTo>
                    <a:pt x="51094" y="243517"/>
                  </a:lnTo>
                  <a:lnTo>
                    <a:pt x="51703" y="243030"/>
                  </a:lnTo>
                  <a:lnTo>
                    <a:pt x="54020" y="241079"/>
                  </a:lnTo>
                  <a:lnTo>
                    <a:pt x="55971" y="239493"/>
                  </a:lnTo>
                  <a:lnTo>
                    <a:pt x="58532" y="239737"/>
                  </a:lnTo>
                  <a:lnTo>
                    <a:pt x="75604" y="241444"/>
                  </a:lnTo>
                  <a:lnTo>
                    <a:pt x="78409" y="241688"/>
                  </a:lnTo>
                  <a:lnTo>
                    <a:pt x="79994" y="243883"/>
                  </a:lnTo>
                  <a:lnTo>
                    <a:pt x="94505" y="263882"/>
                  </a:lnTo>
                  <a:lnTo>
                    <a:pt x="110235" y="285709"/>
                  </a:lnTo>
                  <a:lnTo>
                    <a:pt x="149135" y="283148"/>
                  </a:lnTo>
                  <a:lnTo>
                    <a:pt x="150720" y="283027"/>
                  </a:lnTo>
                  <a:lnTo>
                    <a:pt x="152183" y="283636"/>
                  </a:lnTo>
                  <a:lnTo>
                    <a:pt x="168036" y="291197"/>
                  </a:lnTo>
                  <a:lnTo>
                    <a:pt x="172547" y="293392"/>
                  </a:lnTo>
                  <a:lnTo>
                    <a:pt x="171328" y="298147"/>
                  </a:lnTo>
                  <a:lnTo>
                    <a:pt x="168158" y="311439"/>
                  </a:lnTo>
                  <a:lnTo>
                    <a:pt x="172181" y="311439"/>
                  </a:lnTo>
                  <a:lnTo>
                    <a:pt x="180595" y="265833"/>
                  </a:lnTo>
                  <a:lnTo>
                    <a:pt x="175352" y="261321"/>
                  </a:lnTo>
                  <a:lnTo>
                    <a:pt x="173645" y="259736"/>
                  </a:lnTo>
                  <a:lnTo>
                    <a:pt x="173279" y="257541"/>
                  </a:lnTo>
                  <a:lnTo>
                    <a:pt x="170962" y="239250"/>
                  </a:lnTo>
                  <a:lnTo>
                    <a:pt x="169987" y="231567"/>
                  </a:lnTo>
                  <a:lnTo>
                    <a:pt x="177669" y="232421"/>
                  </a:lnTo>
                  <a:lnTo>
                    <a:pt x="181083" y="232787"/>
                  </a:lnTo>
                  <a:lnTo>
                    <a:pt x="183400" y="229250"/>
                  </a:lnTo>
                  <a:lnTo>
                    <a:pt x="172181" y="220105"/>
                  </a:lnTo>
                  <a:lnTo>
                    <a:pt x="169011" y="217666"/>
                  </a:lnTo>
                  <a:lnTo>
                    <a:pt x="170109" y="213764"/>
                  </a:lnTo>
                  <a:lnTo>
                    <a:pt x="171206" y="20986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4" name="Freihandform: Form 673">
              <a:extLst>
                <a:ext uri="{FF2B5EF4-FFF2-40B4-BE49-F238E27FC236}">
                  <a16:creationId xmlns:a16="http://schemas.microsoft.com/office/drawing/2014/main" id="{89F577F8-8323-4B16-9A73-FC1D91D92903}"/>
                </a:ext>
              </a:extLst>
            </p:cNvPr>
            <p:cNvSpPr/>
            <p:nvPr/>
          </p:nvSpPr>
          <p:spPr>
            <a:xfrm>
              <a:off x="2812504" y="3420367"/>
              <a:ext cx="99382" cy="111820"/>
            </a:xfrm>
            <a:custGeom>
              <a:avLst/>
              <a:gdLst>
                <a:gd name="connsiteX0" fmla="*/ 56337 w 99382"/>
                <a:gd name="connsiteY0" fmla="*/ 72921 h 111820"/>
                <a:gd name="connsiteX1" fmla="*/ 57190 w 99382"/>
                <a:gd name="connsiteY1" fmla="*/ 72068 h 111820"/>
                <a:gd name="connsiteX2" fmla="*/ 58288 w 99382"/>
                <a:gd name="connsiteY2" fmla="*/ 71580 h 111820"/>
                <a:gd name="connsiteX3" fmla="*/ 73531 w 99382"/>
                <a:gd name="connsiteY3" fmla="*/ 64873 h 111820"/>
                <a:gd name="connsiteX4" fmla="*/ 80847 w 99382"/>
                <a:gd name="connsiteY4" fmla="*/ 61581 h 111820"/>
                <a:gd name="connsiteX5" fmla="*/ 92798 w 99382"/>
                <a:gd name="connsiteY5" fmla="*/ 49752 h 111820"/>
                <a:gd name="connsiteX6" fmla="*/ 97553 w 99382"/>
                <a:gd name="connsiteY6" fmla="*/ 44996 h 111820"/>
                <a:gd name="connsiteX7" fmla="*/ 98163 w 99382"/>
                <a:gd name="connsiteY7" fmla="*/ 42314 h 111820"/>
                <a:gd name="connsiteX8" fmla="*/ 99382 w 99382"/>
                <a:gd name="connsiteY8" fmla="*/ 37680 h 111820"/>
                <a:gd name="connsiteX9" fmla="*/ 86578 w 99382"/>
                <a:gd name="connsiteY9" fmla="*/ 30241 h 111820"/>
                <a:gd name="connsiteX10" fmla="*/ 85725 w 99382"/>
                <a:gd name="connsiteY10" fmla="*/ 29632 h 111820"/>
                <a:gd name="connsiteX11" fmla="*/ 82798 w 99382"/>
                <a:gd name="connsiteY11" fmla="*/ 28047 h 111820"/>
                <a:gd name="connsiteX12" fmla="*/ 74628 w 99382"/>
                <a:gd name="connsiteY12" fmla="*/ 23535 h 111820"/>
                <a:gd name="connsiteX13" fmla="*/ 61337 w 99382"/>
                <a:gd name="connsiteY13" fmla="*/ 23535 h 111820"/>
                <a:gd name="connsiteX14" fmla="*/ 56459 w 99382"/>
                <a:gd name="connsiteY14" fmla="*/ 25608 h 111820"/>
                <a:gd name="connsiteX15" fmla="*/ 53532 w 99382"/>
                <a:gd name="connsiteY15" fmla="*/ 26949 h 111820"/>
                <a:gd name="connsiteX16" fmla="*/ 50850 w 99382"/>
                <a:gd name="connsiteY16" fmla="*/ 25242 h 111820"/>
                <a:gd name="connsiteX17" fmla="*/ 48777 w 99382"/>
                <a:gd name="connsiteY17" fmla="*/ 23900 h 111820"/>
                <a:gd name="connsiteX18" fmla="*/ 45240 w 99382"/>
                <a:gd name="connsiteY18" fmla="*/ 21827 h 111820"/>
                <a:gd name="connsiteX19" fmla="*/ 42070 w 99382"/>
                <a:gd name="connsiteY19" fmla="*/ 19754 h 111820"/>
                <a:gd name="connsiteX20" fmla="*/ 42436 w 99382"/>
                <a:gd name="connsiteY20" fmla="*/ 15974 h 111820"/>
                <a:gd name="connsiteX21" fmla="*/ 43045 w 99382"/>
                <a:gd name="connsiteY21" fmla="*/ 10243 h 111820"/>
                <a:gd name="connsiteX22" fmla="*/ 39021 w 99382"/>
                <a:gd name="connsiteY22" fmla="*/ 7438 h 111820"/>
                <a:gd name="connsiteX23" fmla="*/ 30851 w 99382"/>
                <a:gd name="connsiteY23" fmla="*/ 1829 h 111820"/>
                <a:gd name="connsiteX24" fmla="*/ 28168 w 99382"/>
                <a:gd name="connsiteY24" fmla="*/ 0 h 111820"/>
                <a:gd name="connsiteX25" fmla="*/ 24876 w 99382"/>
                <a:gd name="connsiteY25" fmla="*/ 0 h 111820"/>
                <a:gd name="connsiteX26" fmla="*/ 16828 w 99382"/>
                <a:gd name="connsiteY26" fmla="*/ 2683 h 111820"/>
                <a:gd name="connsiteX27" fmla="*/ 9633 w 99382"/>
                <a:gd name="connsiteY27" fmla="*/ 6707 h 111820"/>
                <a:gd name="connsiteX28" fmla="*/ 9633 w 99382"/>
                <a:gd name="connsiteY28" fmla="*/ 30120 h 111820"/>
                <a:gd name="connsiteX29" fmla="*/ 122 w 99382"/>
                <a:gd name="connsiteY29" fmla="*/ 37680 h 111820"/>
                <a:gd name="connsiteX30" fmla="*/ 122 w 99382"/>
                <a:gd name="connsiteY30" fmla="*/ 63288 h 111820"/>
                <a:gd name="connsiteX31" fmla="*/ 5853 w 99382"/>
                <a:gd name="connsiteY31" fmla="*/ 70482 h 111820"/>
                <a:gd name="connsiteX32" fmla="*/ 11706 w 99382"/>
                <a:gd name="connsiteY32" fmla="*/ 71214 h 111820"/>
                <a:gd name="connsiteX33" fmla="*/ 12438 w 99382"/>
                <a:gd name="connsiteY33" fmla="*/ 71214 h 111820"/>
                <a:gd name="connsiteX34" fmla="*/ 18779 w 99382"/>
                <a:gd name="connsiteY34" fmla="*/ 64873 h 111820"/>
                <a:gd name="connsiteX35" fmla="*/ 22925 w 99382"/>
                <a:gd name="connsiteY35" fmla="*/ 77067 h 111820"/>
                <a:gd name="connsiteX36" fmla="*/ 20730 w 99382"/>
                <a:gd name="connsiteY36" fmla="*/ 89505 h 111820"/>
                <a:gd name="connsiteX37" fmla="*/ 8902 w 99382"/>
                <a:gd name="connsiteY37" fmla="*/ 91578 h 111820"/>
                <a:gd name="connsiteX38" fmla="*/ 0 w 99382"/>
                <a:gd name="connsiteY38" fmla="*/ 94017 h 111820"/>
                <a:gd name="connsiteX39" fmla="*/ 1707 w 99382"/>
                <a:gd name="connsiteY39" fmla="*/ 99382 h 111820"/>
                <a:gd name="connsiteX40" fmla="*/ 2805 w 99382"/>
                <a:gd name="connsiteY40" fmla="*/ 102553 h 111820"/>
                <a:gd name="connsiteX41" fmla="*/ 18657 w 99382"/>
                <a:gd name="connsiteY41" fmla="*/ 102553 h 111820"/>
                <a:gd name="connsiteX42" fmla="*/ 20364 w 99382"/>
                <a:gd name="connsiteY42" fmla="*/ 104382 h 111820"/>
                <a:gd name="connsiteX43" fmla="*/ 27925 w 99382"/>
                <a:gd name="connsiteY43" fmla="*/ 111820 h 111820"/>
                <a:gd name="connsiteX44" fmla="*/ 31339 w 99382"/>
                <a:gd name="connsiteY44" fmla="*/ 111455 h 111820"/>
                <a:gd name="connsiteX45" fmla="*/ 30241 w 99382"/>
                <a:gd name="connsiteY45" fmla="*/ 104382 h 111820"/>
                <a:gd name="connsiteX46" fmla="*/ 29754 w 99382"/>
                <a:gd name="connsiteY46" fmla="*/ 101455 h 111820"/>
                <a:gd name="connsiteX47" fmla="*/ 31705 w 99382"/>
                <a:gd name="connsiteY47" fmla="*/ 99260 h 111820"/>
                <a:gd name="connsiteX48" fmla="*/ 56337 w 99382"/>
                <a:gd name="connsiteY48" fmla="*/ 72921 h 11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9382" h="111820">
                  <a:moveTo>
                    <a:pt x="56337" y="72921"/>
                  </a:moveTo>
                  <a:lnTo>
                    <a:pt x="57190" y="72068"/>
                  </a:lnTo>
                  <a:lnTo>
                    <a:pt x="58288" y="71580"/>
                  </a:lnTo>
                  <a:lnTo>
                    <a:pt x="73531" y="64873"/>
                  </a:lnTo>
                  <a:lnTo>
                    <a:pt x="80847" y="61581"/>
                  </a:lnTo>
                  <a:lnTo>
                    <a:pt x="92798" y="49752"/>
                  </a:lnTo>
                  <a:lnTo>
                    <a:pt x="97553" y="44996"/>
                  </a:lnTo>
                  <a:lnTo>
                    <a:pt x="98163" y="42314"/>
                  </a:lnTo>
                  <a:lnTo>
                    <a:pt x="99382" y="37680"/>
                  </a:lnTo>
                  <a:lnTo>
                    <a:pt x="86578" y="30241"/>
                  </a:lnTo>
                  <a:lnTo>
                    <a:pt x="85725" y="29632"/>
                  </a:lnTo>
                  <a:lnTo>
                    <a:pt x="82798" y="28047"/>
                  </a:lnTo>
                  <a:lnTo>
                    <a:pt x="74628" y="23535"/>
                  </a:lnTo>
                  <a:lnTo>
                    <a:pt x="61337" y="23535"/>
                  </a:lnTo>
                  <a:lnTo>
                    <a:pt x="56459" y="25608"/>
                  </a:lnTo>
                  <a:lnTo>
                    <a:pt x="53532" y="26949"/>
                  </a:lnTo>
                  <a:lnTo>
                    <a:pt x="50850" y="25242"/>
                  </a:lnTo>
                  <a:lnTo>
                    <a:pt x="48777" y="23900"/>
                  </a:lnTo>
                  <a:lnTo>
                    <a:pt x="45240" y="21827"/>
                  </a:lnTo>
                  <a:lnTo>
                    <a:pt x="42070" y="19754"/>
                  </a:lnTo>
                  <a:lnTo>
                    <a:pt x="42436" y="15974"/>
                  </a:lnTo>
                  <a:lnTo>
                    <a:pt x="43045" y="10243"/>
                  </a:lnTo>
                  <a:lnTo>
                    <a:pt x="39021" y="7438"/>
                  </a:lnTo>
                  <a:lnTo>
                    <a:pt x="30851" y="1829"/>
                  </a:lnTo>
                  <a:lnTo>
                    <a:pt x="28168" y="0"/>
                  </a:lnTo>
                  <a:lnTo>
                    <a:pt x="24876" y="0"/>
                  </a:lnTo>
                  <a:lnTo>
                    <a:pt x="16828" y="2683"/>
                  </a:lnTo>
                  <a:lnTo>
                    <a:pt x="9633" y="6707"/>
                  </a:lnTo>
                  <a:lnTo>
                    <a:pt x="9633" y="30120"/>
                  </a:lnTo>
                  <a:lnTo>
                    <a:pt x="122" y="37680"/>
                  </a:lnTo>
                  <a:lnTo>
                    <a:pt x="122" y="63288"/>
                  </a:lnTo>
                  <a:lnTo>
                    <a:pt x="5853" y="70482"/>
                  </a:lnTo>
                  <a:lnTo>
                    <a:pt x="11706" y="71214"/>
                  </a:lnTo>
                  <a:lnTo>
                    <a:pt x="12438" y="71214"/>
                  </a:lnTo>
                  <a:lnTo>
                    <a:pt x="18779" y="64873"/>
                  </a:lnTo>
                  <a:lnTo>
                    <a:pt x="22925" y="77067"/>
                  </a:lnTo>
                  <a:lnTo>
                    <a:pt x="20730" y="89505"/>
                  </a:lnTo>
                  <a:lnTo>
                    <a:pt x="8902" y="91578"/>
                  </a:lnTo>
                  <a:lnTo>
                    <a:pt x="0" y="94017"/>
                  </a:lnTo>
                  <a:lnTo>
                    <a:pt x="1707" y="99382"/>
                  </a:lnTo>
                  <a:lnTo>
                    <a:pt x="2805" y="102553"/>
                  </a:lnTo>
                  <a:lnTo>
                    <a:pt x="18657" y="102553"/>
                  </a:lnTo>
                  <a:lnTo>
                    <a:pt x="20364" y="104382"/>
                  </a:lnTo>
                  <a:lnTo>
                    <a:pt x="27925" y="111820"/>
                  </a:lnTo>
                  <a:lnTo>
                    <a:pt x="31339" y="111455"/>
                  </a:lnTo>
                  <a:lnTo>
                    <a:pt x="30241" y="104382"/>
                  </a:lnTo>
                  <a:lnTo>
                    <a:pt x="29754" y="101455"/>
                  </a:lnTo>
                  <a:lnTo>
                    <a:pt x="31705" y="99260"/>
                  </a:lnTo>
                  <a:lnTo>
                    <a:pt x="56337" y="7292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5" name="Freihandform: Form 674">
              <a:extLst>
                <a:ext uri="{FF2B5EF4-FFF2-40B4-BE49-F238E27FC236}">
                  <a16:creationId xmlns:a16="http://schemas.microsoft.com/office/drawing/2014/main" id="{F45F8349-134D-4BAF-9E8B-53F6D8B76EE8}"/>
                </a:ext>
              </a:extLst>
            </p:cNvPr>
            <p:cNvSpPr/>
            <p:nvPr/>
          </p:nvSpPr>
          <p:spPr>
            <a:xfrm>
              <a:off x="3267590" y="3323545"/>
              <a:ext cx="69384" cy="70848"/>
            </a:xfrm>
            <a:custGeom>
              <a:avLst/>
              <a:gdLst>
                <a:gd name="connsiteX0" fmla="*/ 64751 w 69384"/>
                <a:gd name="connsiteY0" fmla="*/ 13779 h 70848"/>
                <a:gd name="connsiteX1" fmla="*/ 65239 w 69384"/>
                <a:gd name="connsiteY1" fmla="*/ 12072 h 70848"/>
                <a:gd name="connsiteX2" fmla="*/ 66702 w 69384"/>
                <a:gd name="connsiteY2" fmla="*/ 10853 h 70848"/>
                <a:gd name="connsiteX3" fmla="*/ 69385 w 69384"/>
                <a:gd name="connsiteY3" fmla="*/ 8658 h 70848"/>
                <a:gd name="connsiteX4" fmla="*/ 69385 w 69384"/>
                <a:gd name="connsiteY4" fmla="*/ 4146 h 70848"/>
                <a:gd name="connsiteX5" fmla="*/ 63044 w 69384"/>
                <a:gd name="connsiteY5" fmla="*/ 1341 h 70848"/>
                <a:gd name="connsiteX6" fmla="*/ 21340 w 69384"/>
                <a:gd name="connsiteY6" fmla="*/ 0 h 70848"/>
                <a:gd name="connsiteX7" fmla="*/ 13536 w 69384"/>
                <a:gd name="connsiteY7" fmla="*/ 2927 h 70848"/>
                <a:gd name="connsiteX8" fmla="*/ 13536 w 69384"/>
                <a:gd name="connsiteY8" fmla="*/ 2927 h 70848"/>
                <a:gd name="connsiteX9" fmla="*/ 12194 w 69384"/>
                <a:gd name="connsiteY9" fmla="*/ 18657 h 70848"/>
                <a:gd name="connsiteX10" fmla="*/ 11950 w 69384"/>
                <a:gd name="connsiteY10" fmla="*/ 20852 h 70848"/>
                <a:gd name="connsiteX11" fmla="*/ 10365 w 69384"/>
                <a:gd name="connsiteY11" fmla="*/ 22437 h 70848"/>
                <a:gd name="connsiteX12" fmla="*/ 122 w 69384"/>
                <a:gd name="connsiteY12" fmla="*/ 32802 h 70848"/>
                <a:gd name="connsiteX13" fmla="*/ 0 w 69384"/>
                <a:gd name="connsiteY13" fmla="*/ 32924 h 70848"/>
                <a:gd name="connsiteX14" fmla="*/ 610 w 69384"/>
                <a:gd name="connsiteY14" fmla="*/ 44874 h 70848"/>
                <a:gd name="connsiteX15" fmla="*/ 4512 w 69384"/>
                <a:gd name="connsiteY15" fmla="*/ 46826 h 70848"/>
                <a:gd name="connsiteX16" fmla="*/ 14389 w 69384"/>
                <a:gd name="connsiteY16" fmla="*/ 51825 h 70848"/>
                <a:gd name="connsiteX17" fmla="*/ 17925 w 69384"/>
                <a:gd name="connsiteY17" fmla="*/ 53532 h 70848"/>
                <a:gd name="connsiteX18" fmla="*/ 17804 w 69384"/>
                <a:gd name="connsiteY18" fmla="*/ 57434 h 70848"/>
                <a:gd name="connsiteX19" fmla="*/ 17438 w 69384"/>
                <a:gd name="connsiteY19" fmla="*/ 70482 h 70848"/>
                <a:gd name="connsiteX20" fmla="*/ 18169 w 69384"/>
                <a:gd name="connsiteY20" fmla="*/ 70482 h 70848"/>
                <a:gd name="connsiteX21" fmla="*/ 28412 w 69384"/>
                <a:gd name="connsiteY21" fmla="*/ 70848 h 70848"/>
                <a:gd name="connsiteX22" fmla="*/ 29022 w 69384"/>
                <a:gd name="connsiteY22" fmla="*/ 69629 h 70848"/>
                <a:gd name="connsiteX23" fmla="*/ 30364 w 69384"/>
                <a:gd name="connsiteY23" fmla="*/ 66946 h 70848"/>
                <a:gd name="connsiteX24" fmla="*/ 32437 w 69384"/>
                <a:gd name="connsiteY24" fmla="*/ 62922 h 70848"/>
                <a:gd name="connsiteX25" fmla="*/ 36826 w 69384"/>
                <a:gd name="connsiteY25" fmla="*/ 63654 h 70848"/>
                <a:gd name="connsiteX26" fmla="*/ 40241 w 69384"/>
                <a:gd name="connsiteY26" fmla="*/ 64141 h 70848"/>
                <a:gd name="connsiteX27" fmla="*/ 42192 w 69384"/>
                <a:gd name="connsiteY27" fmla="*/ 64507 h 70848"/>
                <a:gd name="connsiteX28" fmla="*/ 45728 w 69384"/>
                <a:gd name="connsiteY28" fmla="*/ 67921 h 70848"/>
                <a:gd name="connsiteX29" fmla="*/ 61337 w 69384"/>
                <a:gd name="connsiteY29" fmla="*/ 67190 h 70848"/>
                <a:gd name="connsiteX30" fmla="*/ 61337 w 69384"/>
                <a:gd name="connsiteY30" fmla="*/ 67190 h 70848"/>
                <a:gd name="connsiteX31" fmla="*/ 67190 w 69384"/>
                <a:gd name="connsiteY31" fmla="*/ 54874 h 70848"/>
                <a:gd name="connsiteX32" fmla="*/ 65848 w 69384"/>
                <a:gd name="connsiteY32" fmla="*/ 51215 h 70848"/>
                <a:gd name="connsiteX33" fmla="*/ 59508 w 69384"/>
                <a:gd name="connsiteY33" fmla="*/ 34387 h 70848"/>
                <a:gd name="connsiteX34" fmla="*/ 58776 w 69384"/>
                <a:gd name="connsiteY34" fmla="*/ 32437 h 70848"/>
                <a:gd name="connsiteX35" fmla="*/ 59386 w 69384"/>
                <a:gd name="connsiteY35" fmla="*/ 30485 h 70848"/>
                <a:gd name="connsiteX36" fmla="*/ 64751 w 69384"/>
                <a:gd name="connsiteY36" fmla="*/ 13779 h 7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9384" h="70848">
                  <a:moveTo>
                    <a:pt x="64751" y="13779"/>
                  </a:moveTo>
                  <a:lnTo>
                    <a:pt x="65239" y="12072"/>
                  </a:lnTo>
                  <a:lnTo>
                    <a:pt x="66702" y="10853"/>
                  </a:lnTo>
                  <a:lnTo>
                    <a:pt x="69385" y="8658"/>
                  </a:lnTo>
                  <a:lnTo>
                    <a:pt x="69385" y="4146"/>
                  </a:lnTo>
                  <a:lnTo>
                    <a:pt x="63044" y="1341"/>
                  </a:lnTo>
                  <a:lnTo>
                    <a:pt x="21340" y="0"/>
                  </a:lnTo>
                  <a:lnTo>
                    <a:pt x="13536" y="2927"/>
                  </a:lnTo>
                  <a:lnTo>
                    <a:pt x="13536" y="2927"/>
                  </a:lnTo>
                  <a:lnTo>
                    <a:pt x="12194" y="18657"/>
                  </a:lnTo>
                  <a:lnTo>
                    <a:pt x="11950" y="20852"/>
                  </a:lnTo>
                  <a:lnTo>
                    <a:pt x="10365" y="22437"/>
                  </a:lnTo>
                  <a:lnTo>
                    <a:pt x="122" y="32802"/>
                  </a:lnTo>
                  <a:lnTo>
                    <a:pt x="0" y="32924"/>
                  </a:lnTo>
                  <a:lnTo>
                    <a:pt x="610" y="44874"/>
                  </a:lnTo>
                  <a:lnTo>
                    <a:pt x="4512" y="46826"/>
                  </a:lnTo>
                  <a:lnTo>
                    <a:pt x="14389" y="51825"/>
                  </a:lnTo>
                  <a:lnTo>
                    <a:pt x="17925" y="53532"/>
                  </a:lnTo>
                  <a:lnTo>
                    <a:pt x="17804" y="57434"/>
                  </a:lnTo>
                  <a:lnTo>
                    <a:pt x="17438" y="70482"/>
                  </a:lnTo>
                  <a:lnTo>
                    <a:pt x="18169" y="70482"/>
                  </a:lnTo>
                  <a:lnTo>
                    <a:pt x="28412" y="70848"/>
                  </a:lnTo>
                  <a:lnTo>
                    <a:pt x="29022" y="69629"/>
                  </a:lnTo>
                  <a:lnTo>
                    <a:pt x="30364" y="66946"/>
                  </a:lnTo>
                  <a:lnTo>
                    <a:pt x="32437" y="62922"/>
                  </a:lnTo>
                  <a:lnTo>
                    <a:pt x="36826" y="63654"/>
                  </a:lnTo>
                  <a:lnTo>
                    <a:pt x="40241" y="64141"/>
                  </a:lnTo>
                  <a:lnTo>
                    <a:pt x="42192" y="64507"/>
                  </a:lnTo>
                  <a:lnTo>
                    <a:pt x="45728" y="67921"/>
                  </a:lnTo>
                  <a:lnTo>
                    <a:pt x="61337" y="67190"/>
                  </a:lnTo>
                  <a:lnTo>
                    <a:pt x="61337" y="67190"/>
                  </a:lnTo>
                  <a:lnTo>
                    <a:pt x="67190" y="54874"/>
                  </a:lnTo>
                  <a:lnTo>
                    <a:pt x="65848" y="51215"/>
                  </a:lnTo>
                  <a:lnTo>
                    <a:pt x="59508" y="34387"/>
                  </a:lnTo>
                  <a:lnTo>
                    <a:pt x="58776" y="32437"/>
                  </a:lnTo>
                  <a:lnTo>
                    <a:pt x="59386" y="30485"/>
                  </a:lnTo>
                  <a:lnTo>
                    <a:pt x="64751" y="1377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6" name="Freihandform: Form 675">
              <a:extLst>
                <a:ext uri="{FF2B5EF4-FFF2-40B4-BE49-F238E27FC236}">
                  <a16:creationId xmlns:a16="http://schemas.microsoft.com/office/drawing/2014/main" id="{95CAE193-026B-41CD-A5FB-896CF1930991}"/>
                </a:ext>
              </a:extLst>
            </p:cNvPr>
            <p:cNvSpPr/>
            <p:nvPr/>
          </p:nvSpPr>
          <p:spPr>
            <a:xfrm>
              <a:off x="3334780" y="3329886"/>
              <a:ext cx="50483" cy="67067"/>
            </a:xfrm>
            <a:custGeom>
              <a:avLst/>
              <a:gdLst>
                <a:gd name="connsiteX0" fmla="*/ 2317 w 50483"/>
                <a:gd name="connsiteY0" fmla="*/ 62190 h 67067"/>
                <a:gd name="connsiteX1" fmla="*/ 6951 w 50483"/>
                <a:gd name="connsiteY1" fmla="*/ 63654 h 67067"/>
                <a:gd name="connsiteX2" fmla="*/ 17682 w 50483"/>
                <a:gd name="connsiteY2" fmla="*/ 65239 h 67067"/>
                <a:gd name="connsiteX3" fmla="*/ 29144 w 50483"/>
                <a:gd name="connsiteY3" fmla="*/ 67068 h 67067"/>
                <a:gd name="connsiteX4" fmla="*/ 36705 w 50483"/>
                <a:gd name="connsiteY4" fmla="*/ 57190 h 67067"/>
                <a:gd name="connsiteX5" fmla="*/ 45850 w 50483"/>
                <a:gd name="connsiteY5" fmla="*/ 37924 h 67067"/>
                <a:gd name="connsiteX6" fmla="*/ 46460 w 50483"/>
                <a:gd name="connsiteY6" fmla="*/ 36095 h 67067"/>
                <a:gd name="connsiteX7" fmla="*/ 49874 w 50483"/>
                <a:gd name="connsiteY7" fmla="*/ 24388 h 67067"/>
                <a:gd name="connsiteX8" fmla="*/ 50484 w 50483"/>
                <a:gd name="connsiteY8" fmla="*/ 22071 h 67067"/>
                <a:gd name="connsiteX9" fmla="*/ 30729 w 50483"/>
                <a:gd name="connsiteY9" fmla="*/ 4756 h 67067"/>
                <a:gd name="connsiteX10" fmla="*/ 22681 w 50483"/>
                <a:gd name="connsiteY10" fmla="*/ 2073 h 67067"/>
                <a:gd name="connsiteX11" fmla="*/ 11097 w 50483"/>
                <a:gd name="connsiteY11" fmla="*/ 122 h 67067"/>
                <a:gd name="connsiteX12" fmla="*/ 10243 w 50483"/>
                <a:gd name="connsiteY12" fmla="*/ 0 h 67067"/>
                <a:gd name="connsiteX13" fmla="*/ 10243 w 50483"/>
                <a:gd name="connsiteY13" fmla="*/ 6219 h 67067"/>
                <a:gd name="connsiteX14" fmla="*/ 7926 w 50483"/>
                <a:gd name="connsiteY14" fmla="*/ 8048 h 67067"/>
                <a:gd name="connsiteX15" fmla="*/ 7195 w 50483"/>
                <a:gd name="connsiteY15" fmla="*/ 8536 h 67067"/>
                <a:gd name="connsiteX16" fmla="*/ 4878 w 50483"/>
                <a:gd name="connsiteY16" fmla="*/ 10365 h 67067"/>
                <a:gd name="connsiteX17" fmla="*/ 0 w 50483"/>
                <a:gd name="connsiteY17" fmla="*/ 25852 h 67067"/>
                <a:gd name="connsiteX18" fmla="*/ 5731 w 50483"/>
                <a:gd name="connsiteY18" fmla="*/ 41216 h 67067"/>
                <a:gd name="connsiteX19" fmla="*/ 7804 w 50483"/>
                <a:gd name="connsiteY19" fmla="*/ 46460 h 67067"/>
                <a:gd name="connsiteX20" fmla="*/ 8658 w 50483"/>
                <a:gd name="connsiteY20" fmla="*/ 48899 h 67067"/>
                <a:gd name="connsiteX21" fmla="*/ 7561 w 50483"/>
                <a:gd name="connsiteY21" fmla="*/ 51215 h 67067"/>
                <a:gd name="connsiteX22" fmla="*/ 2317 w 50483"/>
                <a:gd name="connsiteY22" fmla="*/ 62190 h 6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483" h="67067">
                  <a:moveTo>
                    <a:pt x="2317" y="62190"/>
                  </a:moveTo>
                  <a:lnTo>
                    <a:pt x="6951" y="63654"/>
                  </a:lnTo>
                  <a:lnTo>
                    <a:pt x="17682" y="65239"/>
                  </a:lnTo>
                  <a:lnTo>
                    <a:pt x="29144" y="67068"/>
                  </a:lnTo>
                  <a:lnTo>
                    <a:pt x="36705" y="57190"/>
                  </a:lnTo>
                  <a:lnTo>
                    <a:pt x="45850" y="37924"/>
                  </a:lnTo>
                  <a:lnTo>
                    <a:pt x="46460" y="36095"/>
                  </a:lnTo>
                  <a:lnTo>
                    <a:pt x="49874" y="24388"/>
                  </a:lnTo>
                  <a:lnTo>
                    <a:pt x="50484" y="22071"/>
                  </a:lnTo>
                  <a:lnTo>
                    <a:pt x="30729" y="4756"/>
                  </a:lnTo>
                  <a:lnTo>
                    <a:pt x="22681" y="2073"/>
                  </a:lnTo>
                  <a:lnTo>
                    <a:pt x="11097" y="122"/>
                  </a:lnTo>
                  <a:lnTo>
                    <a:pt x="10243" y="0"/>
                  </a:lnTo>
                  <a:lnTo>
                    <a:pt x="10243" y="6219"/>
                  </a:lnTo>
                  <a:lnTo>
                    <a:pt x="7926" y="8048"/>
                  </a:lnTo>
                  <a:lnTo>
                    <a:pt x="7195" y="8536"/>
                  </a:lnTo>
                  <a:lnTo>
                    <a:pt x="4878" y="10365"/>
                  </a:lnTo>
                  <a:lnTo>
                    <a:pt x="0" y="25852"/>
                  </a:lnTo>
                  <a:lnTo>
                    <a:pt x="5731" y="41216"/>
                  </a:lnTo>
                  <a:lnTo>
                    <a:pt x="7804" y="46460"/>
                  </a:lnTo>
                  <a:lnTo>
                    <a:pt x="8658" y="48899"/>
                  </a:lnTo>
                  <a:lnTo>
                    <a:pt x="7561" y="51215"/>
                  </a:lnTo>
                  <a:lnTo>
                    <a:pt x="2317" y="6219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7" name="Freihandform: Form 676">
              <a:extLst>
                <a:ext uri="{FF2B5EF4-FFF2-40B4-BE49-F238E27FC236}">
                  <a16:creationId xmlns:a16="http://schemas.microsoft.com/office/drawing/2014/main" id="{50A6DB51-439F-434D-BB4E-8A8D33850BFD}"/>
                </a:ext>
              </a:extLst>
            </p:cNvPr>
            <p:cNvSpPr/>
            <p:nvPr/>
          </p:nvSpPr>
          <p:spPr>
            <a:xfrm>
              <a:off x="3194181" y="2387765"/>
              <a:ext cx="17071" cy="30119"/>
            </a:xfrm>
            <a:custGeom>
              <a:avLst/>
              <a:gdLst>
                <a:gd name="connsiteX0" fmla="*/ 7804 w 17071"/>
                <a:gd name="connsiteY0" fmla="*/ 12926 h 30119"/>
                <a:gd name="connsiteX1" fmla="*/ 0 w 17071"/>
                <a:gd name="connsiteY1" fmla="*/ 23413 h 30119"/>
                <a:gd name="connsiteX2" fmla="*/ 2195 w 17071"/>
                <a:gd name="connsiteY2" fmla="*/ 30120 h 30119"/>
                <a:gd name="connsiteX3" fmla="*/ 6341 w 17071"/>
                <a:gd name="connsiteY3" fmla="*/ 25486 h 30119"/>
                <a:gd name="connsiteX4" fmla="*/ 15487 w 17071"/>
                <a:gd name="connsiteY4" fmla="*/ 11828 h 30119"/>
                <a:gd name="connsiteX5" fmla="*/ 17072 w 17071"/>
                <a:gd name="connsiteY5" fmla="*/ 975 h 30119"/>
                <a:gd name="connsiteX6" fmla="*/ 13170 w 17071"/>
                <a:gd name="connsiteY6" fmla="*/ 0 h 30119"/>
                <a:gd name="connsiteX7" fmla="*/ 7804 w 17071"/>
                <a:gd name="connsiteY7" fmla="*/ 12926 h 3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71" h="30119">
                  <a:moveTo>
                    <a:pt x="7804" y="12926"/>
                  </a:moveTo>
                  <a:lnTo>
                    <a:pt x="0" y="23413"/>
                  </a:lnTo>
                  <a:lnTo>
                    <a:pt x="2195" y="30120"/>
                  </a:lnTo>
                  <a:lnTo>
                    <a:pt x="6341" y="25486"/>
                  </a:lnTo>
                  <a:lnTo>
                    <a:pt x="15487" y="11828"/>
                  </a:lnTo>
                  <a:lnTo>
                    <a:pt x="17072" y="975"/>
                  </a:lnTo>
                  <a:lnTo>
                    <a:pt x="13170" y="0"/>
                  </a:lnTo>
                  <a:lnTo>
                    <a:pt x="7804" y="12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8" name="Freihandform: Form 677">
              <a:extLst>
                <a:ext uri="{FF2B5EF4-FFF2-40B4-BE49-F238E27FC236}">
                  <a16:creationId xmlns:a16="http://schemas.microsoft.com/office/drawing/2014/main" id="{AE8072B3-D072-4280-908B-54799C3FB9CD}"/>
                </a:ext>
              </a:extLst>
            </p:cNvPr>
            <p:cNvSpPr/>
            <p:nvPr/>
          </p:nvSpPr>
          <p:spPr>
            <a:xfrm>
              <a:off x="3192596" y="3114781"/>
              <a:ext cx="2316" cy="1097"/>
            </a:xfrm>
            <a:custGeom>
              <a:avLst/>
              <a:gdLst>
                <a:gd name="connsiteX0" fmla="*/ 0 w 2316"/>
                <a:gd name="connsiteY0" fmla="*/ 1097 h 1097"/>
                <a:gd name="connsiteX1" fmla="*/ 2317 w 2316"/>
                <a:gd name="connsiteY1" fmla="*/ 1097 h 1097"/>
                <a:gd name="connsiteX2" fmla="*/ 2317 w 2316"/>
                <a:gd name="connsiteY2" fmla="*/ 0 h 1097"/>
                <a:gd name="connsiteX3" fmla="*/ 0 w 2316"/>
                <a:gd name="connsiteY3" fmla="*/ 1097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6" h="1097">
                  <a:moveTo>
                    <a:pt x="0" y="1097"/>
                  </a:moveTo>
                  <a:lnTo>
                    <a:pt x="2317" y="1097"/>
                  </a:lnTo>
                  <a:lnTo>
                    <a:pt x="2317" y="0"/>
                  </a:lnTo>
                  <a:lnTo>
                    <a:pt x="0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79" name="Freihandform: Form 678">
              <a:extLst>
                <a:ext uri="{FF2B5EF4-FFF2-40B4-BE49-F238E27FC236}">
                  <a16:creationId xmlns:a16="http://schemas.microsoft.com/office/drawing/2014/main" id="{E4065443-AF02-49FC-8A05-0DEAF81E256B}"/>
                </a:ext>
              </a:extLst>
            </p:cNvPr>
            <p:cNvSpPr/>
            <p:nvPr/>
          </p:nvSpPr>
          <p:spPr>
            <a:xfrm>
              <a:off x="2659833" y="3122097"/>
              <a:ext cx="1707" cy="731"/>
            </a:xfrm>
            <a:custGeom>
              <a:avLst/>
              <a:gdLst>
                <a:gd name="connsiteX0" fmla="*/ 0 w 1707"/>
                <a:gd name="connsiteY0" fmla="*/ 732 h 731"/>
                <a:gd name="connsiteX1" fmla="*/ 1707 w 1707"/>
                <a:gd name="connsiteY1" fmla="*/ 610 h 731"/>
                <a:gd name="connsiteX2" fmla="*/ 732 w 1707"/>
                <a:gd name="connsiteY2" fmla="*/ 122 h 731"/>
                <a:gd name="connsiteX3" fmla="*/ 366 w 1707"/>
                <a:gd name="connsiteY3" fmla="*/ 0 h 731"/>
                <a:gd name="connsiteX4" fmla="*/ 0 w 1707"/>
                <a:gd name="connsiteY4" fmla="*/ 732 h 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" h="731">
                  <a:moveTo>
                    <a:pt x="0" y="732"/>
                  </a:moveTo>
                  <a:lnTo>
                    <a:pt x="1707" y="610"/>
                  </a:lnTo>
                  <a:lnTo>
                    <a:pt x="732" y="122"/>
                  </a:lnTo>
                  <a:lnTo>
                    <a:pt x="366" y="0"/>
                  </a:lnTo>
                  <a:lnTo>
                    <a:pt x="0" y="7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0" name="Freihandform: Form 679">
              <a:extLst>
                <a:ext uri="{FF2B5EF4-FFF2-40B4-BE49-F238E27FC236}">
                  <a16:creationId xmlns:a16="http://schemas.microsoft.com/office/drawing/2014/main" id="{48973894-1EC2-4C2F-A1D2-18065A8A2062}"/>
                </a:ext>
              </a:extLst>
            </p:cNvPr>
            <p:cNvSpPr/>
            <p:nvPr/>
          </p:nvSpPr>
          <p:spPr>
            <a:xfrm>
              <a:off x="3236373" y="2250337"/>
              <a:ext cx="129989" cy="146086"/>
            </a:xfrm>
            <a:custGeom>
              <a:avLst/>
              <a:gdLst>
                <a:gd name="connsiteX0" fmla="*/ 65605 w 129989"/>
                <a:gd name="connsiteY0" fmla="*/ 62068 h 146086"/>
                <a:gd name="connsiteX1" fmla="*/ 67434 w 129989"/>
                <a:gd name="connsiteY1" fmla="*/ 49630 h 146086"/>
                <a:gd name="connsiteX2" fmla="*/ 61215 w 129989"/>
                <a:gd name="connsiteY2" fmla="*/ 48411 h 146086"/>
                <a:gd name="connsiteX3" fmla="*/ 49021 w 129989"/>
                <a:gd name="connsiteY3" fmla="*/ 62922 h 146086"/>
                <a:gd name="connsiteX4" fmla="*/ 45850 w 129989"/>
                <a:gd name="connsiteY4" fmla="*/ 50606 h 146086"/>
                <a:gd name="connsiteX5" fmla="*/ 72433 w 129989"/>
                <a:gd name="connsiteY5" fmla="*/ 0 h 146086"/>
                <a:gd name="connsiteX6" fmla="*/ 56093 w 129989"/>
                <a:gd name="connsiteY6" fmla="*/ 3536 h 146086"/>
                <a:gd name="connsiteX7" fmla="*/ 31217 w 129989"/>
                <a:gd name="connsiteY7" fmla="*/ 47801 h 146086"/>
                <a:gd name="connsiteX8" fmla="*/ 26339 w 129989"/>
                <a:gd name="connsiteY8" fmla="*/ 68897 h 146086"/>
                <a:gd name="connsiteX9" fmla="*/ 18901 w 129989"/>
                <a:gd name="connsiteY9" fmla="*/ 75482 h 146086"/>
                <a:gd name="connsiteX10" fmla="*/ 17925 w 129989"/>
                <a:gd name="connsiteY10" fmla="*/ 84384 h 146086"/>
                <a:gd name="connsiteX11" fmla="*/ 610 w 129989"/>
                <a:gd name="connsiteY11" fmla="*/ 92554 h 146086"/>
                <a:gd name="connsiteX12" fmla="*/ 1341 w 129989"/>
                <a:gd name="connsiteY12" fmla="*/ 94871 h 146086"/>
                <a:gd name="connsiteX13" fmla="*/ 14999 w 129989"/>
                <a:gd name="connsiteY13" fmla="*/ 93529 h 146086"/>
                <a:gd name="connsiteX14" fmla="*/ 0 w 129989"/>
                <a:gd name="connsiteY14" fmla="*/ 108406 h 146086"/>
                <a:gd name="connsiteX15" fmla="*/ 9146 w 129989"/>
                <a:gd name="connsiteY15" fmla="*/ 117552 h 146086"/>
                <a:gd name="connsiteX16" fmla="*/ 35119 w 129989"/>
                <a:gd name="connsiteY16" fmla="*/ 114869 h 146086"/>
                <a:gd name="connsiteX17" fmla="*/ 47069 w 129989"/>
                <a:gd name="connsiteY17" fmla="*/ 118527 h 146086"/>
                <a:gd name="connsiteX18" fmla="*/ 63044 w 129989"/>
                <a:gd name="connsiteY18" fmla="*/ 112552 h 146086"/>
                <a:gd name="connsiteX19" fmla="*/ 68653 w 129989"/>
                <a:gd name="connsiteY19" fmla="*/ 119991 h 146086"/>
                <a:gd name="connsiteX20" fmla="*/ 82920 w 129989"/>
                <a:gd name="connsiteY20" fmla="*/ 112796 h 146086"/>
                <a:gd name="connsiteX21" fmla="*/ 84993 w 129989"/>
                <a:gd name="connsiteY21" fmla="*/ 129258 h 146086"/>
                <a:gd name="connsiteX22" fmla="*/ 90725 w 129989"/>
                <a:gd name="connsiteY22" fmla="*/ 129868 h 146086"/>
                <a:gd name="connsiteX23" fmla="*/ 104992 w 129989"/>
                <a:gd name="connsiteY23" fmla="*/ 114503 h 146086"/>
                <a:gd name="connsiteX24" fmla="*/ 109016 w 129989"/>
                <a:gd name="connsiteY24" fmla="*/ 130356 h 146086"/>
                <a:gd name="connsiteX25" fmla="*/ 105967 w 129989"/>
                <a:gd name="connsiteY25" fmla="*/ 137184 h 146086"/>
                <a:gd name="connsiteX26" fmla="*/ 113772 w 129989"/>
                <a:gd name="connsiteY26" fmla="*/ 138648 h 146086"/>
                <a:gd name="connsiteX27" fmla="*/ 117430 w 129989"/>
                <a:gd name="connsiteY27" fmla="*/ 146086 h 146086"/>
                <a:gd name="connsiteX28" fmla="*/ 127429 w 129989"/>
                <a:gd name="connsiteY28" fmla="*/ 146086 h 146086"/>
                <a:gd name="connsiteX29" fmla="*/ 129990 w 129989"/>
                <a:gd name="connsiteY29" fmla="*/ 114381 h 146086"/>
                <a:gd name="connsiteX30" fmla="*/ 112552 w 129989"/>
                <a:gd name="connsiteY30" fmla="*/ 105114 h 146086"/>
                <a:gd name="connsiteX31" fmla="*/ 125722 w 129989"/>
                <a:gd name="connsiteY31" fmla="*/ 101090 h 146086"/>
                <a:gd name="connsiteX32" fmla="*/ 127673 w 129989"/>
                <a:gd name="connsiteY32" fmla="*/ 91334 h 146086"/>
                <a:gd name="connsiteX33" fmla="*/ 105114 w 129989"/>
                <a:gd name="connsiteY33" fmla="*/ 95968 h 146086"/>
                <a:gd name="connsiteX34" fmla="*/ 109016 w 129989"/>
                <a:gd name="connsiteY34" fmla="*/ 69507 h 146086"/>
                <a:gd name="connsiteX35" fmla="*/ 94627 w 129989"/>
                <a:gd name="connsiteY35" fmla="*/ 66214 h 146086"/>
                <a:gd name="connsiteX36" fmla="*/ 77189 w 129989"/>
                <a:gd name="connsiteY36" fmla="*/ 72799 h 146086"/>
                <a:gd name="connsiteX37" fmla="*/ 77189 w 129989"/>
                <a:gd name="connsiteY37" fmla="*/ 63897 h 146086"/>
                <a:gd name="connsiteX38" fmla="*/ 65605 w 129989"/>
                <a:gd name="connsiteY38" fmla="*/ 62068 h 14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9989" h="146086">
                  <a:moveTo>
                    <a:pt x="65605" y="62068"/>
                  </a:moveTo>
                  <a:lnTo>
                    <a:pt x="67434" y="49630"/>
                  </a:lnTo>
                  <a:lnTo>
                    <a:pt x="61215" y="48411"/>
                  </a:lnTo>
                  <a:lnTo>
                    <a:pt x="49021" y="62922"/>
                  </a:lnTo>
                  <a:lnTo>
                    <a:pt x="45850" y="50606"/>
                  </a:lnTo>
                  <a:lnTo>
                    <a:pt x="72433" y="0"/>
                  </a:lnTo>
                  <a:lnTo>
                    <a:pt x="56093" y="3536"/>
                  </a:lnTo>
                  <a:lnTo>
                    <a:pt x="31217" y="47801"/>
                  </a:lnTo>
                  <a:lnTo>
                    <a:pt x="26339" y="68897"/>
                  </a:lnTo>
                  <a:lnTo>
                    <a:pt x="18901" y="75482"/>
                  </a:lnTo>
                  <a:lnTo>
                    <a:pt x="17925" y="84384"/>
                  </a:lnTo>
                  <a:lnTo>
                    <a:pt x="610" y="92554"/>
                  </a:lnTo>
                  <a:lnTo>
                    <a:pt x="1341" y="94871"/>
                  </a:lnTo>
                  <a:lnTo>
                    <a:pt x="14999" y="93529"/>
                  </a:lnTo>
                  <a:lnTo>
                    <a:pt x="0" y="108406"/>
                  </a:lnTo>
                  <a:lnTo>
                    <a:pt x="9146" y="117552"/>
                  </a:lnTo>
                  <a:lnTo>
                    <a:pt x="35119" y="114869"/>
                  </a:lnTo>
                  <a:lnTo>
                    <a:pt x="47069" y="118527"/>
                  </a:lnTo>
                  <a:lnTo>
                    <a:pt x="63044" y="112552"/>
                  </a:lnTo>
                  <a:lnTo>
                    <a:pt x="68653" y="119991"/>
                  </a:lnTo>
                  <a:lnTo>
                    <a:pt x="82920" y="112796"/>
                  </a:lnTo>
                  <a:lnTo>
                    <a:pt x="84993" y="129258"/>
                  </a:lnTo>
                  <a:lnTo>
                    <a:pt x="90725" y="129868"/>
                  </a:lnTo>
                  <a:lnTo>
                    <a:pt x="104992" y="114503"/>
                  </a:lnTo>
                  <a:lnTo>
                    <a:pt x="109016" y="130356"/>
                  </a:lnTo>
                  <a:lnTo>
                    <a:pt x="105967" y="137184"/>
                  </a:lnTo>
                  <a:lnTo>
                    <a:pt x="113772" y="138648"/>
                  </a:lnTo>
                  <a:lnTo>
                    <a:pt x="117430" y="146086"/>
                  </a:lnTo>
                  <a:lnTo>
                    <a:pt x="127429" y="146086"/>
                  </a:lnTo>
                  <a:lnTo>
                    <a:pt x="129990" y="114381"/>
                  </a:lnTo>
                  <a:lnTo>
                    <a:pt x="112552" y="105114"/>
                  </a:lnTo>
                  <a:lnTo>
                    <a:pt x="125722" y="101090"/>
                  </a:lnTo>
                  <a:lnTo>
                    <a:pt x="127673" y="91334"/>
                  </a:lnTo>
                  <a:lnTo>
                    <a:pt x="105114" y="95968"/>
                  </a:lnTo>
                  <a:lnTo>
                    <a:pt x="109016" y="69507"/>
                  </a:lnTo>
                  <a:lnTo>
                    <a:pt x="94627" y="66214"/>
                  </a:lnTo>
                  <a:lnTo>
                    <a:pt x="77189" y="72799"/>
                  </a:lnTo>
                  <a:lnTo>
                    <a:pt x="77189" y="63897"/>
                  </a:lnTo>
                  <a:lnTo>
                    <a:pt x="65605" y="6206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1" name="Freihandform: Form 680">
              <a:extLst>
                <a:ext uri="{FF2B5EF4-FFF2-40B4-BE49-F238E27FC236}">
                  <a16:creationId xmlns:a16="http://schemas.microsoft.com/office/drawing/2014/main" id="{13F7FBC9-7B1F-41B8-A450-CCBAE3B8A5E2}"/>
                </a:ext>
              </a:extLst>
            </p:cNvPr>
            <p:cNvSpPr/>
            <p:nvPr/>
          </p:nvSpPr>
          <p:spPr>
            <a:xfrm>
              <a:off x="3145405" y="2299601"/>
              <a:ext cx="42070" cy="24876"/>
            </a:xfrm>
            <a:custGeom>
              <a:avLst/>
              <a:gdLst>
                <a:gd name="connsiteX0" fmla="*/ 42070 w 42070"/>
                <a:gd name="connsiteY0" fmla="*/ 22437 h 24876"/>
                <a:gd name="connsiteX1" fmla="*/ 13414 w 42070"/>
                <a:gd name="connsiteY1" fmla="*/ 1585 h 24876"/>
                <a:gd name="connsiteX2" fmla="*/ 6341 w 42070"/>
                <a:gd name="connsiteY2" fmla="*/ 0 h 24876"/>
                <a:gd name="connsiteX3" fmla="*/ 0 w 42070"/>
                <a:gd name="connsiteY3" fmla="*/ 5731 h 24876"/>
                <a:gd name="connsiteX4" fmla="*/ 5365 w 42070"/>
                <a:gd name="connsiteY4" fmla="*/ 15121 h 24876"/>
                <a:gd name="connsiteX5" fmla="*/ 20608 w 42070"/>
                <a:gd name="connsiteY5" fmla="*/ 24023 h 24876"/>
                <a:gd name="connsiteX6" fmla="*/ 39143 w 42070"/>
                <a:gd name="connsiteY6" fmla="*/ 24876 h 24876"/>
                <a:gd name="connsiteX7" fmla="*/ 42070 w 42070"/>
                <a:gd name="connsiteY7" fmla="*/ 22437 h 24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070" h="24876">
                  <a:moveTo>
                    <a:pt x="42070" y="22437"/>
                  </a:moveTo>
                  <a:lnTo>
                    <a:pt x="13414" y="1585"/>
                  </a:lnTo>
                  <a:lnTo>
                    <a:pt x="6341" y="0"/>
                  </a:lnTo>
                  <a:lnTo>
                    <a:pt x="0" y="5731"/>
                  </a:lnTo>
                  <a:lnTo>
                    <a:pt x="5365" y="15121"/>
                  </a:lnTo>
                  <a:lnTo>
                    <a:pt x="20608" y="24023"/>
                  </a:lnTo>
                  <a:lnTo>
                    <a:pt x="39143" y="24876"/>
                  </a:lnTo>
                  <a:lnTo>
                    <a:pt x="42070" y="2243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2" name="Freihandform: Form 681">
              <a:extLst>
                <a:ext uri="{FF2B5EF4-FFF2-40B4-BE49-F238E27FC236}">
                  <a16:creationId xmlns:a16="http://schemas.microsoft.com/office/drawing/2014/main" id="{AB1927F2-443D-4350-9A25-AA5C456611FC}"/>
                </a:ext>
              </a:extLst>
            </p:cNvPr>
            <p:cNvSpPr/>
            <p:nvPr/>
          </p:nvSpPr>
          <p:spPr>
            <a:xfrm>
              <a:off x="2652395" y="3073565"/>
              <a:ext cx="18413" cy="40240"/>
            </a:xfrm>
            <a:custGeom>
              <a:avLst/>
              <a:gdLst>
                <a:gd name="connsiteX0" fmla="*/ 17194 w 18413"/>
                <a:gd name="connsiteY0" fmla="*/ 2927 h 40240"/>
                <a:gd name="connsiteX1" fmla="*/ 18413 w 18413"/>
                <a:gd name="connsiteY1" fmla="*/ 1829 h 40240"/>
                <a:gd name="connsiteX2" fmla="*/ 16950 w 18413"/>
                <a:gd name="connsiteY2" fmla="*/ 1585 h 40240"/>
                <a:gd name="connsiteX3" fmla="*/ 8658 w 18413"/>
                <a:gd name="connsiteY3" fmla="*/ 0 h 40240"/>
                <a:gd name="connsiteX4" fmla="*/ 2927 w 18413"/>
                <a:gd name="connsiteY4" fmla="*/ 8414 h 40240"/>
                <a:gd name="connsiteX5" fmla="*/ 2439 w 18413"/>
                <a:gd name="connsiteY5" fmla="*/ 8902 h 40240"/>
                <a:gd name="connsiteX6" fmla="*/ 2439 w 18413"/>
                <a:gd name="connsiteY6" fmla="*/ 9390 h 40240"/>
                <a:gd name="connsiteX7" fmla="*/ 0 w 18413"/>
                <a:gd name="connsiteY7" fmla="*/ 36826 h 40240"/>
                <a:gd name="connsiteX8" fmla="*/ 4878 w 18413"/>
                <a:gd name="connsiteY8" fmla="*/ 40241 h 40240"/>
                <a:gd name="connsiteX9" fmla="*/ 15730 w 18413"/>
                <a:gd name="connsiteY9" fmla="*/ 16828 h 40240"/>
                <a:gd name="connsiteX10" fmla="*/ 17194 w 18413"/>
                <a:gd name="connsiteY10" fmla="*/ 2927 h 4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413" h="40240">
                  <a:moveTo>
                    <a:pt x="17194" y="2927"/>
                  </a:moveTo>
                  <a:lnTo>
                    <a:pt x="18413" y="1829"/>
                  </a:lnTo>
                  <a:lnTo>
                    <a:pt x="16950" y="1585"/>
                  </a:lnTo>
                  <a:lnTo>
                    <a:pt x="8658" y="0"/>
                  </a:lnTo>
                  <a:lnTo>
                    <a:pt x="2927" y="8414"/>
                  </a:lnTo>
                  <a:lnTo>
                    <a:pt x="2439" y="8902"/>
                  </a:lnTo>
                  <a:lnTo>
                    <a:pt x="2439" y="9390"/>
                  </a:lnTo>
                  <a:lnTo>
                    <a:pt x="0" y="36826"/>
                  </a:lnTo>
                  <a:lnTo>
                    <a:pt x="4878" y="40241"/>
                  </a:lnTo>
                  <a:lnTo>
                    <a:pt x="15730" y="16828"/>
                  </a:lnTo>
                  <a:lnTo>
                    <a:pt x="17194" y="29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3" name="Freihandform: Form 682">
              <a:extLst>
                <a:ext uri="{FF2B5EF4-FFF2-40B4-BE49-F238E27FC236}">
                  <a16:creationId xmlns:a16="http://schemas.microsoft.com/office/drawing/2014/main" id="{E8C818B5-255C-4913-8AA6-ED1F1D7B3B3B}"/>
                </a:ext>
              </a:extLst>
            </p:cNvPr>
            <p:cNvSpPr/>
            <p:nvPr/>
          </p:nvSpPr>
          <p:spPr>
            <a:xfrm>
              <a:off x="2999806" y="4680633"/>
              <a:ext cx="243" cy="1097"/>
            </a:xfrm>
            <a:custGeom>
              <a:avLst/>
              <a:gdLst>
                <a:gd name="connsiteX0" fmla="*/ 244 w 243"/>
                <a:gd name="connsiteY0" fmla="*/ 1097 h 1097"/>
                <a:gd name="connsiteX1" fmla="*/ 0 w 243"/>
                <a:gd name="connsiteY1" fmla="*/ 0 h 1097"/>
                <a:gd name="connsiteX2" fmla="*/ 0 w 243"/>
                <a:gd name="connsiteY2" fmla="*/ 1097 h 1097"/>
                <a:gd name="connsiteX3" fmla="*/ 244 w 243"/>
                <a:gd name="connsiteY3" fmla="*/ 1097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" h="1097">
                  <a:moveTo>
                    <a:pt x="244" y="1097"/>
                  </a:moveTo>
                  <a:lnTo>
                    <a:pt x="0" y="0"/>
                  </a:lnTo>
                  <a:lnTo>
                    <a:pt x="0" y="1097"/>
                  </a:lnTo>
                  <a:lnTo>
                    <a:pt x="244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4" name="Freihandform: Form 683">
              <a:extLst>
                <a:ext uri="{FF2B5EF4-FFF2-40B4-BE49-F238E27FC236}">
                  <a16:creationId xmlns:a16="http://schemas.microsoft.com/office/drawing/2014/main" id="{91203099-D7BA-4E20-8371-418B1D8556C9}"/>
                </a:ext>
              </a:extLst>
            </p:cNvPr>
            <p:cNvSpPr/>
            <p:nvPr/>
          </p:nvSpPr>
          <p:spPr>
            <a:xfrm>
              <a:off x="2935665" y="4438091"/>
              <a:ext cx="4024" cy="5731"/>
            </a:xfrm>
            <a:custGeom>
              <a:avLst/>
              <a:gdLst>
                <a:gd name="connsiteX0" fmla="*/ 488 w 4024"/>
                <a:gd name="connsiteY0" fmla="*/ 0 h 5731"/>
                <a:gd name="connsiteX1" fmla="*/ 0 w 4024"/>
                <a:gd name="connsiteY1" fmla="*/ 3414 h 5731"/>
                <a:gd name="connsiteX2" fmla="*/ 3292 w 4024"/>
                <a:gd name="connsiteY2" fmla="*/ 5731 h 5731"/>
                <a:gd name="connsiteX3" fmla="*/ 4024 w 4024"/>
                <a:gd name="connsiteY3" fmla="*/ 5122 h 5731"/>
                <a:gd name="connsiteX4" fmla="*/ 3414 w 4024"/>
                <a:gd name="connsiteY4" fmla="*/ 1097 h 5731"/>
                <a:gd name="connsiteX5" fmla="*/ 488 w 4024"/>
                <a:gd name="connsiteY5" fmla="*/ 0 h 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24" h="5731">
                  <a:moveTo>
                    <a:pt x="488" y="0"/>
                  </a:moveTo>
                  <a:lnTo>
                    <a:pt x="0" y="3414"/>
                  </a:lnTo>
                  <a:lnTo>
                    <a:pt x="3292" y="5731"/>
                  </a:lnTo>
                  <a:lnTo>
                    <a:pt x="4024" y="5122"/>
                  </a:lnTo>
                  <a:lnTo>
                    <a:pt x="3414" y="1097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5" name="Freihandform: Form 684">
              <a:extLst>
                <a:ext uri="{FF2B5EF4-FFF2-40B4-BE49-F238E27FC236}">
                  <a16:creationId xmlns:a16="http://schemas.microsoft.com/office/drawing/2014/main" id="{761CE396-ED21-4579-B503-E0651BD25B5A}"/>
                </a:ext>
              </a:extLst>
            </p:cNvPr>
            <p:cNvSpPr/>
            <p:nvPr/>
          </p:nvSpPr>
          <p:spPr>
            <a:xfrm>
              <a:off x="2950054" y="4430409"/>
              <a:ext cx="2072" cy="2561"/>
            </a:xfrm>
            <a:custGeom>
              <a:avLst/>
              <a:gdLst>
                <a:gd name="connsiteX0" fmla="*/ 1097 w 2072"/>
                <a:gd name="connsiteY0" fmla="*/ 0 h 2561"/>
                <a:gd name="connsiteX1" fmla="*/ 0 w 2072"/>
                <a:gd name="connsiteY1" fmla="*/ 1829 h 2561"/>
                <a:gd name="connsiteX2" fmla="*/ 244 w 2072"/>
                <a:gd name="connsiteY2" fmla="*/ 2561 h 2561"/>
                <a:gd name="connsiteX3" fmla="*/ 2073 w 2072"/>
                <a:gd name="connsiteY3" fmla="*/ 610 h 2561"/>
                <a:gd name="connsiteX4" fmla="*/ 1097 w 2072"/>
                <a:gd name="connsiteY4" fmla="*/ 0 h 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2" h="2561">
                  <a:moveTo>
                    <a:pt x="1097" y="0"/>
                  </a:moveTo>
                  <a:lnTo>
                    <a:pt x="0" y="1829"/>
                  </a:lnTo>
                  <a:lnTo>
                    <a:pt x="244" y="2561"/>
                  </a:lnTo>
                  <a:lnTo>
                    <a:pt x="2073" y="610"/>
                  </a:lnTo>
                  <a:lnTo>
                    <a:pt x="1097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6" name="Freihandform: Form 685">
              <a:extLst>
                <a:ext uri="{FF2B5EF4-FFF2-40B4-BE49-F238E27FC236}">
                  <a16:creationId xmlns:a16="http://schemas.microsoft.com/office/drawing/2014/main" id="{4277DE07-EB8D-4216-B0DA-42F425DACCA7}"/>
                </a:ext>
              </a:extLst>
            </p:cNvPr>
            <p:cNvSpPr/>
            <p:nvPr/>
          </p:nvSpPr>
          <p:spPr>
            <a:xfrm>
              <a:off x="3032974" y="3639008"/>
              <a:ext cx="227421" cy="265710"/>
            </a:xfrm>
            <a:custGeom>
              <a:avLst/>
              <a:gdLst>
                <a:gd name="connsiteX0" fmla="*/ 220593 w 227421"/>
                <a:gd name="connsiteY0" fmla="*/ 151817 h 265710"/>
                <a:gd name="connsiteX1" fmla="*/ 219251 w 227421"/>
                <a:gd name="connsiteY1" fmla="*/ 151086 h 265710"/>
                <a:gd name="connsiteX2" fmla="*/ 215349 w 227421"/>
                <a:gd name="connsiteY2" fmla="*/ 149013 h 265710"/>
                <a:gd name="connsiteX3" fmla="*/ 212422 w 227421"/>
                <a:gd name="connsiteY3" fmla="*/ 147427 h 265710"/>
                <a:gd name="connsiteX4" fmla="*/ 212300 w 227421"/>
                <a:gd name="connsiteY4" fmla="*/ 144013 h 265710"/>
                <a:gd name="connsiteX5" fmla="*/ 211569 w 227421"/>
                <a:gd name="connsiteY5" fmla="*/ 132307 h 265710"/>
                <a:gd name="connsiteX6" fmla="*/ 173035 w 227421"/>
                <a:gd name="connsiteY6" fmla="*/ 126454 h 265710"/>
                <a:gd name="connsiteX7" fmla="*/ 168036 w 227421"/>
                <a:gd name="connsiteY7" fmla="*/ 125722 h 265710"/>
                <a:gd name="connsiteX8" fmla="*/ 167792 w 227421"/>
                <a:gd name="connsiteY8" fmla="*/ 120722 h 265710"/>
                <a:gd name="connsiteX9" fmla="*/ 166085 w 227421"/>
                <a:gd name="connsiteY9" fmla="*/ 77433 h 265710"/>
                <a:gd name="connsiteX10" fmla="*/ 149744 w 227421"/>
                <a:gd name="connsiteY10" fmla="*/ 74262 h 265710"/>
                <a:gd name="connsiteX11" fmla="*/ 148769 w 227421"/>
                <a:gd name="connsiteY11" fmla="*/ 74019 h 265710"/>
                <a:gd name="connsiteX12" fmla="*/ 147793 w 227421"/>
                <a:gd name="connsiteY12" fmla="*/ 73531 h 265710"/>
                <a:gd name="connsiteX13" fmla="*/ 108162 w 227421"/>
                <a:gd name="connsiteY13" fmla="*/ 50484 h 265710"/>
                <a:gd name="connsiteX14" fmla="*/ 101212 w 227421"/>
                <a:gd name="connsiteY14" fmla="*/ 49630 h 265710"/>
                <a:gd name="connsiteX15" fmla="*/ 95114 w 227421"/>
                <a:gd name="connsiteY15" fmla="*/ 48777 h 265710"/>
                <a:gd name="connsiteX16" fmla="*/ 94017 w 227421"/>
                <a:gd name="connsiteY16" fmla="*/ 48655 h 265710"/>
                <a:gd name="connsiteX17" fmla="*/ 93042 w 227421"/>
                <a:gd name="connsiteY17" fmla="*/ 48045 h 265710"/>
                <a:gd name="connsiteX18" fmla="*/ 85481 w 227421"/>
                <a:gd name="connsiteY18" fmla="*/ 44021 h 265710"/>
                <a:gd name="connsiteX19" fmla="*/ 84018 w 227421"/>
                <a:gd name="connsiteY19" fmla="*/ 43167 h 265710"/>
                <a:gd name="connsiteX20" fmla="*/ 81091 w 227421"/>
                <a:gd name="connsiteY20" fmla="*/ 41582 h 265710"/>
                <a:gd name="connsiteX21" fmla="*/ 80847 w 227421"/>
                <a:gd name="connsiteY21" fmla="*/ 38168 h 265710"/>
                <a:gd name="connsiteX22" fmla="*/ 79140 w 227421"/>
                <a:gd name="connsiteY22" fmla="*/ 8292 h 265710"/>
                <a:gd name="connsiteX23" fmla="*/ 71092 w 227421"/>
                <a:gd name="connsiteY23" fmla="*/ 3171 h 265710"/>
                <a:gd name="connsiteX24" fmla="*/ 66336 w 227421"/>
                <a:gd name="connsiteY24" fmla="*/ 0 h 265710"/>
                <a:gd name="connsiteX25" fmla="*/ 46948 w 227421"/>
                <a:gd name="connsiteY25" fmla="*/ 6097 h 265710"/>
                <a:gd name="connsiteX26" fmla="*/ 37802 w 227421"/>
                <a:gd name="connsiteY26" fmla="*/ 22193 h 265710"/>
                <a:gd name="connsiteX27" fmla="*/ 36339 w 227421"/>
                <a:gd name="connsiteY27" fmla="*/ 24754 h 265710"/>
                <a:gd name="connsiteX28" fmla="*/ 33412 w 227421"/>
                <a:gd name="connsiteY28" fmla="*/ 25242 h 265710"/>
                <a:gd name="connsiteX29" fmla="*/ 4146 w 227421"/>
                <a:gd name="connsiteY29" fmla="*/ 29754 h 265710"/>
                <a:gd name="connsiteX30" fmla="*/ 18657 w 227421"/>
                <a:gd name="connsiteY30" fmla="*/ 48533 h 265710"/>
                <a:gd name="connsiteX31" fmla="*/ 19633 w 227421"/>
                <a:gd name="connsiteY31" fmla="*/ 49874 h 265710"/>
                <a:gd name="connsiteX32" fmla="*/ 19877 w 227421"/>
                <a:gd name="connsiteY32" fmla="*/ 51459 h 265710"/>
                <a:gd name="connsiteX33" fmla="*/ 20364 w 227421"/>
                <a:gd name="connsiteY33" fmla="*/ 55118 h 265710"/>
                <a:gd name="connsiteX34" fmla="*/ 20608 w 227421"/>
                <a:gd name="connsiteY34" fmla="*/ 56947 h 265710"/>
                <a:gd name="connsiteX35" fmla="*/ 21096 w 227421"/>
                <a:gd name="connsiteY35" fmla="*/ 61337 h 265710"/>
                <a:gd name="connsiteX36" fmla="*/ 17072 w 227421"/>
                <a:gd name="connsiteY36" fmla="*/ 63288 h 265710"/>
                <a:gd name="connsiteX37" fmla="*/ 12438 w 227421"/>
                <a:gd name="connsiteY37" fmla="*/ 65239 h 265710"/>
                <a:gd name="connsiteX38" fmla="*/ 10853 w 227421"/>
                <a:gd name="connsiteY38" fmla="*/ 66092 h 265710"/>
                <a:gd name="connsiteX39" fmla="*/ 13048 w 227421"/>
                <a:gd name="connsiteY39" fmla="*/ 79872 h 265710"/>
                <a:gd name="connsiteX40" fmla="*/ 14755 w 227421"/>
                <a:gd name="connsiteY40" fmla="*/ 90603 h 265710"/>
                <a:gd name="connsiteX41" fmla="*/ 15609 w 227421"/>
                <a:gd name="connsiteY41" fmla="*/ 95602 h 265710"/>
                <a:gd name="connsiteX42" fmla="*/ 10853 w 227421"/>
                <a:gd name="connsiteY42" fmla="*/ 97310 h 265710"/>
                <a:gd name="connsiteX43" fmla="*/ 2561 w 227421"/>
                <a:gd name="connsiteY43" fmla="*/ 100236 h 265710"/>
                <a:gd name="connsiteX44" fmla="*/ 9268 w 227421"/>
                <a:gd name="connsiteY44" fmla="*/ 132185 h 265710"/>
                <a:gd name="connsiteX45" fmla="*/ 9633 w 227421"/>
                <a:gd name="connsiteY45" fmla="*/ 134014 h 265710"/>
                <a:gd name="connsiteX46" fmla="*/ 8902 w 227421"/>
                <a:gd name="connsiteY46" fmla="*/ 135721 h 265710"/>
                <a:gd name="connsiteX47" fmla="*/ 0 w 227421"/>
                <a:gd name="connsiteY47" fmla="*/ 157427 h 265710"/>
                <a:gd name="connsiteX48" fmla="*/ 4756 w 227421"/>
                <a:gd name="connsiteY48" fmla="*/ 159988 h 265710"/>
                <a:gd name="connsiteX49" fmla="*/ 6829 w 227421"/>
                <a:gd name="connsiteY49" fmla="*/ 161085 h 265710"/>
                <a:gd name="connsiteX50" fmla="*/ 7561 w 227421"/>
                <a:gd name="connsiteY50" fmla="*/ 163280 h 265710"/>
                <a:gd name="connsiteX51" fmla="*/ 15121 w 227421"/>
                <a:gd name="connsiteY51" fmla="*/ 184132 h 265710"/>
                <a:gd name="connsiteX52" fmla="*/ 15731 w 227421"/>
                <a:gd name="connsiteY52" fmla="*/ 185839 h 265710"/>
                <a:gd name="connsiteX53" fmla="*/ 15975 w 227421"/>
                <a:gd name="connsiteY53" fmla="*/ 186571 h 265710"/>
                <a:gd name="connsiteX54" fmla="*/ 16096 w 227421"/>
                <a:gd name="connsiteY54" fmla="*/ 187424 h 265710"/>
                <a:gd name="connsiteX55" fmla="*/ 18779 w 227421"/>
                <a:gd name="connsiteY55" fmla="*/ 215837 h 265710"/>
                <a:gd name="connsiteX56" fmla="*/ 19389 w 227421"/>
                <a:gd name="connsiteY56" fmla="*/ 217788 h 265710"/>
                <a:gd name="connsiteX57" fmla="*/ 31583 w 227421"/>
                <a:gd name="connsiteY57" fmla="*/ 259736 h 265710"/>
                <a:gd name="connsiteX58" fmla="*/ 33534 w 227421"/>
                <a:gd name="connsiteY58" fmla="*/ 261077 h 265710"/>
                <a:gd name="connsiteX59" fmla="*/ 34266 w 227421"/>
                <a:gd name="connsiteY59" fmla="*/ 261565 h 265710"/>
                <a:gd name="connsiteX60" fmla="*/ 49143 w 227421"/>
                <a:gd name="connsiteY60" fmla="*/ 245956 h 265710"/>
                <a:gd name="connsiteX61" fmla="*/ 51216 w 227421"/>
                <a:gd name="connsiteY61" fmla="*/ 243761 h 265710"/>
                <a:gd name="connsiteX62" fmla="*/ 54142 w 227421"/>
                <a:gd name="connsiteY62" fmla="*/ 244127 h 265710"/>
                <a:gd name="connsiteX63" fmla="*/ 54874 w 227421"/>
                <a:gd name="connsiteY63" fmla="*/ 244127 h 265710"/>
                <a:gd name="connsiteX64" fmla="*/ 62190 w 227421"/>
                <a:gd name="connsiteY64" fmla="*/ 244859 h 265710"/>
                <a:gd name="connsiteX65" fmla="*/ 63288 w 227421"/>
                <a:gd name="connsiteY65" fmla="*/ 244981 h 265710"/>
                <a:gd name="connsiteX66" fmla="*/ 64263 w 227421"/>
                <a:gd name="connsiteY66" fmla="*/ 245469 h 265710"/>
                <a:gd name="connsiteX67" fmla="*/ 79506 w 227421"/>
                <a:gd name="connsiteY67" fmla="*/ 252663 h 265710"/>
                <a:gd name="connsiteX68" fmla="*/ 81335 w 227421"/>
                <a:gd name="connsiteY68" fmla="*/ 253517 h 265710"/>
                <a:gd name="connsiteX69" fmla="*/ 82920 w 227421"/>
                <a:gd name="connsiteY69" fmla="*/ 254370 h 265710"/>
                <a:gd name="connsiteX70" fmla="*/ 83896 w 227421"/>
                <a:gd name="connsiteY70" fmla="*/ 255834 h 265710"/>
                <a:gd name="connsiteX71" fmla="*/ 85115 w 227421"/>
                <a:gd name="connsiteY71" fmla="*/ 257785 h 265710"/>
                <a:gd name="connsiteX72" fmla="*/ 89993 w 227421"/>
                <a:gd name="connsiteY72" fmla="*/ 265711 h 265710"/>
                <a:gd name="connsiteX73" fmla="*/ 95602 w 227421"/>
                <a:gd name="connsiteY73" fmla="*/ 265711 h 265710"/>
                <a:gd name="connsiteX74" fmla="*/ 96944 w 227421"/>
                <a:gd name="connsiteY74" fmla="*/ 263150 h 265710"/>
                <a:gd name="connsiteX75" fmla="*/ 96944 w 227421"/>
                <a:gd name="connsiteY75" fmla="*/ 253883 h 265710"/>
                <a:gd name="connsiteX76" fmla="*/ 100724 w 227421"/>
                <a:gd name="connsiteY76" fmla="*/ 252297 h 265710"/>
                <a:gd name="connsiteX77" fmla="*/ 102065 w 227421"/>
                <a:gd name="connsiteY77" fmla="*/ 251688 h 265710"/>
                <a:gd name="connsiteX78" fmla="*/ 105236 w 227421"/>
                <a:gd name="connsiteY78" fmla="*/ 250346 h 265710"/>
                <a:gd name="connsiteX79" fmla="*/ 107431 w 227421"/>
                <a:gd name="connsiteY79" fmla="*/ 249371 h 265710"/>
                <a:gd name="connsiteX80" fmla="*/ 109626 w 227421"/>
                <a:gd name="connsiteY80" fmla="*/ 250102 h 265710"/>
                <a:gd name="connsiteX81" fmla="*/ 117552 w 227421"/>
                <a:gd name="connsiteY81" fmla="*/ 252785 h 265710"/>
                <a:gd name="connsiteX82" fmla="*/ 119381 w 227421"/>
                <a:gd name="connsiteY82" fmla="*/ 253395 h 265710"/>
                <a:gd name="connsiteX83" fmla="*/ 130112 w 227421"/>
                <a:gd name="connsiteY83" fmla="*/ 252663 h 265710"/>
                <a:gd name="connsiteX84" fmla="*/ 134868 w 227421"/>
                <a:gd name="connsiteY84" fmla="*/ 238762 h 265710"/>
                <a:gd name="connsiteX85" fmla="*/ 138526 w 227421"/>
                <a:gd name="connsiteY85" fmla="*/ 213642 h 265710"/>
                <a:gd name="connsiteX86" fmla="*/ 138648 w 227421"/>
                <a:gd name="connsiteY86" fmla="*/ 212910 h 265710"/>
                <a:gd name="connsiteX87" fmla="*/ 139014 w 227421"/>
                <a:gd name="connsiteY87" fmla="*/ 212179 h 265710"/>
                <a:gd name="connsiteX88" fmla="*/ 143281 w 227421"/>
                <a:gd name="connsiteY88" fmla="*/ 201935 h 265710"/>
                <a:gd name="connsiteX89" fmla="*/ 144257 w 227421"/>
                <a:gd name="connsiteY89" fmla="*/ 199619 h 265710"/>
                <a:gd name="connsiteX90" fmla="*/ 146574 w 227421"/>
                <a:gd name="connsiteY90" fmla="*/ 198643 h 265710"/>
                <a:gd name="connsiteX91" fmla="*/ 168036 w 227421"/>
                <a:gd name="connsiteY91" fmla="*/ 189619 h 265710"/>
                <a:gd name="connsiteX92" fmla="*/ 169133 w 227421"/>
                <a:gd name="connsiteY92" fmla="*/ 189132 h 265710"/>
                <a:gd name="connsiteX93" fmla="*/ 170231 w 227421"/>
                <a:gd name="connsiteY93" fmla="*/ 189132 h 265710"/>
                <a:gd name="connsiteX94" fmla="*/ 214495 w 227421"/>
                <a:gd name="connsiteY94" fmla="*/ 188278 h 265710"/>
                <a:gd name="connsiteX95" fmla="*/ 216690 w 227421"/>
                <a:gd name="connsiteY95" fmla="*/ 188156 h 265710"/>
                <a:gd name="connsiteX96" fmla="*/ 218520 w 227421"/>
                <a:gd name="connsiteY96" fmla="*/ 189619 h 265710"/>
                <a:gd name="connsiteX97" fmla="*/ 226811 w 227421"/>
                <a:gd name="connsiteY97" fmla="*/ 196326 h 265710"/>
                <a:gd name="connsiteX98" fmla="*/ 227421 w 227421"/>
                <a:gd name="connsiteY98" fmla="*/ 179254 h 265710"/>
                <a:gd name="connsiteX99" fmla="*/ 225104 w 227421"/>
                <a:gd name="connsiteY99" fmla="*/ 175840 h 265710"/>
                <a:gd name="connsiteX100" fmla="*/ 220105 w 227421"/>
                <a:gd name="connsiteY100" fmla="*/ 168645 h 265710"/>
                <a:gd name="connsiteX101" fmla="*/ 218763 w 227421"/>
                <a:gd name="connsiteY101" fmla="*/ 166816 h 265710"/>
                <a:gd name="connsiteX102" fmla="*/ 219007 w 227421"/>
                <a:gd name="connsiteY102" fmla="*/ 164499 h 265710"/>
                <a:gd name="connsiteX103" fmla="*/ 220593 w 227421"/>
                <a:gd name="connsiteY103" fmla="*/ 151817 h 265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27421" h="265710">
                  <a:moveTo>
                    <a:pt x="220593" y="151817"/>
                  </a:moveTo>
                  <a:lnTo>
                    <a:pt x="219251" y="151086"/>
                  </a:lnTo>
                  <a:lnTo>
                    <a:pt x="215349" y="149013"/>
                  </a:lnTo>
                  <a:lnTo>
                    <a:pt x="212422" y="147427"/>
                  </a:lnTo>
                  <a:lnTo>
                    <a:pt x="212300" y="144013"/>
                  </a:lnTo>
                  <a:lnTo>
                    <a:pt x="211569" y="132307"/>
                  </a:lnTo>
                  <a:lnTo>
                    <a:pt x="173035" y="126454"/>
                  </a:lnTo>
                  <a:lnTo>
                    <a:pt x="168036" y="125722"/>
                  </a:lnTo>
                  <a:lnTo>
                    <a:pt x="167792" y="120722"/>
                  </a:lnTo>
                  <a:lnTo>
                    <a:pt x="166085" y="77433"/>
                  </a:lnTo>
                  <a:lnTo>
                    <a:pt x="149744" y="74262"/>
                  </a:lnTo>
                  <a:lnTo>
                    <a:pt x="148769" y="74019"/>
                  </a:lnTo>
                  <a:lnTo>
                    <a:pt x="147793" y="73531"/>
                  </a:lnTo>
                  <a:lnTo>
                    <a:pt x="108162" y="50484"/>
                  </a:lnTo>
                  <a:lnTo>
                    <a:pt x="101212" y="49630"/>
                  </a:lnTo>
                  <a:lnTo>
                    <a:pt x="95114" y="48777"/>
                  </a:lnTo>
                  <a:lnTo>
                    <a:pt x="94017" y="48655"/>
                  </a:lnTo>
                  <a:lnTo>
                    <a:pt x="93042" y="48045"/>
                  </a:lnTo>
                  <a:lnTo>
                    <a:pt x="85481" y="44021"/>
                  </a:lnTo>
                  <a:lnTo>
                    <a:pt x="84018" y="43167"/>
                  </a:lnTo>
                  <a:lnTo>
                    <a:pt x="81091" y="41582"/>
                  </a:lnTo>
                  <a:lnTo>
                    <a:pt x="80847" y="38168"/>
                  </a:lnTo>
                  <a:lnTo>
                    <a:pt x="79140" y="8292"/>
                  </a:lnTo>
                  <a:lnTo>
                    <a:pt x="71092" y="3171"/>
                  </a:lnTo>
                  <a:lnTo>
                    <a:pt x="66336" y="0"/>
                  </a:lnTo>
                  <a:lnTo>
                    <a:pt x="46948" y="6097"/>
                  </a:lnTo>
                  <a:lnTo>
                    <a:pt x="37802" y="22193"/>
                  </a:lnTo>
                  <a:lnTo>
                    <a:pt x="36339" y="24754"/>
                  </a:lnTo>
                  <a:lnTo>
                    <a:pt x="33412" y="25242"/>
                  </a:lnTo>
                  <a:lnTo>
                    <a:pt x="4146" y="29754"/>
                  </a:lnTo>
                  <a:lnTo>
                    <a:pt x="18657" y="48533"/>
                  </a:lnTo>
                  <a:lnTo>
                    <a:pt x="19633" y="49874"/>
                  </a:lnTo>
                  <a:lnTo>
                    <a:pt x="19877" y="51459"/>
                  </a:lnTo>
                  <a:lnTo>
                    <a:pt x="20364" y="55118"/>
                  </a:lnTo>
                  <a:lnTo>
                    <a:pt x="20608" y="56947"/>
                  </a:lnTo>
                  <a:lnTo>
                    <a:pt x="21096" y="61337"/>
                  </a:lnTo>
                  <a:lnTo>
                    <a:pt x="17072" y="63288"/>
                  </a:lnTo>
                  <a:lnTo>
                    <a:pt x="12438" y="65239"/>
                  </a:lnTo>
                  <a:lnTo>
                    <a:pt x="10853" y="66092"/>
                  </a:lnTo>
                  <a:lnTo>
                    <a:pt x="13048" y="79872"/>
                  </a:lnTo>
                  <a:lnTo>
                    <a:pt x="14755" y="90603"/>
                  </a:lnTo>
                  <a:lnTo>
                    <a:pt x="15609" y="95602"/>
                  </a:lnTo>
                  <a:lnTo>
                    <a:pt x="10853" y="97310"/>
                  </a:lnTo>
                  <a:lnTo>
                    <a:pt x="2561" y="100236"/>
                  </a:lnTo>
                  <a:lnTo>
                    <a:pt x="9268" y="132185"/>
                  </a:lnTo>
                  <a:lnTo>
                    <a:pt x="9633" y="134014"/>
                  </a:lnTo>
                  <a:lnTo>
                    <a:pt x="8902" y="135721"/>
                  </a:lnTo>
                  <a:lnTo>
                    <a:pt x="0" y="157427"/>
                  </a:lnTo>
                  <a:lnTo>
                    <a:pt x="4756" y="159988"/>
                  </a:lnTo>
                  <a:lnTo>
                    <a:pt x="6829" y="161085"/>
                  </a:lnTo>
                  <a:lnTo>
                    <a:pt x="7561" y="163280"/>
                  </a:lnTo>
                  <a:lnTo>
                    <a:pt x="15121" y="184132"/>
                  </a:lnTo>
                  <a:lnTo>
                    <a:pt x="15731" y="185839"/>
                  </a:lnTo>
                  <a:lnTo>
                    <a:pt x="15975" y="186571"/>
                  </a:lnTo>
                  <a:lnTo>
                    <a:pt x="16096" y="187424"/>
                  </a:lnTo>
                  <a:lnTo>
                    <a:pt x="18779" y="215837"/>
                  </a:lnTo>
                  <a:lnTo>
                    <a:pt x="19389" y="217788"/>
                  </a:lnTo>
                  <a:lnTo>
                    <a:pt x="31583" y="259736"/>
                  </a:lnTo>
                  <a:lnTo>
                    <a:pt x="33534" y="261077"/>
                  </a:lnTo>
                  <a:lnTo>
                    <a:pt x="34266" y="261565"/>
                  </a:lnTo>
                  <a:lnTo>
                    <a:pt x="49143" y="245956"/>
                  </a:lnTo>
                  <a:lnTo>
                    <a:pt x="51216" y="243761"/>
                  </a:lnTo>
                  <a:lnTo>
                    <a:pt x="54142" y="244127"/>
                  </a:lnTo>
                  <a:lnTo>
                    <a:pt x="54874" y="244127"/>
                  </a:lnTo>
                  <a:lnTo>
                    <a:pt x="62190" y="244859"/>
                  </a:lnTo>
                  <a:lnTo>
                    <a:pt x="63288" y="244981"/>
                  </a:lnTo>
                  <a:lnTo>
                    <a:pt x="64263" y="245469"/>
                  </a:lnTo>
                  <a:lnTo>
                    <a:pt x="79506" y="252663"/>
                  </a:lnTo>
                  <a:lnTo>
                    <a:pt x="81335" y="253517"/>
                  </a:lnTo>
                  <a:lnTo>
                    <a:pt x="82920" y="254370"/>
                  </a:lnTo>
                  <a:lnTo>
                    <a:pt x="83896" y="255834"/>
                  </a:lnTo>
                  <a:lnTo>
                    <a:pt x="85115" y="257785"/>
                  </a:lnTo>
                  <a:lnTo>
                    <a:pt x="89993" y="265711"/>
                  </a:lnTo>
                  <a:lnTo>
                    <a:pt x="95602" y="265711"/>
                  </a:lnTo>
                  <a:lnTo>
                    <a:pt x="96944" y="263150"/>
                  </a:lnTo>
                  <a:lnTo>
                    <a:pt x="96944" y="253883"/>
                  </a:lnTo>
                  <a:lnTo>
                    <a:pt x="100724" y="252297"/>
                  </a:lnTo>
                  <a:lnTo>
                    <a:pt x="102065" y="251688"/>
                  </a:lnTo>
                  <a:lnTo>
                    <a:pt x="105236" y="250346"/>
                  </a:lnTo>
                  <a:lnTo>
                    <a:pt x="107431" y="249371"/>
                  </a:lnTo>
                  <a:lnTo>
                    <a:pt x="109626" y="250102"/>
                  </a:lnTo>
                  <a:lnTo>
                    <a:pt x="117552" y="252785"/>
                  </a:lnTo>
                  <a:lnTo>
                    <a:pt x="119381" y="253395"/>
                  </a:lnTo>
                  <a:lnTo>
                    <a:pt x="130112" y="252663"/>
                  </a:lnTo>
                  <a:lnTo>
                    <a:pt x="134868" y="238762"/>
                  </a:lnTo>
                  <a:lnTo>
                    <a:pt x="138526" y="213642"/>
                  </a:lnTo>
                  <a:lnTo>
                    <a:pt x="138648" y="212910"/>
                  </a:lnTo>
                  <a:lnTo>
                    <a:pt x="139014" y="212179"/>
                  </a:lnTo>
                  <a:lnTo>
                    <a:pt x="143281" y="201935"/>
                  </a:lnTo>
                  <a:lnTo>
                    <a:pt x="144257" y="199619"/>
                  </a:lnTo>
                  <a:lnTo>
                    <a:pt x="146574" y="198643"/>
                  </a:lnTo>
                  <a:lnTo>
                    <a:pt x="168036" y="189619"/>
                  </a:lnTo>
                  <a:lnTo>
                    <a:pt x="169133" y="189132"/>
                  </a:lnTo>
                  <a:lnTo>
                    <a:pt x="170231" y="189132"/>
                  </a:lnTo>
                  <a:lnTo>
                    <a:pt x="214495" y="188278"/>
                  </a:lnTo>
                  <a:lnTo>
                    <a:pt x="216690" y="188156"/>
                  </a:lnTo>
                  <a:lnTo>
                    <a:pt x="218520" y="189619"/>
                  </a:lnTo>
                  <a:lnTo>
                    <a:pt x="226811" y="196326"/>
                  </a:lnTo>
                  <a:lnTo>
                    <a:pt x="227421" y="179254"/>
                  </a:lnTo>
                  <a:lnTo>
                    <a:pt x="225104" y="175840"/>
                  </a:lnTo>
                  <a:lnTo>
                    <a:pt x="220105" y="168645"/>
                  </a:lnTo>
                  <a:lnTo>
                    <a:pt x="218763" y="166816"/>
                  </a:lnTo>
                  <a:lnTo>
                    <a:pt x="219007" y="164499"/>
                  </a:lnTo>
                  <a:lnTo>
                    <a:pt x="220593" y="1518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7" name="Freihandform: Form 686">
              <a:extLst>
                <a:ext uri="{FF2B5EF4-FFF2-40B4-BE49-F238E27FC236}">
                  <a16:creationId xmlns:a16="http://schemas.microsoft.com/office/drawing/2014/main" id="{BBCABB3A-22BA-4C0D-958A-2927FC4D3E4E}"/>
                </a:ext>
              </a:extLst>
            </p:cNvPr>
            <p:cNvSpPr/>
            <p:nvPr/>
          </p:nvSpPr>
          <p:spPr>
            <a:xfrm>
              <a:off x="3170890" y="3835212"/>
              <a:ext cx="158524" cy="164011"/>
            </a:xfrm>
            <a:custGeom>
              <a:avLst/>
              <a:gdLst>
                <a:gd name="connsiteX0" fmla="*/ 105967 w 158524"/>
                <a:gd name="connsiteY0" fmla="*/ 133038 h 164011"/>
                <a:gd name="connsiteX1" fmla="*/ 105845 w 158524"/>
                <a:gd name="connsiteY1" fmla="*/ 134502 h 164011"/>
                <a:gd name="connsiteX2" fmla="*/ 104992 w 158524"/>
                <a:gd name="connsiteY2" fmla="*/ 135721 h 164011"/>
                <a:gd name="connsiteX3" fmla="*/ 87432 w 158524"/>
                <a:gd name="connsiteY3" fmla="*/ 162061 h 164011"/>
                <a:gd name="connsiteX4" fmla="*/ 90237 w 158524"/>
                <a:gd name="connsiteY4" fmla="*/ 163036 h 164011"/>
                <a:gd name="connsiteX5" fmla="*/ 111333 w 158524"/>
                <a:gd name="connsiteY5" fmla="*/ 164012 h 164011"/>
                <a:gd name="connsiteX6" fmla="*/ 136209 w 158524"/>
                <a:gd name="connsiteY6" fmla="*/ 160475 h 164011"/>
                <a:gd name="connsiteX7" fmla="*/ 142794 w 158524"/>
                <a:gd name="connsiteY7" fmla="*/ 154866 h 164011"/>
                <a:gd name="connsiteX8" fmla="*/ 147671 w 158524"/>
                <a:gd name="connsiteY8" fmla="*/ 150720 h 164011"/>
                <a:gd name="connsiteX9" fmla="*/ 150964 w 158524"/>
                <a:gd name="connsiteY9" fmla="*/ 137428 h 164011"/>
                <a:gd name="connsiteX10" fmla="*/ 151573 w 158524"/>
                <a:gd name="connsiteY10" fmla="*/ 134868 h 164011"/>
                <a:gd name="connsiteX11" fmla="*/ 152061 w 158524"/>
                <a:gd name="connsiteY11" fmla="*/ 133160 h 164011"/>
                <a:gd name="connsiteX12" fmla="*/ 152305 w 158524"/>
                <a:gd name="connsiteY12" fmla="*/ 131209 h 164011"/>
                <a:gd name="connsiteX13" fmla="*/ 153159 w 158524"/>
                <a:gd name="connsiteY13" fmla="*/ 125112 h 164011"/>
                <a:gd name="connsiteX14" fmla="*/ 153768 w 158524"/>
                <a:gd name="connsiteY14" fmla="*/ 120600 h 164011"/>
                <a:gd name="connsiteX15" fmla="*/ 154012 w 158524"/>
                <a:gd name="connsiteY15" fmla="*/ 119503 h 164011"/>
                <a:gd name="connsiteX16" fmla="*/ 154500 w 158524"/>
                <a:gd name="connsiteY16" fmla="*/ 118527 h 164011"/>
                <a:gd name="connsiteX17" fmla="*/ 158158 w 158524"/>
                <a:gd name="connsiteY17" fmla="*/ 111943 h 164011"/>
                <a:gd name="connsiteX18" fmla="*/ 158524 w 158524"/>
                <a:gd name="connsiteY18" fmla="*/ 111333 h 164011"/>
                <a:gd name="connsiteX19" fmla="*/ 157792 w 158524"/>
                <a:gd name="connsiteY19" fmla="*/ 98041 h 164011"/>
                <a:gd name="connsiteX20" fmla="*/ 154866 w 158524"/>
                <a:gd name="connsiteY20" fmla="*/ 96944 h 164011"/>
                <a:gd name="connsiteX21" fmla="*/ 149378 w 158524"/>
                <a:gd name="connsiteY21" fmla="*/ 94871 h 164011"/>
                <a:gd name="connsiteX22" fmla="*/ 146208 w 158524"/>
                <a:gd name="connsiteY22" fmla="*/ 96090 h 164011"/>
                <a:gd name="connsiteX23" fmla="*/ 142306 w 158524"/>
                <a:gd name="connsiteY23" fmla="*/ 97797 h 164011"/>
                <a:gd name="connsiteX24" fmla="*/ 134258 w 158524"/>
                <a:gd name="connsiteY24" fmla="*/ 101090 h 164011"/>
                <a:gd name="connsiteX25" fmla="*/ 133770 w 158524"/>
                <a:gd name="connsiteY25" fmla="*/ 92432 h 164011"/>
                <a:gd name="connsiteX26" fmla="*/ 133526 w 158524"/>
                <a:gd name="connsiteY26" fmla="*/ 85481 h 164011"/>
                <a:gd name="connsiteX27" fmla="*/ 133160 w 158524"/>
                <a:gd name="connsiteY27" fmla="*/ 78043 h 164011"/>
                <a:gd name="connsiteX28" fmla="*/ 108772 w 158524"/>
                <a:gd name="connsiteY28" fmla="*/ 67556 h 164011"/>
                <a:gd name="connsiteX29" fmla="*/ 94748 w 158524"/>
                <a:gd name="connsiteY29" fmla="*/ 60605 h 164011"/>
                <a:gd name="connsiteX30" fmla="*/ 91578 w 158524"/>
                <a:gd name="connsiteY30" fmla="*/ 59020 h 164011"/>
                <a:gd name="connsiteX31" fmla="*/ 91334 w 158524"/>
                <a:gd name="connsiteY31" fmla="*/ 55483 h 164011"/>
                <a:gd name="connsiteX32" fmla="*/ 88773 w 158524"/>
                <a:gd name="connsiteY32" fmla="*/ 10365 h 164011"/>
                <a:gd name="connsiteX33" fmla="*/ 86822 w 158524"/>
                <a:gd name="connsiteY33" fmla="*/ 8780 h 164011"/>
                <a:gd name="connsiteX34" fmla="*/ 76091 w 158524"/>
                <a:gd name="connsiteY34" fmla="*/ 0 h 164011"/>
                <a:gd name="connsiteX35" fmla="*/ 32924 w 158524"/>
                <a:gd name="connsiteY35" fmla="*/ 854 h 164011"/>
                <a:gd name="connsiteX36" fmla="*/ 12438 w 158524"/>
                <a:gd name="connsiteY36" fmla="*/ 9512 h 164011"/>
                <a:gd name="connsiteX37" fmla="*/ 8658 w 158524"/>
                <a:gd name="connsiteY37" fmla="*/ 18535 h 164011"/>
                <a:gd name="connsiteX38" fmla="*/ 4878 w 158524"/>
                <a:gd name="connsiteY38" fmla="*/ 43655 h 164011"/>
                <a:gd name="connsiteX39" fmla="*/ 4756 w 158524"/>
                <a:gd name="connsiteY39" fmla="*/ 44265 h 164011"/>
                <a:gd name="connsiteX40" fmla="*/ 4512 w 158524"/>
                <a:gd name="connsiteY40" fmla="*/ 44753 h 164011"/>
                <a:gd name="connsiteX41" fmla="*/ 0 w 158524"/>
                <a:gd name="connsiteY41" fmla="*/ 58410 h 164011"/>
                <a:gd name="connsiteX42" fmla="*/ 1707 w 158524"/>
                <a:gd name="connsiteY42" fmla="*/ 59264 h 164011"/>
                <a:gd name="connsiteX43" fmla="*/ 7195 w 158524"/>
                <a:gd name="connsiteY43" fmla="*/ 62312 h 164011"/>
                <a:gd name="connsiteX44" fmla="*/ 8170 w 158524"/>
                <a:gd name="connsiteY44" fmla="*/ 62800 h 164011"/>
                <a:gd name="connsiteX45" fmla="*/ 8780 w 158524"/>
                <a:gd name="connsiteY45" fmla="*/ 63654 h 164011"/>
                <a:gd name="connsiteX46" fmla="*/ 18901 w 158524"/>
                <a:gd name="connsiteY46" fmla="*/ 75116 h 164011"/>
                <a:gd name="connsiteX47" fmla="*/ 21096 w 158524"/>
                <a:gd name="connsiteY47" fmla="*/ 77799 h 164011"/>
                <a:gd name="connsiteX48" fmla="*/ 30973 w 158524"/>
                <a:gd name="connsiteY48" fmla="*/ 90969 h 164011"/>
                <a:gd name="connsiteX49" fmla="*/ 37680 w 158524"/>
                <a:gd name="connsiteY49" fmla="*/ 90115 h 164011"/>
                <a:gd name="connsiteX50" fmla="*/ 43045 w 158524"/>
                <a:gd name="connsiteY50" fmla="*/ 89505 h 164011"/>
                <a:gd name="connsiteX51" fmla="*/ 45484 w 158524"/>
                <a:gd name="connsiteY51" fmla="*/ 89261 h 164011"/>
                <a:gd name="connsiteX52" fmla="*/ 47435 w 158524"/>
                <a:gd name="connsiteY52" fmla="*/ 90725 h 164011"/>
                <a:gd name="connsiteX53" fmla="*/ 60117 w 158524"/>
                <a:gd name="connsiteY53" fmla="*/ 100358 h 164011"/>
                <a:gd name="connsiteX54" fmla="*/ 62190 w 158524"/>
                <a:gd name="connsiteY54" fmla="*/ 101943 h 164011"/>
                <a:gd name="connsiteX55" fmla="*/ 65239 w 158524"/>
                <a:gd name="connsiteY55" fmla="*/ 102797 h 164011"/>
                <a:gd name="connsiteX56" fmla="*/ 90237 w 158524"/>
                <a:gd name="connsiteY56" fmla="*/ 109260 h 164011"/>
                <a:gd name="connsiteX57" fmla="*/ 91578 w 158524"/>
                <a:gd name="connsiteY57" fmla="*/ 109626 h 164011"/>
                <a:gd name="connsiteX58" fmla="*/ 92676 w 158524"/>
                <a:gd name="connsiteY58" fmla="*/ 110479 h 164011"/>
                <a:gd name="connsiteX59" fmla="*/ 104748 w 158524"/>
                <a:gd name="connsiteY59" fmla="*/ 120844 h 164011"/>
                <a:gd name="connsiteX60" fmla="*/ 107187 w 158524"/>
                <a:gd name="connsiteY60" fmla="*/ 122917 h 164011"/>
                <a:gd name="connsiteX61" fmla="*/ 106821 w 158524"/>
                <a:gd name="connsiteY61" fmla="*/ 126088 h 164011"/>
                <a:gd name="connsiteX62" fmla="*/ 105967 w 158524"/>
                <a:gd name="connsiteY62" fmla="*/ 133038 h 16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58524" h="164011">
                  <a:moveTo>
                    <a:pt x="105967" y="133038"/>
                  </a:moveTo>
                  <a:lnTo>
                    <a:pt x="105845" y="134502"/>
                  </a:lnTo>
                  <a:lnTo>
                    <a:pt x="104992" y="135721"/>
                  </a:lnTo>
                  <a:lnTo>
                    <a:pt x="87432" y="162061"/>
                  </a:lnTo>
                  <a:lnTo>
                    <a:pt x="90237" y="163036"/>
                  </a:lnTo>
                  <a:lnTo>
                    <a:pt x="111333" y="164012"/>
                  </a:lnTo>
                  <a:lnTo>
                    <a:pt x="136209" y="160475"/>
                  </a:lnTo>
                  <a:lnTo>
                    <a:pt x="142794" y="154866"/>
                  </a:lnTo>
                  <a:lnTo>
                    <a:pt x="147671" y="150720"/>
                  </a:lnTo>
                  <a:lnTo>
                    <a:pt x="150964" y="137428"/>
                  </a:lnTo>
                  <a:lnTo>
                    <a:pt x="151573" y="134868"/>
                  </a:lnTo>
                  <a:lnTo>
                    <a:pt x="152061" y="133160"/>
                  </a:lnTo>
                  <a:lnTo>
                    <a:pt x="152305" y="131209"/>
                  </a:lnTo>
                  <a:lnTo>
                    <a:pt x="153159" y="125112"/>
                  </a:lnTo>
                  <a:lnTo>
                    <a:pt x="153768" y="120600"/>
                  </a:lnTo>
                  <a:lnTo>
                    <a:pt x="154012" y="119503"/>
                  </a:lnTo>
                  <a:lnTo>
                    <a:pt x="154500" y="118527"/>
                  </a:lnTo>
                  <a:lnTo>
                    <a:pt x="158158" y="111943"/>
                  </a:lnTo>
                  <a:lnTo>
                    <a:pt x="158524" y="111333"/>
                  </a:lnTo>
                  <a:lnTo>
                    <a:pt x="157792" y="98041"/>
                  </a:lnTo>
                  <a:lnTo>
                    <a:pt x="154866" y="96944"/>
                  </a:lnTo>
                  <a:lnTo>
                    <a:pt x="149378" y="94871"/>
                  </a:lnTo>
                  <a:lnTo>
                    <a:pt x="146208" y="96090"/>
                  </a:lnTo>
                  <a:lnTo>
                    <a:pt x="142306" y="97797"/>
                  </a:lnTo>
                  <a:lnTo>
                    <a:pt x="134258" y="101090"/>
                  </a:lnTo>
                  <a:lnTo>
                    <a:pt x="133770" y="92432"/>
                  </a:lnTo>
                  <a:lnTo>
                    <a:pt x="133526" y="85481"/>
                  </a:lnTo>
                  <a:lnTo>
                    <a:pt x="133160" y="78043"/>
                  </a:lnTo>
                  <a:lnTo>
                    <a:pt x="108772" y="67556"/>
                  </a:lnTo>
                  <a:lnTo>
                    <a:pt x="94748" y="60605"/>
                  </a:lnTo>
                  <a:lnTo>
                    <a:pt x="91578" y="59020"/>
                  </a:lnTo>
                  <a:lnTo>
                    <a:pt x="91334" y="55483"/>
                  </a:lnTo>
                  <a:lnTo>
                    <a:pt x="88773" y="10365"/>
                  </a:lnTo>
                  <a:lnTo>
                    <a:pt x="86822" y="8780"/>
                  </a:lnTo>
                  <a:lnTo>
                    <a:pt x="76091" y="0"/>
                  </a:lnTo>
                  <a:lnTo>
                    <a:pt x="32924" y="854"/>
                  </a:lnTo>
                  <a:lnTo>
                    <a:pt x="12438" y="9512"/>
                  </a:lnTo>
                  <a:lnTo>
                    <a:pt x="8658" y="18535"/>
                  </a:lnTo>
                  <a:lnTo>
                    <a:pt x="4878" y="43655"/>
                  </a:lnTo>
                  <a:lnTo>
                    <a:pt x="4756" y="44265"/>
                  </a:lnTo>
                  <a:lnTo>
                    <a:pt x="4512" y="44753"/>
                  </a:lnTo>
                  <a:lnTo>
                    <a:pt x="0" y="58410"/>
                  </a:lnTo>
                  <a:lnTo>
                    <a:pt x="1707" y="59264"/>
                  </a:lnTo>
                  <a:lnTo>
                    <a:pt x="7195" y="62312"/>
                  </a:lnTo>
                  <a:lnTo>
                    <a:pt x="8170" y="62800"/>
                  </a:lnTo>
                  <a:lnTo>
                    <a:pt x="8780" y="63654"/>
                  </a:lnTo>
                  <a:lnTo>
                    <a:pt x="18901" y="75116"/>
                  </a:lnTo>
                  <a:lnTo>
                    <a:pt x="21096" y="77799"/>
                  </a:lnTo>
                  <a:lnTo>
                    <a:pt x="30973" y="90969"/>
                  </a:lnTo>
                  <a:lnTo>
                    <a:pt x="37680" y="90115"/>
                  </a:lnTo>
                  <a:lnTo>
                    <a:pt x="43045" y="89505"/>
                  </a:lnTo>
                  <a:lnTo>
                    <a:pt x="45484" y="89261"/>
                  </a:lnTo>
                  <a:lnTo>
                    <a:pt x="47435" y="90725"/>
                  </a:lnTo>
                  <a:lnTo>
                    <a:pt x="60117" y="100358"/>
                  </a:lnTo>
                  <a:lnTo>
                    <a:pt x="62190" y="101943"/>
                  </a:lnTo>
                  <a:lnTo>
                    <a:pt x="65239" y="102797"/>
                  </a:lnTo>
                  <a:lnTo>
                    <a:pt x="90237" y="109260"/>
                  </a:lnTo>
                  <a:lnTo>
                    <a:pt x="91578" y="109626"/>
                  </a:lnTo>
                  <a:lnTo>
                    <a:pt x="92676" y="110479"/>
                  </a:lnTo>
                  <a:lnTo>
                    <a:pt x="104748" y="120844"/>
                  </a:lnTo>
                  <a:lnTo>
                    <a:pt x="107187" y="122917"/>
                  </a:lnTo>
                  <a:lnTo>
                    <a:pt x="106821" y="126088"/>
                  </a:lnTo>
                  <a:lnTo>
                    <a:pt x="105967" y="13303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8" name="Freihandform: Form 687">
              <a:extLst>
                <a:ext uri="{FF2B5EF4-FFF2-40B4-BE49-F238E27FC236}">
                  <a16:creationId xmlns:a16="http://schemas.microsoft.com/office/drawing/2014/main" id="{F807C2C2-85BF-44D3-BD8F-8F9A148D494D}"/>
                </a:ext>
              </a:extLst>
            </p:cNvPr>
            <p:cNvSpPr/>
            <p:nvPr/>
          </p:nvSpPr>
          <p:spPr>
            <a:xfrm>
              <a:off x="3008464" y="4673195"/>
              <a:ext cx="3048" cy="6584"/>
            </a:xfrm>
            <a:custGeom>
              <a:avLst/>
              <a:gdLst>
                <a:gd name="connsiteX0" fmla="*/ 0 w 3048"/>
                <a:gd name="connsiteY0" fmla="*/ 3658 h 6584"/>
                <a:gd name="connsiteX1" fmla="*/ 1097 w 3048"/>
                <a:gd name="connsiteY1" fmla="*/ 6585 h 6584"/>
                <a:gd name="connsiteX2" fmla="*/ 3049 w 3048"/>
                <a:gd name="connsiteY2" fmla="*/ 6585 h 6584"/>
                <a:gd name="connsiteX3" fmla="*/ 2439 w 3048"/>
                <a:gd name="connsiteY3" fmla="*/ 1585 h 6584"/>
                <a:gd name="connsiteX4" fmla="*/ 854 w 3048"/>
                <a:gd name="connsiteY4" fmla="*/ 0 h 6584"/>
                <a:gd name="connsiteX5" fmla="*/ 0 w 3048"/>
                <a:gd name="connsiteY5" fmla="*/ 3658 h 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" h="6584">
                  <a:moveTo>
                    <a:pt x="0" y="3658"/>
                  </a:moveTo>
                  <a:lnTo>
                    <a:pt x="1097" y="6585"/>
                  </a:lnTo>
                  <a:lnTo>
                    <a:pt x="3049" y="6585"/>
                  </a:lnTo>
                  <a:lnTo>
                    <a:pt x="2439" y="1585"/>
                  </a:lnTo>
                  <a:lnTo>
                    <a:pt x="854" y="0"/>
                  </a:lnTo>
                  <a:lnTo>
                    <a:pt x="0" y="365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89" name="Freihandform: Form 688">
              <a:extLst>
                <a:ext uri="{FF2B5EF4-FFF2-40B4-BE49-F238E27FC236}">
                  <a16:creationId xmlns:a16="http://schemas.microsoft.com/office/drawing/2014/main" id="{65245F69-0F81-4141-8C75-D69323D3D2ED}"/>
                </a:ext>
              </a:extLst>
            </p:cNvPr>
            <p:cNvSpPr/>
            <p:nvPr/>
          </p:nvSpPr>
          <p:spPr>
            <a:xfrm>
              <a:off x="3010659" y="4637588"/>
              <a:ext cx="28168" cy="45849"/>
            </a:xfrm>
            <a:custGeom>
              <a:avLst/>
              <a:gdLst>
                <a:gd name="connsiteX0" fmla="*/ 8048 w 28168"/>
                <a:gd name="connsiteY0" fmla="*/ 34144 h 45849"/>
                <a:gd name="connsiteX1" fmla="*/ 13048 w 28168"/>
                <a:gd name="connsiteY1" fmla="*/ 40119 h 45849"/>
                <a:gd name="connsiteX2" fmla="*/ 21827 w 28168"/>
                <a:gd name="connsiteY2" fmla="*/ 44631 h 45849"/>
                <a:gd name="connsiteX3" fmla="*/ 28168 w 28168"/>
                <a:gd name="connsiteY3" fmla="*/ 45850 h 45849"/>
                <a:gd name="connsiteX4" fmla="*/ 27559 w 28168"/>
                <a:gd name="connsiteY4" fmla="*/ 2561 h 45849"/>
                <a:gd name="connsiteX5" fmla="*/ 27559 w 28168"/>
                <a:gd name="connsiteY5" fmla="*/ 1097 h 45849"/>
                <a:gd name="connsiteX6" fmla="*/ 24876 w 28168"/>
                <a:gd name="connsiteY6" fmla="*/ 1463 h 45849"/>
                <a:gd name="connsiteX7" fmla="*/ 17925 w 28168"/>
                <a:gd name="connsiteY7" fmla="*/ 0 h 45849"/>
                <a:gd name="connsiteX8" fmla="*/ 12682 w 28168"/>
                <a:gd name="connsiteY8" fmla="*/ 4268 h 45849"/>
                <a:gd name="connsiteX9" fmla="*/ 0 w 28168"/>
                <a:gd name="connsiteY9" fmla="*/ 11463 h 45849"/>
                <a:gd name="connsiteX10" fmla="*/ 1463 w 28168"/>
                <a:gd name="connsiteY10" fmla="*/ 15730 h 45849"/>
                <a:gd name="connsiteX11" fmla="*/ 1463 w 28168"/>
                <a:gd name="connsiteY11" fmla="*/ 20608 h 45849"/>
                <a:gd name="connsiteX12" fmla="*/ 6219 w 28168"/>
                <a:gd name="connsiteY12" fmla="*/ 18169 h 45849"/>
                <a:gd name="connsiteX13" fmla="*/ 13779 w 28168"/>
                <a:gd name="connsiteY13" fmla="*/ 15486 h 45849"/>
                <a:gd name="connsiteX14" fmla="*/ 22559 w 28168"/>
                <a:gd name="connsiteY14" fmla="*/ 20364 h 45849"/>
                <a:gd name="connsiteX15" fmla="*/ 22559 w 28168"/>
                <a:gd name="connsiteY15" fmla="*/ 20364 h 45849"/>
                <a:gd name="connsiteX16" fmla="*/ 22559 w 28168"/>
                <a:gd name="connsiteY16" fmla="*/ 20364 h 45849"/>
                <a:gd name="connsiteX17" fmla="*/ 15730 w 28168"/>
                <a:gd name="connsiteY17" fmla="*/ 28290 h 45849"/>
                <a:gd name="connsiteX18" fmla="*/ 8048 w 28168"/>
                <a:gd name="connsiteY18" fmla="*/ 34144 h 4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168" h="45849">
                  <a:moveTo>
                    <a:pt x="8048" y="34144"/>
                  </a:moveTo>
                  <a:lnTo>
                    <a:pt x="13048" y="40119"/>
                  </a:lnTo>
                  <a:lnTo>
                    <a:pt x="21827" y="44631"/>
                  </a:lnTo>
                  <a:lnTo>
                    <a:pt x="28168" y="45850"/>
                  </a:lnTo>
                  <a:lnTo>
                    <a:pt x="27559" y="2561"/>
                  </a:lnTo>
                  <a:lnTo>
                    <a:pt x="27559" y="1097"/>
                  </a:lnTo>
                  <a:lnTo>
                    <a:pt x="24876" y="1463"/>
                  </a:lnTo>
                  <a:lnTo>
                    <a:pt x="17925" y="0"/>
                  </a:lnTo>
                  <a:lnTo>
                    <a:pt x="12682" y="4268"/>
                  </a:lnTo>
                  <a:lnTo>
                    <a:pt x="0" y="11463"/>
                  </a:lnTo>
                  <a:lnTo>
                    <a:pt x="1463" y="15730"/>
                  </a:lnTo>
                  <a:lnTo>
                    <a:pt x="1463" y="20608"/>
                  </a:lnTo>
                  <a:lnTo>
                    <a:pt x="6219" y="18169"/>
                  </a:lnTo>
                  <a:lnTo>
                    <a:pt x="13779" y="15486"/>
                  </a:lnTo>
                  <a:lnTo>
                    <a:pt x="22559" y="20364"/>
                  </a:lnTo>
                  <a:lnTo>
                    <a:pt x="22559" y="20364"/>
                  </a:lnTo>
                  <a:lnTo>
                    <a:pt x="22559" y="20364"/>
                  </a:lnTo>
                  <a:lnTo>
                    <a:pt x="15730" y="28290"/>
                  </a:lnTo>
                  <a:lnTo>
                    <a:pt x="8048" y="341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0" name="Freihandform: Form 689">
              <a:extLst>
                <a:ext uri="{FF2B5EF4-FFF2-40B4-BE49-F238E27FC236}">
                  <a16:creationId xmlns:a16="http://schemas.microsoft.com/office/drawing/2014/main" id="{5FBF9EA4-69EA-47DF-819C-BE2A910D4D5C}"/>
                </a:ext>
              </a:extLst>
            </p:cNvPr>
            <p:cNvSpPr/>
            <p:nvPr/>
          </p:nvSpPr>
          <p:spPr>
            <a:xfrm>
              <a:off x="2863963" y="2937112"/>
              <a:ext cx="6341" cy="9633"/>
            </a:xfrm>
            <a:custGeom>
              <a:avLst/>
              <a:gdLst>
                <a:gd name="connsiteX0" fmla="*/ 5000 w 6341"/>
                <a:gd name="connsiteY0" fmla="*/ 3902 h 9633"/>
                <a:gd name="connsiteX1" fmla="*/ 2439 w 6341"/>
                <a:gd name="connsiteY1" fmla="*/ 0 h 9633"/>
                <a:gd name="connsiteX2" fmla="*/ 0 w 6341"/>
                <a:gd name="connsiteY2" fmla="*/ 2805 h 9633"/>
                <a:gd name="connsiteX3" fmla="*/ 1341 w 6341"/>
                <a:gd name="connsiteY3" fmla="*/ 9633 h 9633"/>
                <a:gd name="connsiteX4" fmla="*/ 6341 w 6341"/>
                <a:gd name="connsiteY4" fmla="*/ 8414 h 9633"/>
                <a:gd name="connsiteX5" fmla="*/ 5000 w 6341"/>
                <a:gd name="connsiteY5" fmla="*/ 3902 h 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1" h="9633">
                  <a:moveTo>
                    <a:pt x="5000" y="3902"/>
                  </a:moveTo>
                  <a:lnTo>
                    <a:pt x="2439" y="0"/>
                  </a:lnTo>
                  <a:lnTo>
                    <a:pt x="0" y="2805"/>
                  </a:lnTo>
                  <a:lnTo>
                    <a:pt x="1341" y="9633"/>
                  </a:lnTo>
                  <a:lnTo>
                    <a:pt x="6341" y="8414"/>
                  </a:lnTo>
                  <a:lnTo>
                    <a:pt x="5000" y="3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1" name="Freihandform: Form 690">
              <a:extLst>
                <a:ext uri="{FF2B5EF4-FFF2-40B4-BE49-F238E27FC236}">
                  <a16:creationId xmlns:a16="http://schemas.microsoft.com/office/drawing/2014/main" id="{C142BC28-99BA-4FDF-A075-FB5A27C8950C}"/>
                </a:ext>
              </a:extLst>
            </p:cNvPr>
            <p:cNvSpPr/>
            <p:nvPr/>
          </p:nvSpPr>
          <p:spPr>
            <a:xfrm>
              <a:off x="2050369" y="1310411"/>
              <a:ext cx="18535" cy="13047"/>
            </a:xfrm>
            <a:custGeom>
              <a:avLst/>
              <a:gdLst>
                <a:gd name="connsiteX0" fmla="*/ 0 w 18535"/>
                <a:gd name="connsiteY0" fmla="*/ 11706 h 13047"/>
                <a:gd name="connsiteX1" fmla="*/ 9146 w 18535"/>
                <a:gd name="connsiteY1" fmla="*/ 13048 h 13047"/>
                <a:gd name="connsiteX2" fmla="*/ 17925 w 18535"/>
                <a:gd name="connsiteY2" fmla="*/ 3292 h 13047"/>
                <a:gd name="connsiteX3" fmla="*/ 18535 w 18535"/>
                <a:gd name="connsiteY3" fmla="*/ 0 h 13047"/>
                <a:gd name="connsiteX4" fmla="*/ 12316 w 18535"/>
                <a:gd name="connsiteY4" fmla="*/ 1829 h 13047"/>
                <a:gd name="connsiteX5" fmla="*/ 366 w 18535"/>
                <a:gd name="connsiteY5" fmla="*/ 10487 h 13047"/>
                <a:gd name="connsiteX6" fmla="*/ 0 w 18535"/>
                <a:gd name="connsiteY6" fmla="*/ 11706 h 1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535" h="13047">
                  <a:moveTo>
                    <a:pt x="0" y="11706"/>
                  </a:moveTo>
                  <a:lnTo>
                    <a:pt x="9146" y="13048"/>
                  </a:lnTo>
                  <a:lnTo>
                    <a:pt x="17925" y="3292"/>
                  </a:lnTo>
                  <a:lnTo>
                    <a:pt x="18535" y="0"/>
                  </a:lnTo>
                  <a:lnTo>
                    <a:pt x="12316" y="1829"/>
                  </a:lnTo>
                  <a:lnTo>
                    <a:pt x="366" y="10487"/>
                  </a:lnTo>
                  <a:lnTo>
                    <a:pt x="0" y="1170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2" name="Freihandform: Form 691">
              <a:extLst>
                <a:ext uri="{FF2B5EF4-FFF2-40B4-BE49-F238E27FC236}">
                  <a16:creationId xmlns:a16="http://schemas.microsoft.com/office/drawing/2014/main" id="{8DDF73D7-1747-4924-8A60-583D5E70D8A4}"/>
                </a:ext>
              </a:extLst>
            </p:cNvPr>
            <p:cNvSpPr/>
            <p:nvPr/>
          </p:nvSpPr>
          <p:spPr>
            <a:xfrm>
              <a:off x="3198571" y="3146608"/>
              <a:ext cx="4633" cy="5487"/>
            </a:xfrm>
            <a:custGeom>
              <a:avLst/>
              <a:gdLst>
                <a:gd name="connsiteX0" fmla="*/ 3780 w 4633"/>
                <a:gd name="connsiteY0" fmla="*/ 1219 h 5487"/>
                <a:gd name="connsiteX1" fmla="*/ 488 w 4633"/>
                <a:gd name="connsiteY1" fmla="*/ 0 h 5487"/>
                <a:gd name="connsiteX2" fmla="*/ 0 w 4633"/>
                <a:gd name="connsiteY2" fmla="*/ 488 h 5487"/>
                <a:gd name="connsiteX3" fmla="*/ 4634 w 4633"/>
                <a:gd name="connsiteY3" fmla="*/ 5487 h 5487"/>
                <a:gd name="connsiteX4" fmla="*/ 3780 w 4633"/>
                <a:gd name="connsiteY4" fmla="*/ 1219 h 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3" h="5487">
                  <a:moveTo>
                    <a:pt x="3780" y="1219"/>
                  </a:moveTo>
                  <a:lnTo>
                    <a:pt x="488" y="0"/>
                  </a:lnTo>
                  <a:lnTo>
                    <a:pt x="0" y="488"/>
                  </a:lnTo>
                  <a:lnTo>
                    <a:pt x="4634" y="5487"/>
                  </a:lnTo>
                  <a:lnTo>
                    <a:pt x="3780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3" name="Freihandform: Form 692">
              <a:extLst>
                <a:ext uri="{FF2B5EF4-FFF2-40B4-BE49-F238E27FC236}">
                  <a16:creationId xmlns:a16="http://schemas.microsoft.com/office/drawing/2014/main" id="{2DA542E1-B0B8-4CA1-8C8D-2F429838FFE7}"/>
                </a:ext>
              </a:extLst>
            </p:cNvPr>
            <p:cNvSpPr/>
            <p:nvPr/>
          </p:nvSpPr>
          <p:spPr>
            <a:xfrm>
              <a:off x="3196986" y="3178434"/>
              <a:ext cx="975" cy="975"/>
            </a:xfrm>
            <a:custGeom>
              <a:avLst/>
              <a:gdLst>
                <a:gd name="connsiteX0" fmla="*/ 0 w 975"/>
                <a:gd name="connsiteY0" fmla="*/ 122 h 975"/>
                <a:gd name="connsiteX1" fmla="*/ 0 w 975"/>
                <a:gd name="connsiteY1" fmla="*/ 975 h 975"/>
                <a:gd name="connsiteX2" fmla="*/ 976 w 975"/>
                <a:gd name="connsiteY2" fmla="*/ 366 h 975"/>
                <a:gd name="connsiteX3" fmla="*/ 853 w 975"/>
                <a:gd name="connsiteY3" fmla="*/ 0 h 975"/>
                <a:gd name="connsiteX4" fmla="*/ 0 w 975"/>
                <a:gd name="connsiteY4" fmla="*/ 122 h 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5" h="975">
                  <a:moveTo>
                    <a:pt x="0" y="122"/>
                  </a:moveTo>
                  <a:lnTo>
                    <a:pt x="0" y="975"/>
                  </a:lnTo>
                  <a:lnTo>
                    <a:pt x="976" y="366"/>
                  </a:lnTo>
                  <a:lnTo>
                    <a:pt x="853" y="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4" name="Freihandform: Form 693">
              <a:extLst>
                <a:ext uri="{FF2B5EF4-FFF2-40B4-BE49-F238E27FC236}">
                  <a16:creationId xmlns:a16="http://schemas.microsoft.com/office/drawing/2014/main" id="{E984ABDB-CBC4-468D-A825-86FE103DCC74}"/>
                </a:ext>
              </a:extLst>
            </p:cNvPr>
            <p:cNvSpPr/>
            <p:nvPr/>
          </p:nvSpPr>
          <p:spPr>
            <a:xfrm>
              <a:off x="3194913" y="3131853"/>
              <a:ext cx="1829" cy="1707"/>
            </a:xfrm>
            <a:custGeom>
              <a:avLst/>
              <a:gdLst>
                <a:gd name="connsiteX0" fmla="*/ 1829 w 1829"/>
                <a:gd name="connsiteY0" fmla="*/ 1219 h 1707"/>
                <a:gd name="connsiteX1" fmla="*/ 488 w 1829"/>
                <a:gd name="connsiteY1" fmla="*/ 0 h 1707"/>
                <a:gd name="connsiteX2" fmla="*/ 0 w 1829"/>
                <a:gd name="connsiteY2" fmla="*/ 366 h 1707"/>
                <a:gd name="connsiteX3" fmla="*/ 853 w 1829"/>
                <a:gd name="connsiteY3" fmla="*/ 1707 h 1707"/>
                <a:gd name="connsiteX4" fmla="*/ 1829 w 1829"/>
                <a:gd name="connsiteY4" fmla="*/ 1219 h 1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" h="1707">
                  <a:moveTo>
                    <a:pt x="1829" y="1219"/>
                  </a:moveTo>
                  <a:lnTo>
                    <a:pt x="488" y="0"/>
                  </a:lnTo>
                  <a:lnTo>
                    <a:pt x="0" y="366"/>
                  </a:lnTo>
                  <a:lnTo>
                    <a:pt x="853" y="1707"/>
                  </a:lnTo>
                  <a:lnTo>
                    <a:pt x="1829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5" name="Freihandform: Form 694">
              <a:extLst>
                <a:ext uri="{FF2B5EF4-FFF2-40B4-BE49-F238E27FC236}">
                  <a16:creationId xmlns:a16="http://schemas.microsoft.com/office/drawing/2014/main" id="{99EA3A3E-7DC8-4CB0-80B6-860527C24C71}"/>
                </a:ext>
              </a:extLst>
            </p:cNvPr>
            <p:cNvSpPr/>
            <p:nvPr/>
          </p:nvSpPr>
          <p:spPr>
            <a:xfrm>
              <a:off x="3188572" y="3195872"/>
              <a:ext cx="2438" cy="2072"/>
            </a:xfrm>
            <a:custGeom>
              <a:avLst/>
              <a:gdLst>
                <a:gd name="connsiteX0" fmla="*/ 2439 w 2438"/>
                <a:gd name="connsiteY0" fmla="*/ 854 h 2072"/>
                <a:gd name="connsiteX1" fmla="*/ 732 w 2438"/>
                <a:gd name="connsiteY1" fmla="*/ 0 h 2072"/>
                <a:gd name="connsiteX2" fmla="*/ 0 w 2438"/>
                <a:gd name="connsiteY2" fmla="*/ 976 h 2072"/>
                <a:gd name="connsiteX3" fmla="*/ 1585 w 2438"/>
                <a:gd name="connsiteY3" fmla="*/ 2073 h 2072"/>
                <a:gd name="connsiteX4" fmla="*/ 2439 w 2438"/>
                <a:gd name="connsiteY4" fmla="*/ 854 h 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8" h="2072">
                  <a:moveTo>
                    <a:pt x="2439" y="854"/>
                  </a:moveTo>
                  <a:lnTo>
                    <a:pt x="732" y="0"/>
                  </a:lnTo>
                  <a:lnTo>
                    <a:pt x="0" y="976"/>
                  </a:lnTo>
                  <a:lnTo>
                    <a:pt x="1585" y="2073"/>
                  </a:lnTo>
                  <a:lnTo>
                    <a:pt x="2439" y="8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6" name="Freihandform: Form 695">
              <a:extLst>
                <a:ext uri="{FF2B5EF4-FFF2-40B4-BE49-F238E27FC236}">
                  <a16:creationId xmlns:a16="http://schemas.microsoft.com/office/drawing/2014/main" id="{AB826537-40DB-4036-80E3-416792967B77}"/>
                </a:ext>
              </a:extLst>
            </p:cNvPr>
            <p:cNvSpPr/>
            <p:nvPr/>
          </p:nvSpPr>
          <p:spPr>
            <a:xfrm>
              <a:off x="2874450" y="2894798"/>
              <a:ext cx="5609" cy="8657"/>
            </a:xfrm>
            <a:custGeom>
              <a:avLst/>
              <a:gdLst>
                <a:gd name="connsiteX0" fmla="*/ 1098 w 5609"/>
                <a:gd name="connsiteY0" fmla="*/ 0 h 8657"/>
                <a:gd name="connsiteX1" fmla="*/ 0 w 5609"/>
                <a:gd name="connsiteY1" fmla="*/ 122 h 8657"/>
                <a:gd name="connsiteX2" fmla="*/ 5488 w 5609"/>
                <a:gd name="connsiteY2" fmla="*/ 8658 h 8657"/>
                <a:gd name="connsiteX3" fmla="*/ 5609 w 5609"/>
                <a:gd name="connsiteY3" fmla="*/ 6219 h 8657"/>
                <a:gd name="connsiteX4" fmla="*/ 1098 w 5609"/>
                <a:gd name="connsiteY4" fmla="*/ 0 h 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9" h="8657">
                  <a:moveTo>
                    <a:pt x="1098" y="0"/>
                  </a:moveTo>
                  <a:lnTo>
                    <a:pt x="0" y="122"/>
                  </a:lnTo>
                  <a:lnTo>
                    <a:pt x="5488" y="8658"/>
                  </a:lnTo>
                  <a:lnTo>
                    <a:pt x="5609" y="6219"/>
                  </a:lnTo>
                  <a:lnTo>
                    <a:pt x="109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7" name="Freihandform: Form 696">
              <a:extLst>
                <a:ext uri="{FF2B5EF4-FFF2-40B4-BE49-F238E27FC236}">
                  <a16:creationId xmlns:a16="http://schemas.microsoft.com/office/drawing/2014/main" id="{84136A62-004F-4D2E-93FE-C37521B692F9}"/>
                </a:ext>
              </a:extLst>
            </p:cNvPr>
            <p:cNvSpPr/>
            <p:nvPr/>
          </p:nvSpPr>
          <p:spPr>
            <a:xfrm>
              <a:off x="2856281" y="2897603"/>
              <a:ext cx="5731" cy="609"/>
            </a:xfrm>
            <a:custGeom>
              <a:avLst/>
              <a:gdLst>
                <a:gd name="connsiteX0" fmla="*/ 122 w 5731"/>
                <a:gd name="connsiteY0" fmla="*/ 0 h 609"/>
                <a:gd name="connsiteX1" fmla="*/ 0 w 5731"/>
                <a:gd name="connsiteY1" fmla="*/ 610 h 609"/>
                <a:gd name="connsiteX2" fmla="*/ 5731 w 5731"/>
                <a:gd name="connsiteY2" fmla="*/ 610 h 609"/>
                <a:gd name="connsiteX3" fmla="*/ 5731 w 5731"/>
                <a:gd name="connsiteY3" fmla="*/ 488 h 609"/>
                <a:gd name="connsiteX4" fmla="*/ 122 w 5731"/>
                <a:gd name="connsiteY4" fmla="*/ 0 h 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1" h="609">
                  <a:moveTo>
                    <a:pt x="122" y="0"/>
                  </a:moveTo>
                  <a:lnTo>
                    <a:pt x="0" y="610"/>
                  </a:lnTo>
                  <a:lnTo>
                    <a:pt x="5731" y="610"/>
                  </a:lnTo>
                  <a:lnTo>
                    <a:pt x="5731" y="48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8" name="Freihandform: Form 697">
              <a:extLst>
                <a:ext uri="{FF2B5EF4-FFF2-40B4-BE49-F238E27FC236}">
                  <a16:creationId xmlns:a16="http://schemas.microsoft.com/office/drawing/2014/main" id="{436E31E7-1745-450E-A033-0813AD51D493}"/>
                </a:ext>
              </a:extLst>
            </p:cNvPr>
            <p:cNvSpPr/>
            <p:nvPr/>
          </p:nvSpPr>
          <p:spPr>
            <a:xfrm>
              <a:off x="3188084" y="3115878"/>
              <a:ext cx="2195" cy="3414"/>
            </a:xfrm>
            <a:custGeom>
              <a:avLst/>
              <a:gdLst>
                <a:gd name="connsiteX0" fmla="*/ 2195 w 2195"/>
                <a:gd name="connsiteY0" fmla="*/ 610 h 3414"/>
                <a:gd name="connsiteX1" fmla="*/ 0 w 2195"/>
                <a:gd name="connsiteY1" fmla="*/ 0 h 3414"/>
                <a:gd name="connsiteX2" fmla="*/ 366 w 2195"/>
                <a:gd name="connsiteY2" fmla="*/ 2439 h 3414"/>
                <a:gd name="connsiteX3" fmla="*/ 1463 w 2195"/>
                <a:gd name="connsiteY3" fmla="*/ 3414 h 3414"/>
                <a:gd name="connsiteX4" fmla="*/ 2195 w 2195"/>
                <a:gd name="connsiteY4" fmla="*/ 610 h 3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5" h="3414">
                  <a:moveTo>
                    <a:pt x="2195" y="610"/>
                  </a:moveTo>
                  <a:lnTo>
                    <a:pt x="0" y="0"/>
                  </a:lnTo>
                  <a:lnTo>
                    <a:pt x="366" y="2439"/>
                  </a:lnTo>
                  <a:lnTo>
                    <a:pt x="1463" y="3414"/>
                  </a:lnTo>
                  <a:lnTo>
                    <a:pt x="2195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699" name="Freihandform: Form 698">
              <a:extLst>
                <a:ext uri="{FF2B5EF4-FFF2-40B4-BE49-F238E27FC236}">
                  <a16:creationId xmlns:a16="http://schemas.microsoft.com/office/drawing/2014/main" id="{F1E4FCA8-C2B3-4F4D-9651-F6655EC4A996}"/>
                </a:ext>
              </a:extLst>
            </p:cNvPr>
            <p:cNvSpPr/>
            <p:nvPr/>
          </p:nvSpPr>
          <p:spPr>
            <a:xfrm>
              <a:off x="3030292" y="2320331"/>
              <a:ext cx="163889" cy="162914"/>
            </a:xfrm>
            <a:custGeom>
              <a:avLst/>
              <a:gdLst>
                <a:gd name="connsiteX0" fmla="*/ 51459 w 163889"/>
                <a:gd name="connsiteY0" fmla="*/ 111089 h 162914"/>
                <a:gd name="connsiteX1" fmla="*/ 52191 w 163889"/>
                <a:gd name="connsiteY1" fmla="*/ 112308 h 162914"/>
                <a:gd name="connsiteX2" fmla="*/ 52313 w 163889"/>
                <a:gd name="connsiteY2" fmla="*/ 113772 h 162914"/>
                <a:gd name="connsiteX3" fmla="*/ 54020 w 163889"/>
                <a:gd name="connsiteY3" fmla="*/ 129136 h 162914"/>
                <a:gd name="connsiteX4" fmla="*/ 56825 w 163889"/>
                <a:gd name="connsiteY4" fmla="*/ 127673 h 162914"/>
                <a:gd name="connsiteX5" fmla="*/ 63653 w 163889"/>
                <a:gd name="connsiteY5" fmla="*/ 117918 h 162914"/>
                <a:gd name="connsiteX6" fmla="*/ 76335 w 163889"/>
                <a:gd name="connsiteY6" fmla="*/ 114991 h 162914"/>
                <a:gd name="connsiteX7" fmla="*/ 88408 w 163889"/>
                <a:gd name="connsiteY7" fmla="*/ 107553 h 162914"/>
                <a:gd name="connsiteX8" fmla="*/ 100114 w 163889"/>
                <a:gd name="connsiteY8" fmla="*/ 100114 h 162914"/>
                <a:gd name="connsiteX9" fmla="*/ 105114 w 163889"/>
                <a:gd name="connsiteY9" fmla="*/ 104992 h 162914"/>
                <a:gd name="connsiteX10" fmla="*/ 103406 w 163889"/>
                <a:gd name="connsiteY10" fmla="*/ 110967 h 162914"/>
                <a:gd name="connsiteX11" fmla="*/ 105479 w 163889"/>
                <a:gd name="connsiteY11" fmla="*/ 111821 h 162914"/>
                <a:gd name="connsiteX12" fmla="*/ 110235 w 163889"/>
                <a:gd name="connsiteY12" fmla="*/ 109382 h 162914"/>
                <a:gd name="connsiteX13" fmla="*/ 113771 w 163889"/>
                <a:gd name="connsiteY13" fmla="*/ 116454 h 162914"/>
                <a:gd name="connsiteX14" fmla="*/ 104504 w 163889"/>
                <a:gd name="connsiteY14" fmla="*/ 125722 h 162914"/>
                <a:gd name="connsiteX15" fmla="*/ 96090 w 163889"/>
                <a:gd name="connsiteY15" fmla="*/ 125722 h 162914"/>
                <a:gd name="connsiteX16" fmla="*/ 83042 w 163889"/>
                <a:gd name="connsiteY16" fmla="*/ 140599 h 162914"/>
                <a:gd name="connsiteX17" fmla="*/ 76945 w 163889"/>
                <a:gd name="connsiteY17" fmla="*/ 142306 h 162914"/>
                <a:gd name="connsiteX18" fmla="*/ 72921 w 163889"/>
                <a:gd name="connsiteY18" fmla="*/ 156939 h 162914"/>
                <a:gd name="connsiteX19" fmla="*/ 79750 w 163889"/>
                <a:gd name="connsiteY19" fmla="*/ 162914 h 162914"/>
                <a:gd name="connsiteX20" fmla="*/ 89505 w 163889"/>
                <a:gd name="connsiteY20" fmla="*/ 162182 h 162914"/>
                <a:gd name="connsiteX21" fmla="*/ 97187 w 163889"/>
                <a:gd name="connsiteY21" fmla="*/ 155354 h 162914"/>
                <a:gd name="connsiteX22" fmla="*/ 100236 w 163889"/>
                <a:gd name="connsiteY22" fmla="*/ 149622 h 162914"/>
                <a:gd name="connsiteX23" fmla="*/ 118649 w 163889"/>
                <a:gd name="connsiteY23" fmla="*/ 129014 h 162914"/>
                <a:gd name="connsiteX24" fmla="*/ 125478 w 163889"/>
                <a:gd name="connsiteY24" fmla="*/ 135721 h 162914"/>
                <a:gd name="connsiteX25" fmla="*/ 129380 w 163889"/>
                <a:gd name="connsiteY25" fmla="*/ 136453 h 162914"/>
                <a:gd name="connsiteX26" fmla="*/ 133770 w 163889"/>
                <a:gd name="connsiteY26" fmla="*/ 132063 h 162914"/>
                <a:gd name="connsiteX27" fmla="*/ 144867 w 163889"/>
                <a:gd name="connsiteY27" fmla="*/ 129990 h 162914"/>
                <a:gd name="connsiteX28" fmla="*/ 153768 w 163889"/>
                <a:gd name="connsiteY28" fmla="*/ 129136 h 162914"/>
                <a:gd name="connsiteX29" fmla="*/ 163889 w 163889"/>
                <a:gd name="connsiteY29" fmla="*/ 119869 h 162914"/>
                <a:gd name="connsiteX30" fmla="*/ 163889 w 163889"/>
                <a:gd name="connsiteY30" fmla="*/ 112796 h 162914"/>
                <a:gd name="connsiteX31" fmla="*/ 157061 w 163889"/>
                <a:gd name="connsiteY31" fmla="*/ 113650 h 162914"/>
                <a:gd name="connsiteX32" fmla="*/ 154500 w 163889"/>
                <a:gd name="connsiteY32" fmla="*/ 106577 h 162914"/>
                <a:gd name="connsiteX33" fmla="*/ 145598 w 163889"/>
                <a:gd name="connsiteY33" fmla="*/ 110601 h 162914"/>
                <a:gd name="connsiteX34" fmla="*/ 130355 w 163889"/>
                <a:gd name="connsiteY34" fmla="*/ 109626 h 162914"/>
                <a:gd name="connsiteX35" fmla="*/ 119991 w 163889"/>
                <a:gd name="connsiteY35" fmla="*/ 102309 h 162914"/>
                <a:gd name="connsiteX36" fmla="*/ 114503 w 163889"/>
                <a:gd name="connsiteY36" fmla="*/ 95846 h 162914"/>
                <a:gd name="connsiteX37" fmla="*/ 93163 w 163889"/>
                <a:gd name="connsiteY37" fmla="*/ 80360 h 162914"/>
                <a:gd name="connsiteX38" fmla="*/ 90115 w 163889"/>
                <a:gd name="connsiteY38" fmla="*/ 59629 h 162914"/>
                <a:gd name="connsiteX39" fmla="*/ 94871 w 163889"/>
                <a:gd name="connsiteY39" fmla="*/ 53776 h 162914"/>
                <a:gd name="connsiteX40" fmla="*/ 94871 w 163889"/>
                <a:gd name="connsiteY40" fmla="*/ 47801 h 162914"/>
                <a:gd name="connsiteX41" fmla="*/ 83408 w 163889"/>
                <a:gd name="connsiteY41" fmla="*/ 50240 h 162914"/>
                <a:gd name="connsiteX42" fmla="*/ 74384 w 163889"/>
                <a:gd name="connsiteY42" fmla="*/ 44265 h 162914"/>
                <a:gd name="connsiteX43" fmla="*/ 61215 w 163889"/>
                <a:gd name="connsiteY43" fmla="*/ 40241 h 162914"/>
                <a:gd name="connsiteX44" fmla="*/ 59751 w 163889"/>
                <a:gd name="connsiteY44" fmla="*/ 32802 h 162914"/>
                <a:gd name="connsiteX45" fmla="*/ 70116 w 163889"/>
                <a:gd name="connsiteY45" fmla="*/ 25852 h 162914"/>
                <a:gd name="connsiteX46" fmla="*/ 85725 w 163889"/>
                <a:gd name="connsiteY46" fmla="*/ 29144 h 162914"/>
                <a:gd name="connsiteX47" fmla="*/ 93041 w 163889"/>
                <a:gd name="connsiteY47" fmla="*/ 33168 h 162914"/>
                <a:gd name="connsiteX48" fmla="*/ 108650 w 163889"/>
                <a:gd name="connsiteY48" fmla="*/ 19998 h 162914"/>
                <a:gd name="connsiteX49" fmla="*/ 105845 w 163889"/>
                <a:gd name="connsiteY49" fmla="*/ 13657 h 162914"/>
                <a:gd name="connsiteX50" fmla="*/ 102309 w 163889"/>
                <a:gd name="connsiteY50" fmla="*/ 11828 h 162914"/>
                <a:gd name="connsiteX51" fmla="*/ 87920 w 163889"/>
                <a:gd name="connsiteY51" fmla="*/ 0 h 162914"/>
                <a:gd name="connsiteX52" fmla="*/ 66824 w 163889"/>
                <a:gd name="connsiteY52" fmla="*/ 1829 h 162914"/>
                <a:gd name="connsiteX53" fmla="*/ 57556 w 163889"/>
                <a:gd name="connsiteY53" fmla="*/ 12072 h 162914"/>
                <a:gd name="connsiteX54" fmla="*/ 37680 w 163889"/>
                <a:gd name="connsiteY54" fmla="*/ 17682 h 162914"/>
                <a:gd name="connsiteX55" fmla="*/ 24388 w 163889"/>
                <a:gd name="connsiteY55" fmla="*/ 31949 h 162914"/>
                <a:gd name="connsiteX56" fmla="*/ 20608 w 163889"/>
                <a:gd name="connsiteY56" fmla="*/ 32802 h 162914"/>
                <a:gd name="connsiteX57" fmla="*/ 732 w 163889"/>
                <a:gd name="connsiteY57" fmla="*/ 53654 h 162914"/>
                <a:gd name="connsiteX58" fmla="*/ 0 w 163889"/>
                <a:gd name="connsiteY58" fmla="*/ 59629 h 162914"/>
                <a:gd name="connsiteX59" fmla="*/ 6097 w 163889"/>
                <a:gd name="connsiteY59" fmla="*/ 56581 h 162914"/>
                <a:gd name="connsiteX60" fmla="*/ 8780 w 163889"/>
                <a:gd name="connsiteY60" fmla="*/ 55240 h 162914"/>
                <a:gd name="connsiteX61" fmla="*/ 11340 w 163889"/>
                <a:gd name="connsiteY61" fmla="*/ 54020 h 162914"/>
                <a:gd name="connsiteX62" fmla="*/ 13901 w 163889"/>
                <a:gd name="connsiteY62" fmla="*/ 55118 h 162914"/>
                <a:gd name="connsiteX63" fmla="*/ 15852 w 163889"/>
                <a:gd name="connsiteY63" fmla="*/ 55849 h 162914"/>
                <a:gd name="connsiteX64" fmla="*/ 35729 w 163889"/>
                <a:gd name="connsiteY64" fmla="*/ 64019 h 162914"/>
                <a:gd name="connsiteX65" fmla="*/ 39509 w 163889"/>
                <a:gd name="connsiteY65" fmla="*/ 65605 h 162914"/>
                <a:gd name="connsiteX66" fmla="*/ 39509 w 163889"/>
                <a:gd name="connsiteY66" fmla="*/ 92676 h 162914"/>
                <a:gd name="connsiteX67" fmla="*/ 51459 w 163889"/>
                <a:gd name="connsiteY67" fmla="*/ 111089 h 16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63889" h="162914">
                  <a:moveTo>
                    <a:pt x="51459" y="111089"/>
                  </a:moveTo>
                  <a:lnTo>
                    <a:pt x="52191" y="112308"/>
                  </a:lnTo>
                  <a:lnTo>
                    <a:pt x="52313" y="113772"/>
                  </a:lnTo>
                  <a:lnTo>
                    <a:pt x="54020" y="129136"/>
                  </a:lnTo>
                  <a:lnTo>
                    <a:pt x="56825" y="127673"/>
                  </a:lnTo>
                  <a:lnTo>
                    <a:pt x="63653" y="117918"/>
                  </a:lnTo>
                  <a:lnTo>
                    <a:pt x="76335" y="114991"/>
                  </a:lnTo>
                  <a:lnTo>
                    <a:pt x="88408" y="107553"/>
                  </a:lnTo>
                  <a:lnTo>
                    <a:pt x="100114" y="100114"/>
                  </a:lnTo>
                  <a:lnTo>
                    <a:pt x="105114" y="104992"/>
                  </a:lnTo>
                  <a:lnTo>
                    <a:pt x="103406" y="110967"/>
                  </a:lnTo>
                  <a:lnTo>
                    <a:pt x="105479" y="111821"/>
                  </a:lnTo>
                  <a:lnTo>
                    <a:pt x="110235" y="109382"/>
                  </a:lnTo>
                  <a:lnTo>
                    <a:pt x="113771" y="116454"/>
                  </a:lnTo>
                  <a:lnTo>
                    <a:pt x="104504" y="125722"/>
                  </a:lnTo>
                  <a:lnTo>
                    <a:pt x="96090" y="125722"/>
                  </a:lnTo>
                  <a:lnTo>
                    <a:pt x="83042" y="140599"/>
                  </a:lnTo>
                  <a:lnTo>
                    <a:pt x="76945" y="142306"/>
                  </a:lnTo>
                  <a:lnTo>
                    <a:pt x="72921" y="156939"/>
                  </a:lnTo>
                  <a:lnTo>
                    <a:pt x="79750" y="162914"/>
                  </a:lnTo>
                  <a:lnTo>
                    <a:pt x="89505" y="162182"/>
                  </a:lnTo>
                  <a:lnTo>
                    <a:pt x="97187" y="155354"/>
                  </a:lnTo>
                  <a:lnTo>
                    <a:pt x="100236" y="149622"/>
                  </a:lnTo>
                  <a:lnTo>
                    <a:pt x="118649" y="129014"/>
                  </a:lnTo>
                  <a:lnTo>
                    <a:pt x="125478" y="135721"/>
                  </a:lnTo>
                  <a:lnTo>
                    <a:pt x="129380" y="136453"/>
                  </a:lnTo>
                  <a:lnTo>
                    <a:pt x="133770" y="132063"/>
                  </a:lnTo>
                  <a:lnTo>
                    <a:pt x="144867" y="129990"/>
                  </a:lnTo>
                  <a:lnTo>
                    <a:pt x="153768" y="129136"/>
                  </a:lnTo>
                  <a:lnTo>
                    <a:pt x="163889" y="119869"/>
                  </a:lnTo>
                  <a:lnTo>
                    <a:pt x="163889" y="112796"/>
                  </a:lnTo>
                  <a:lnTo>
                    <a:pt x="157061" y="113650"/>
                  </a:lnTo>
                  <a:lnTo>
                    <a:pt x="154500" y="106577"/>
                  </a:lnTo>
                  <a:lnTo>
                    <a:pt x="145598" y="110601"/>
                  </a:lnTo>
                  <a:lnTo>
                    <a:pt x="130355" y="109626"/>
                  </a:lnTo>
                  <a:lnTo>
                    <a:pt x="119991" y="102309"/>
                  </a:lnTo>
                  <a:lnTo>
                    <a:pt x="114503" y="95846"/>
                  </a:lnTo>
                  <a:lnTo>
                    <a:pt x="93163" y="80360"/>
                  </a:lnTo>
                  <a:lnTo>
                    <a:pt x="90115" y="59629"/>
                  </a:lnTo>
                  <a:lnTo>
                    <a:pt x="94871" y="53776"/>
                  </a:lnTo>
                  <a:lnTo>
                    <a:pt x="94871" y="47801"/>
                  </a:lnTo>
                  <a:lnTo>
                    <a:pt x="83408" y="50240"/>
                  </a:lnTo>
                  <a:lnTo>
                    <a:pt x="74384" y="44265"/>
                  </a:lnTo>
                  <a:lnTo>
                    <a:pt x="61215" y="40241"/>
                  </a:lnTo>
                  <a:lnTo>
                    <a:pt x="59751" y="32802"/>
                  </a:lnTo>
                  <a:lnTo>
                    <a:pt x="70116" y="25852"/>
                  </a:lnTo>
                  <a:lnTo>
                    <a:pt x="85725" y="29144"/>
                  </a:lnTo>
                  <a:lnTo>
                    <a:pt x="93041" y="33168"/>
                  </a:lnTo>
                  <a:lnTo>
                    <a:pt x="108650" y="19998"/>
                  </a:lnTo>
                  <a:lnTo>
                    <a:pt x="105845" y="13657"/>
                  </a:lnTo>
                  <a:lnTo>
                    <a:pt x="102309" y="11828"/>
                  </a:lnTo>
                  <a:lnTo>
                    <a:pt x="87920" y="0"/>
                  </a:lnTo>
                  <a:lnTo>
                    <a:pt x="66824" y="1829"/>
                  </a:lnTo>
                  <a:lnTo>
                    <a:pt x="57556" y="12072"/>
                  </a:lnTo>
                  <a:lnTo>
                    <a:pt x="37680" y="17682"/>
                  </a:lnTo>
                  <a:lnTo>
                    <a:pt x="24388" y="31949"/>
                  </a:lnTo>
                  <a:lnTo>
                    <a:pt x="20608" y="32802"/>
                  </a:lnTo>
                  <a:lnTo>
                    <a:pt x="732" y="53654"/>
                  </a:lnTo>
                  <a:lnTo>
                    <a:pt x="0" y="59629"/>
                  </a:lnTo>
                  <a:lnTo>
                    <a:pt x="6097" y="56581"/>
                  </a:lnTo>
                  <a:lnTo>
                    <a:pt x="8780" y="55240"/>
                  </a:lnTo>
                  <a:lnTo>
                    <a:pt x="11340" y="54020"/>
                  </a:lnTo>
                  <a:lnTo>
                    <a:pt x="13901" y="55118"/>
                  </a:lnTo>
                  <a:lnTo>
                    <a:pt x="15852" y="55849"/>
                  </a:lnTo>
                  <a:lnTo>
                    <a:pt x="35729" y="64019"/>
                  </a:lnTo>
                  <a:lnTo>
                    <a:pt x="39509" y="65605"/>
                  </a:lnTo>
                  <a:lnTo>
                    <a:pt x="39509" y="92676"/>
                  </a:lnTo>
                  <a:lnTo>
                    <a:pt x="51459" y="11108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0" name="Freihandform: Form 699">
              <a:extLst>
                <a:ext uri="{FF2B5EF4-FFF2-40B4-BE49-F238E27FC236}">
                  <a16:creationId xmlns:a16="http://schemas.microsoft.com/office/drawing/2014/main" id="{8375E387-17AB-4C39-993E-EF2DC00499D6}"/>
                </a:ext>
              </a:extLst>
            </p:cNvPr>
            <p:cNvSpPr/>
            <p:nvPr/>
          </p:nvSpPr>
          <p:spPr>
            <a:xfrm>
              <a:off x="3207961" y="2412885"/>
              <a:ext cx="12925" cy="11828"/>
            </a:xfrm>
            <a:custGeom>
              <a:avLst/>
              <a:gdLst>
                <a:gd name="connsiteX0" fmla="*/ 12926 w 12925"/>
                <a:gd name="connsiteY0" fmla="*/ 4512 h 11828"/>
                <a:gd name="connsiteX1" fmla="*/ 12926 w 12925"/>
                <a:gd name="connsiteY1" fmla="*/ 0 h 11828"/>
                <a:gd name="connsiteX2" fmla="*/ 5975 w 12925"/>
                <a:gd name="connsiteY2" fmla="*/ 0 h 11828"/>
                <a:gd name="connsiteX3" fmla="*/ 976 w 12925"/>
                <a:gd name="connsiteY3" fmla="*/ 9146 h 11828"/>
                <a:gd name="connsiteX4" fmla="*/ 0 w 12925"/>
                <a:gd name="connsiteY4" fmla="*/ 11828 h 11828"/>
                <a:gd name="connsiteX5" fmla="*/ 3902 w 12925"/>
                <a:gd name="connsiteY5" fmla="*/ 11828 h 11828"/>
                <a:gd name="connsiteX6" fmla="*/ 12926 w 12925"/>
                <a:gd name="connsiteY6" fmla="*/ 4512 h 1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25" h="11828">
                  <a:moveTo>
                    <a:pt x="12926" y="4512"/>
                  </a:moveTo>
                  <a:lnTo>
                    <a:pt x="12926" y="0"/>
                  </a:lnTo>
                  <a:lnTo>
                    <a:pt x="5975" y="0"/>
                  </a:lnTo>
                  <a:lnTo>
                    <a:pt x="976" y="9146"/>
                  </a:lnTo>
                  <a:lnTo>
                    <a:pt x="0" y="11828"/>
                  </a:lnTo>
                  <a:lnTo>
                    <a:pt x="3902" y="11828"/>
                  </a:lnTo>
                  <a:lnTo>
                    <a:pt x="12926" y="451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1" name="Freihandform: Form 700">
              <a:extLst>
                <a:ext uri="{FF2B5EF4-FFF2-40B4-BE49-F238E27FC236}">
                  <a16:creationId xmlns:a16="http://schemas.microsoft.com/office/drawing/2014/main" id="{C3907C1B-CDB3-4B2B-8C37-6418D144FEEF}"/>
                </a:ext>
              </a:extLst>
            </p:cNvPr>
            <p:cNvSpPr/>
            <p:nvPr/>
          </p:nvSpPr>
          <p:spPr>
            <a:xfrm>
              <a:off x="7128017" y="3439755"/>
              <a:ext cx="14755" cy="10121"/>
            </a:xfrm>
            <a:custGeom>
              <a:avLst/>
              <a:gdLst>
                <a:gd name="connsiteX0" fmla="*/ 5610 w 14755"/>
                <a:gd name="connsiteY0" fmla="*/ 488 h 10121"/>
                <a:gd name="connsiteX1" fmla="*/ 0 w 14755"/>
                <a:gd name="connsiteY1" fmla="*/ 0 h 10121"/>
                <a:gd name="connsiteX2" fmla="*/ 10609 w 14755"/>
                <a:gd name="connsiteY2" fmla="*/ 10121 h 10121"/>
                <a:gd name="connsiteX3" fmla="*/ 14755 w 14755"/>
                <a:gd name="connsiteY3" fmla="*/ 8292 h 10121"/>
                <a:gd name="connsiteX4" fmla="*/ 5610 w 14755"/>
                <a:gd name="connsiteY4" fmla="*/ 488 h 1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55" h="10121">
                  <a:moveTo>
                    <a:pt x="5610" y="488"/>
                  </a:moveTo>
                  <a:lnTo>
                    <a:pt x="0" y="0"/>
                  </a:lnTo>
                  <a:lnTo>
                    <a:pt x="10609" y="10121"/>
                  </a:lnTo>
                  <a:lnTo>
                    <a:pt x="14755" y="8292"/>
                  </a:lnTo>
                  <a:lnTo>
                    <a:pt x="5610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2" name="Freihandform: Form 701">
              <a:extLst>
                <a:ext uri="{FF2B5EF4-FFF2-40B4-BE49-F238E27FC236}">
                  <a16:creationId xmlns:a16="http://schemas.microsoft.com/office/drawing/2014/main" id="{49E399F8-A9B3-463B-AF72-6CD2380A6FE4}"/>
                </a:ext>
              </a:extLst>
            </p:cNvPr>
            <p:cNvSpPr/>
            <p:nvPr/>
          </p:nvSpPr>
          <p:spPr>
            <a:xfrm>
              <a:off x="5473148" y="2498488"/>
              <a:ext cx="259735" cy="182058"/>
            </a:xfrm>
            <a:custGeom>
              <a:avLst/>
              <a:gdLst>
                <a:gd name="connsiteX0" fmla="*/ 14267 w 259735"/>
                <a:gd name="connsiteY0" fmla="*/ 81457 h 182058"/>
                <a:gd name="connsiteX1" fmla="*/ 10365 w 259735"/>
                <a:gd name="connsiteY1" fmla="*/ 82677 h 182058"/>
                <a:gd name="connsiteX2" fmla="*/ 11706 w 259735"/>
                <a:gd name="connsiteY2" fmla="*/ 83652 h 182058"/>
                <a:gd name="connsiteX3" fmla="*/ 13779 w 259735"/>
                <a:gd name="connsiteY3" fmla="*/ 85115 h 182058"/>
                <a:gd name="connsiteX4" fmla="*/ 18901 w 259735"/>
                <a:gd name="connsiteY4" fmla="*/ 89017 h 182058"/>
                <a:gd name="connsiteX5" fmla="*/ 22438 w 259735"/>
                <a:gd name="connsiteY5" fmla="*/ 94505 h 182058"/>
                <a:gd name="connsiteX6" fmla="*/ 22437 w 259735"/>
                <a:gd name="connsiteY6" fmla="*/ 94505 h 182058"/>
                <a:gd name="connsiteX7" fmla="*/ 23413 w 259735"/>
                <a:gd name="connsiteY7" fmla="*/ 129746 h 182058"/>
                <a:gd name="connsiteX8" fmla="*/ 24267 w 259735"/>
                <a:gd name="connsiteY8" fmla="*/ 129746 h 182058"/>
                <a:gd name="connsiteX9" fmla="*/ 30851 w 259735"/>
                <a:gd name="connsiteY9" fmla="*/ 130600 h 182058"/>
                <a:gd name="connsiteX10" fmla="*/ 41094 w 259735"/>
                <a:gd name="connsiteY10" fmla="*/ 131941 h 182058"/>
                <a:gd name="connsiteX11" fmla="*/ 49142 w 259735"/>
                <a:gd name="connsiteY11" fmla="*/ 115967 h 182058"/>
                <a:gd name="connsiteX12" fmla="*/ 51094 w 259735"/>
                <a:gd name="connsiteY12" fmla="*/ 112064 h 182058"/>
                <a:gd name="connsiteX13" fmla="*/ 55240 w 259735"/>
                <a:gd name="connsiteY13" fmla="*/ 112064 h 182058"/>
                <a:gd name="connsiteX14" fmla="*/ 101333 w 259735"/>
                <a:gd name="connsiteY14" fmla="*/ 117552 h 182058"/>
                <a:gd name="connsiteX15" fmla="*/ 103407 w 259735"/>
                <a:gd name="connsiteY15" fmla="*/ 117552 h 182058"/>
                <a:gd name="connsiteX16" fmla="*/ 104870 w 259735"/>
                <a:gd name="connsiteY16" fmla="*/ 119015 h 182058"/>
                <a:gd name="connsiteX17" fmla="*/ 110479 w 259735"/>
                <a:gd name="connsiteY17" fmla="*/ 124624 h 182058"/>
                <a:gd name="connsiteX18" fmla="*/ 124015 w 259735"/>
                <a:gd name="connsiteY18" fmla="*/ 125844 h 182058"/>
                <a:gd name="connsiteX19" fmla="*/ 125600 w 259735"/>
                <a:gd name="connsiteY19" fmla="*/ 125844 h 182058"/>
                <a:gd name="connsiteX20" fmla="*/ 126941 w 259735"/>
                <a:gd name="connsiteY20" fmla="*/ 126697 h 182058"/>
                <a:gd name="connsiteX21" fmla="*/ 162670 w 259735"/>
                <a:gd name="connsiteY21" fmla="*/ 151086 h 182058"/>
                <a:gd name="connsiteX22" fmla="*/ 164865 w 259735"/>
                <a:gd name="connsiteY22" fmla="*/ 152549 h 182058"/>
                <a:gd name="connsiteX23" fmla="*/ 164865 w 259735"/>
                <a:gd name="connsiteY23" fmla="*/ 155232 h 182058"/>
                <a:gd name="connsiteX24" fmla="*/ 167182 w 259735"/>
                <a:gd name="connsiteY24" fmla="*/ 172913 h 182058"/>
                <a:gd name="connsiteX25" fmla="*/ 167182 w 259735"/>
                <a:gd name="connsiteY25" fmla="*/ 172913 h 182058"/>
                <a:gd name="connsiteX26" fmla="*/ 181205 w 259735"/>
                <a:gd name="connsiteY26" fmla="*/ 176450 h 182058"/>
                <a:gd name="connsiteX27" fmla="*/ 182303 w 259735"/>
                <a:gd name="connsiteY27" fmla="*/ 176450 h 182058"/>
                <a:gd name="connsiteX28" fmla="*/ 183278 w 259735"/>
                <a:gd name="connsiteY28" fmla="*/ 177181 h 182058"/>
                <a:gd name="connsiteX29" fmla="*/ 189741 w 259735"/>
                <a:gd name="connsiteY29" fmla="*/ 182059 h 182058"/>
                <a:gd name="connsiteX30" fmla="*/ 189741 w 259735"/>
                <a:gd name="connsiteY30" fmla="*/ 182059 h 182058"/>
                <a:gd name="connsiteX31" fmla="*/ 191936 w 259735"/>
                <a:gd name="connsiteY31" fmla="*/ 175230 h 182058"/>
                <a:gd name="connsiteX32" fmla="*/ 192668 w 259735"/>
                <a:gd name="connsiteY32" fmla="*/ 173035 h 182058"/>
                <a:gd name="connsiteX33" fmla="*/ 194619 w 259735"/>
                <a:gd name="connsiteY33" fmla="*/ 171938 h 182058"/>
                <a:gd name="connsiteX34" fmla="*/ 224372 w 259735"/>
                <a:gd name="connsiteY34" fmla="*/ 154256 h 182058"/>
                <a:gd name="connsiteX35" fmla="*/ 231080 w 259735"/>
                <a:gd name="connsiteY35" fmla="*/ 150354 h 182058"/>
                <a:gd name="connsiteX36" fmla="*/ 235348 w 259735"/>
                <a:gd name="connsiteY36" fmla="*/ 140477 h 182058"/>
                <a:gd name="connsiteX37" fmla="*/ 238640 w 259735"/>
                <a:gd name="connsiteY37" fmla="*/ 132794 h 182058"/>
                <a:gd name="connsiteX38" fmla="*/ 240103 w 259735"/>
                <a:gd name="connsiteY38" fmla="*/ 129502 h 182058"/>
                <a:gd name="connsiteX39" fmla="*/ 243762 w 259735"/>
                <a:gd name="connsiteY39" fmla="*/ 129502 h 182058"/>
                <a:gd name="connsiteX40" fmla="*/ 255956 w 259735"/>
                <a:gd name="connsiteY40" fmla="*/ 128527 h 182058"/>
                <a:gd name="connsiteX41" fmla="*/ 259736 w 259735"/>
                <a:gd name="connsiteY41" fmla="*/ 128527 h 182058"/>
                <a:gd name="connsiteX42" fmla="*/ 256931 w 259735"/>
                <a:gd name="connsiteY42" fmla="*/ 124380 h 182058"/>
                <a:gd name="connsiteX43" fmla="*/ 256931 w 259735"/>
                <a:gd name="connsiteY43" fmla="*/ 124380 h 182058"/>
                <a:gd name="connsiteX44" fmla="*/ 245591 w 259735"/>
                <a:gd name="connsiteY44" fmla="*/ 121942 h 182058"/>
                <a:gd name="connsiteX45" fmla="*/ 244737 w 259735"/>
                <a:gd name="connsiteY45" fmla="*/ 121942 h 182058"/>
                <a:gd name="connsiteX46" fmla="*/ 244005 w 259735"/>
                <a:gd name="connsiteY46" fmla="*/ 121942 h 182058"/>
                <a:gd name="connsiteX47" fmla="*/ 231201 w 259735"/>
                <a:gd name="connsiteY47" fmla="*/ 115357 h 182058"/>
                <a:gd name="connsiteX48" fmla="*/ 226568 w 259735"/>
                <a:gd name="connsiteY48" fmla="*/ 112796 h 182058"/>
                <a:gd name="connsiteX49" fmla="*/ 221202 w 259735"/>
                <a:gd name="connsiteY49" fmla="*/ 110601 h 182058"/>
                <a:gd name="connsiteX50" fmla="*/ 209008 w 259735"/>
                <a:gd name="connsiteY50" fmla="*/ 105480 h 182058"/>
                <a:gd name="connsiteX51" fmla="*/ 207667 w 259735"/>
                <a:gd name="connsiteY51" fmla="*/ 104870 h 182058"/>
                <a:gd name="connsiteX52" fmla="*/ 206691 w 259735"/>
                <a:gd name="connsiteY52" fmla="*/ 103772 h 182058"/>
                <a:gd name="connsiteX53" fmla="*/ 205715 w 259735"/>
                <a:gd name="connsiteY53" fmla="*/ 102675 h 182058"/>
                <a:gd name="connsiteX54" fmla="*/ 191204 w 259735"/>
                <a:gd name="connsiteY54" fmla="*/ 85603 h 182058"/>
                <a:gd name="connsiteX55" fmla="*/ 190351 w 259735"/>
                <a:gd name="connsiteY55" fmla="*/ 84628 h 182058"/>
                <a:gd name="connsiteX56" fmla="*/ 190351 w 259735"/>
                <a:gd name="connsiteY56" fmla="*/ 83408 h 182058"/>
                <a:gd name="connsiteX57" fmla="*/ 183157 w 259735"/>
                <a:gd name="connsiteY57" fmla="*/ 58044 h 182058"/>
                <a:gd name="connsiteX58" fmla="*/ 179864 w 259735"/>
                <a:gd name="connsiteY58" fmla="*/ 53898 h 182058"/>
                <a:gd name="connsiteX59" fmla="*/ 173157 w 259735"/>
                <a:gd name="connsiteY59" fmla="*/ 45606 h 182058"/>
                <a:gd name="connsiteX60" fmla="*/ 168401 w 259735"/>
                <a:gd name="connsiteY60" fmla="*/ 44387 h 182058"/>
                <a:gd name="connsiteX61" fmla="*/ 160353 w 259735"/>
                <a:gd name="connsiteY61" fmla="*/ 42192 h 182058"/>
                <a:gd name="connsiteX62" fmla="*/ 159622 w 259735"/>
                <a:gd name="connsiteY62" fmla="*/ 42192 h 182058"/>
                <a:gd name="connsiteX63" fmla="*/ 147427 w 259735"/>
                <a:gd name="connsiteY63" fmla="*/ 37192 h 182058"/>
                <a:gd name="connsiteX64" fmla="*/ 134014 w 259735"/>
                <a:gd name="connsiteY64" fmla="*/ 31583 h 182058"/>
                <a:gd name="connsiteX65" fmla="*/ 128770 w 259735"/>
                <a:gd name="connsiteY65" fmla="*/ 29510 h 182058"/>
                <a:gd name="connsiteX66" fmla="*/ 130478 w 259735"/>
                <a:gd name="connsiteY66" fmla="*/ 24023 h 182058"/>
                <a:gd name="connsiteX67" fmla="*/ 132429 w 259735"/>
                <a:gd name="connsiteY67" fmla="*/ 18413 h 182058"/>
                <a:gd name="connsiteX68" fmla="*/ 130599 w 259735"/>
                <a:gd name="connsiteY68" fmla="*/ 10121 h 182058"/>
                <a:gd name="connsiteX69" fmla="*/ 126088 w 259735"/>
                <a:gd name="connsiteY69" fmla="*/ 4878 h 182058"/>
                <a:gd name="connsiteX70" fmla="*/ 120478 w 259735"/>
                <a:gd name="connsiteY70" fmla="*/ 2073 h 182058"/>
                <a:gd name="connsiteX71" fmla="*/ 116332 w 259735"/>
                <a:gd name="connsiteY71" fmla="*/ 0 h 182058"/>
                <a:gd name="connsiteX72" fmla="*/ 113284 w 259735"/>
                <a:gd name="connsiteY72" fmla="*/ 0 h 182058"/>
                <a:gd name="connsiteX73" fmla="*/ 113284 w 259735"/>
                <a:gd name="connsiteY73" fmla="*/ 732 h 182058"/>
                <a:gd name="connsiteX74" fmla="*/ 111455 w 259735"/>
                <a:gd name="connsiteY74" fmla="*/ 5244 h 182058"/>
                <a:gd name="connsiteX75" fmla="*/ 106699 w 259735"/>
                <a:gd name="connsiteY75" fmla="*/ 4390 h 182058"/>
                <a:gd name="connsiteX76" fmla="*/ 104016 w 259735"/>
                <a:gd name="connsiteY76" fmla="*/ 4390 h 182058"/>
                <a:gd name="connsiteX77" fmla="*/ 94383 w 259735"/>
                <a:gd name="connsiteY77" fmla="*/ 9511 h 182058"/>
                <a:gd name="connsiteX78" fmla="*/ 91944 w 259735"/>
                <a:gd name="connsiteY78" fmla="*/ 18535 h 182058"/>
                <a:gd name="connsiteX79" fmla="*/ 89749 w 259735"/>
                <a:gd name="connsiteY79" fmla="*/ 26705 h 182058"/>
                <a:gd name="connsiteX80" fmla="*/ 88164 w 259735"/>
                <a:gd name="connsiteY80" fmla="*/ 32315 h 182058"/>
                <a:gd name="connsiteX81" fmla="*/ 82433 w 259735"/>
                <a:gd name="connsiteY81" fmla="*/ 30973 h 182058"/>
                <a:gd name="connsiteX82" fmla="*/ 59508 w 259735"/>
                <a:gd name="connsiteY82" fmla="*/ 25730 h 182058"/>
                <a:gd name="connsiteX83" fmla="*/ 53288 w 259735"/>
                <a:gd name="connsiteY83" fmla="*/ 24266 h 182058"/>
                <a:gd name="connsiteX84" fmla="*/ 52313 w 259735"/>
                <a:gd name="connsiteY84" fmla="*/ 24266 h 182058"/>
                <a:gd name="connsiteX85" fmla="*/ 50972 w 259735"/>
                <a:gd name="connsiteY85" fmla="*/ 24266 h 182058"/>
                <a:gd name="connsiteX86" fmla="*/ 35119 w 259735"/>
                <a:gd name="connsiteY86" fmla="*/ 25852 h 182058"/>
                <a:gd name="connsiteX87" fmla="*/ 32193 w 259735"/>
                <a:gd name="connsiteY87" fmla="*/ 25852 h 182058"/>
                <a:gd name="connsiteX88" fmla="*/ 30242 w 259735"/>
                <a:gd name="connsiteY88" fmla="*/ 23901 h 182058"/>
                <a:gd name="connsiteX89" fmla="*/ 19145 w 259735"/>
                <a:gd name="connsiteY89" fmla="*/ 12804 h 182058"/>
                <a:gd name="connsiteX90" fmla="*/ 12804 w 259735"/>
                <a:gd name="connsiteY90" fmla="*/ 9877 h 182058"/>
                <a:gd name="connsiteX91" fmla="*/ 8658 w 259735"/>
                <a:gd name="connsiteY91" fmla="*/ 7926 h 182058"/>
                <a:gd name="connsiteX92" fmla="*/ 4756 w 259735"/>
                <a:gd name="connsiteY92" fmla="*/ 8780 h 182058"/>
                <a:gd name="connsiteX93" fmla="*/ 1463 w 259735"/>
                <a:gd name="connsiteY93" fmla="*/ 8780 h 182058"/>
                <a:gd name="connsiteX94" fmla="*/ 0 w 259735"/>
                <a:gd name="connsiteY94" fmla="*/ 10121 h 182058"/>
                <a:gd name="connsiteX95" fmla="*/ 1219 w 259735"/>
                <a:gd name="connsiteY95" fmla="*/ 9511 h 182058"/>
                <a:gd name="connsiteX96" fmla="*/ 1951 w 259735"/>
                <a:gd name="connsiteY96" fmla="*/ 9511 h 182058"/>
                <a:gd name="connsiteX97" fmla="*/ 20120 w 259735"/>
                <a:gd name="connsiteY97" fmla="*/ 14389 h 182058"/>
                <a:gd name="connsiteX98" fmla="*/ 20120 w 259735"/>
                <a:gd name="connsiteY98" fmla="*/ 14389 h 182058"/>
                <a:gd name="connsiteX99" fmla="*/ 23047 w 259735"/>
                <a:gd name="connsiteY99" fmla="*/ 18779 h 182058"/>
                <a:gd name="connsiteX100" fmla="*/ 24510 w 259735"/>
                <a:gd name="connsiteY100" fmla="*/ 23535 h 182058"/>
                <a:gd name="connsiteX101" fmla="*/ 25607 w 259735"/>
                <a:gd name="connsiteY101" fmla="*/ 27193 h 182058"/>
                <a:gd name="connsiteX102" fmla="*/ 28900 w 259735"/>
                <a:gd name="connsiteY102" fmla="*/ 30120 h 182058"/>
                <a:gd name="connsiteX103" fmla="*/ 37192 w 259735"/>
                <a:gd name="connsiteY103" fmla="*/ 40728 h 182058"/>
                <a:gd name="connsiteX104" fmla="*/ 37192 w 259735"/>
                <a:gd name="connsiteY104" fmla="*/ 45362 h 182058"/>
                <a:gd name="connsiteX105" fmla="*/ 37192 w 259735"/>
                <a:gd name="connsiteY105" fmla="*/ 45362 h 182058"/>
                <a:gd name="connsiteX106" fmla="*/ 37192 w 259735"/>
                <a:gd name="connsiteY106" fmla="*/ 45362 h 182058"/>
                <a:gd name="connsiteX107" fmla="*/ 37192 w 259735"/>
                <a:gd name="connsiteY107" fmla="*/ 45362 h 182058"/>
                <a:gd name="connsiteX108" fmla="*/ 32437 w 259735"/>
                <a:gd name="connsiteY108" fmla="*/ 48655 h 182058"/>
                <a:gd name="connsiteX109" fmla="*/ 31217 w 259735"/>
                <a:gd name="connsiteY109" fmla="*/ 49386 h 182058"/>
                <a:gd name="connsiteX110" fmla="*/ 25608 w 259735"/>
                <a:gd name="connsiteY110" fmla="*/ 52191 h 182058"/>
                <a:gd name="connsiteX111" fmla="*/ 24998 w 259735"/>
                <a:gd name="connsiteY111" fmla="*/ 52191 h 182058"/>
                <a:gd name="connsiteX112" fmla="*/ 19389 w 259735"/>
                <a:gd name="connsiteY112" fmla="*/ 53898 h 182058"/>
                <a:gd name="connsiteX113" fmla="*/ 17803 w 259735"/>
                <a:gd name="connsiteY113" fmla="*/ 53898 h 182058"/>
                <a:gd name="connsiteX114" fmla="*/ 11340 w 259735"/>
                <a:gd name="connsiteY114" fmla="*/ 54630 h 182058"/>
                <a:gd name="connsiteX115" fmla="*/ 11340 w 259735"/>
                <a:gd name="connsiteY115" fmla="*/ 54630 h 182058"/>
                <a:gd name="connsiteX116" fmla="*/ 8536 w 259735"/>
                <a:gd name="connsiteY116" fmla="*/ 54630 h 182058"/>
                <a:gd name="connsiteX117" fmla="*/ 6951 w 259735"/>
                <a:gd name="connsiteY117" fmla="*/ 54630 h 182058"/>
                <a:gd name="connsiteX118" fmla="*/ 2195 w 259735"/>
                <a:gd name="connsiteY118" fmla="*/ 53654 h 182058"/>
                <a:gd name="connsiteX119" fmla="*/ 0 w 259735"/>
                <a:gd name="connsiteY119" fmla="*/ 59873 h 182058"/>
                <a:gd name="connsiteX120" fmla="*/ 0 w 259735"/>
                <a:gd name="connsiteY120" fmla="*/ 61824 h 182058"/>
                <a:gd name="connsiteX121" fmla="*/ 1097 w 259735"/>
                <a:gd name="connsiteY121" fmla="*/ 62556 h 182058"/>
                <a:gd name="connsiteX122" fmla="*/ 1097 w 259735"/>
                <a:gd name="connsiteY122" fmla="*/ 62556 h 182058"/>
                <a:gd name="connsiteX123" fmla="*/ 3414 w 259735"/>
                <a:gd name="connsiteY123" fmla="*/ 61824 h 182058"/>
                <a:gd name="connsiteX124" fmla="*/ 3414 w 259735"/>
                <a:gd name="connsiteY124" fmla="*/ 61824 h 182058"/>
                <a:gd name="connsiteX125" fmla="*/ 5243 w 259735"/>
                <a:gd name="connsiteY125" fmla="*/ 61215 h 182058"/>
                <a:gd name="connsiteX126" fmla="*/ 5853 w 259735"/>
                <a:gd name="connsiteY126" fmla="*/ 61215 h 182058"/>
                <a:gd name="connsiteX127" fmla="*/ 7560 w 259735"/>
                <a:gd name="connsiteY127" fmla="*/ 61215 h 182058"/>
                <a:gd name="connsiteX128" fmla="*/ 7560 w 259735"/>
                <a:gd name="connsiteY128" fmla="*/ 61215 h 182058"/>
                <a:gd name="connsiteX129" fmla="*/ 9268 w 259735"/>
                <a:gd name="connsiteY129" fmla="*/ 61215 h 182058"/>
                <a:gd name="connsiteX130" fmla="*/ 10243 w 259735"/>
                <a:gd name="connsiteY130" fmla="*/ 61215 h 182058"/>
                <a:gd name="connsiteX131" fmla="*/ 12804 w 259735"/>
                <a:gd name="connsiteY131" fmla="*/ 63532 h 182058"/>
                <a:gd name="connsiteX132" fmla="*/ 16584 w 259735"/>
                <a:gd name="connsiteY132" fmla="*/ 70604 h 182058"/>
                <a:gd name="connsiteX133" fmla="*/ 16584 w 259735"/>
                <a:gd name="connsiteY133" fmla="*/ 74628 h 182058"/>
                <a:gd name="connsiteX134" fmla="*/ 14999 w 259735"/>
                <a:gd name="connsiteY134" fmla="*/ 78409 h 18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259735" h="182058">
                  <a:moveTo>
                    <a:pt x="14267" y="81457"/>
                  </a:moveTo>
                  <a:cubicBezTo>
                    <a:pt x="13118" y="82245"/>
                    <a:pt x="11759" y="82670"/>
                    <a:pt x="10365" y="82677"/>
                  </a:cubicBezTo>
                  <a:lnTo>
                    <a:pt x="11706" y="83652"/>
                  </a:lnTo>
                  <a:lnTo>
                    <a:pt x="13779" y="85115"/>
                  </a:lnTo>
                  <a:cubicBezTo>
                    <a:pt x="15622" y="86228"/>
                    <a:pt x="17339" y="87537"/>
                    <a:pt x="18901" y="89017"/>
                  </a:cubicBezTo>
                  <a:cubicBezTo>
                    <a:pt x="20557" y="90491"/>
                    <a:pt x="21779" y="92388"/>
                    <a:pt x="22438" y="94505"/>
                  </a:cubicBezTo>
                  <a:lnTo>
                    <a:pt x="22437" y="94505"/>
                  </a:lnTo>
                  <a:lnTo>
                    <a:pt x="23413" y="129746"/>
                  </a:lnTo>
                  <a:lnTo>
                    <a:pt x="24267" y="129746"/>
                  </a:lnTo>
                  <a:lnTo>
                    <a:pt x="30851" y="130600"/>
                  </a:lnTo>
                  <a:lnTo>
                    <a:pt x="41094" y="131941"/>
                  </a:lnTo>
                  <a:lnTo>
                    <a:pt x="49142" y="115967"/>
                  </a:lnTo>
                  <a:lnTo>
                    <a:pt x="51094" y="112064"/>
                  </a:lnTo>
                  <a:lnTo>
                    <a:pt x="55240" y="112064"/>
                  </a:lnTo>
                  <a:lnTo>
                    <a:pt x="101333" y="117552"/>
                  </a:lnTo>
                  <a:lnTo>
                    <a:pt x="103407" y="117552"/>
                  </a:lnTo>
                  <a:lnTo>
                    <a:pt x="104870" y="119015"/>
                  </a:lnTo>
                  <a:lnTo>
                    <a:pt x="110479" y="124624"/>
                  </a:lnTo>
                  <a:lnTo>
                    <a:pt x="124015" y="125844"/>
                  </a:lnTo>
                  <a:lnTo>
                    <a:pt x="125600" y="125844"/>
                  </a:lnTo>
                  <a:lnTo>
                    <a:pt x="126941" y="126697"/>
                  </a:lnTo>
                  <a:lnTo>
                    <a:pt x="162670" y="151086"/>
                  </a:lnTo>
                  <a:lnTo>
                    <a:pt x="164865" y="152549"/>
                  </a:lnTo>
                  <a:lnTo>
                    <a:pt x="164865" y="155232"/>
                  </a:lnTo>
                  <a:lnTo>
                    <a:pt x="167182" y="172913"/>
                  </a:lnTo>
                  <a:lnTo>
                    <a:pt x="167182" y="172913"/>
                  </a:lnTo>
                  <a:lnTo>
                    <a:pt x="181205" y="176450"/>
                  </a:lnTo>
                  <a:lnTo>
                    <a:pt x="182303" y="176450"/>
                  </a:lnTo>
                  <a:lnTo>
                    <a:pt x="183278" y="177181"/>
                  </a:lnTo>
                  <a:lnTo>
                    <a:pt x="189741" y="182059"/>
                  </a:lnTo>
                  <a:lnTo>
                    <a:pt x="189741" y="182059"/>
                  </a:lnTo>
                  <a:lnTo>
                    <a:pt x="191936" y="175230"/>
                  </a:lnTo>
                  <a:lnTo>
                    <a:pt x="192668" y="173035"/>
                  </a:lnTo>
                  <a:lnTo>
                    <a:pt x="194619" y="171938"/>
                  </a:lnTo>
                  <a:lnTo>
                    <a:pt x="224372" y="154256"/>
                  </a:lnTo>
                  <a:lnTo>
                    <a:pt x="231080" y="150354"/>
                  </a:lnTo>
                  <a:lnTo>
                    <a:pt x="235348" y="140477"/>
                  </a:lnTo>
                  <a:lnTo>
                    <a:pt x="238640" y="132794"/>
                  </a:lnTo>
                  <a:lnTo>
                    <a:pt x="240103" y="129502"/>
                  </a:lnTo>
                  <a:lnTo>
                    <a:pt x="243762" y="129502"/>
                  </a:lnTo>
                  <a:lnTo>
                    <a:pt x="255956" y="128527"/>
                  </a:lnTo>
                  <a:lnTo>
                    <a:pt x="259736" y="128527"/>
                  </a:lnTo>
                  <a:lnTo>
                    <a:pt x="256931" y="124380"/>
                  </a:lnTo>
                  <a:lnTo>
                    <a:pt x="256931" y="124380"/>
                  </a:lnTo>
                  <a:lnTo>
                    <a:pt x="245591" y="121942"/>
                  </a:lnTo>
                  <a:lnTo>
                    <a:pt x="244737" y="121942"/>
                  </a:lnTo>
                  <a:lnTo>
                    <a:pt x="244005" y="121942"/>
                  </a:lnTo>
                  <a:lnTo>
                    <a:pt x="231201" y="115357"/>
                  </a:lnTo>
                  <a:lnTo>
                    <a:pt x="226568" y="112796"/>
                  </a:lnTo>
                  <a:lnTo>
                    <a:pt x="221202" y="110601"/>
                  </a:lnTo>
                  <a:lnTo>
                    <a:pt x="209008" y="105480"/>
                  </a:lnTo>
                  <a:lnTo>
                    <a:pt x="207667" y="104870"/>
                  </a:lnTo>
                  <a:lnTo>
                    <a:pt x="206691" y="103772"/>
                  </a:lnTo>
                  <a:lnTo>
                    <a:pt x="205715" y="102675"/>
                  </a:lnTo>
                  <a:lnTo>
                    <a:pt x="191204" y="85603"/>
                  </a:lnTo>
                  <a:lnTo>
                    <a:pt x="190351" y="84628"/>
                  </a:lnTo>
                  <a:lnTo>
                    <a:pt x="190351" y="83408"/>
                  </a:lnTo>
                  <a:lnTo>
                    <a:pt x="183157" y="58044"/>
                  </a:lnTo>
                  <a:lnTo>
                    <a:pt x="179864" y="53898"/>
                  </a:lnTo>
                  <a:lnTo>
                    <a:pt x="173157" y="45606"/>
                  </a:lnTo>
                  <a:lnTo>
                    <a:pt x="168401" y="44387"/>
                  </a:lnTo>
                  <a:lnTo>
                    <a:pt x="160353" y="42192"/>
                  </a:lnTo>
                  <a:lnTo>
                    <a:pt x="159622" y="42192"/>
                  </a:lnTo>
                  <a:lnTo>
                    <a:pt x="147427" y="37192"/>
                  </a:lnTo>
                  <a:lnTo>
                    <a:pt x="134014" y="31583"/>
                  </a:lnTo>
                  <a:lnTo>
                    <a:pt x="128770" y="29510"/>
                  </a:lnTo>
                  <a:lnTo>
                    <a:pt x="130478" y="24023"/>
                  </a:lnTo>
                  <a:lnTo>
                    <a:pt x="132429" y="18413"/>
                  </a:lnTo>
                  <a:lnTo>
                    <a:pt x="130599" y="10121"/>
                  </a:lnTo>
                  <a:lnTo>
                    <a:pt x="126088" y="4878"/>
                  </a:lnTo>
                  <a:lnTo>
                    <a:pt x="120478" y="2073"/>
                  </a:lnTo>
                  <a:lnTo>
                    <a:pt x="116332" y="0"/>
                  </a:lnTo>
                  <a:lnTo>
                    <a:pt x="113284" y="0"/>
                  </a:lnTo>
                  <a:lnTo>
                    <a:pt x="113284" y="732"/>
                  </a:lnTo>
                  <a:lnTo>
                    <a:pt x="111455" y="5244"/>
                  </a:lnTo>
                  <a:lnTo>
                    <a:pt x="106699" y="4390"/>
                  </a:lnTo>
                  <a:lnTo>
                    <a:pt x="104016" y="4390"/>
                  </a:lnTo>
                  <a:lnTo>
                    <a:pt x="94383" y="9511"/>
                  </a:lnTo>
                  <a:lnTo>
                    <a:pt x="91944" y="18535"/>
                  </a:lnTo>
                  <a:lnTo>
                    <a:pt x="89749" y="26705"/>
                  </a:lnTo>
                  <a:lnTo>
                    <a:pt x="88164" y="32315"/>
                  </a:lnTo>
                  <a:lnTo>
                    <a:pt x="82433" y="30973"/>
                  </a:lnTo>
                  <a:lnTo>
                    <a:pt x="59508" y="25730"/>
                  </a:lnTo>
                  <a:lnTo>
                    <a:pt x="53288" y="24266"/>
                  </a:lnTo>
                  <a:lnTo>
                    <a:pt x="52313" y="24266"/>
                  </a:lnTo>
                  <a:lnTo>
                    <a:pt x="50972" y="24266"/>
                  </a:lnTo>
                  <a:lnTo>
                    <a:pt x="35119" y="25852"/>
                  </a:lnTo>
                  <a:lnTo>
                    <a:pt x="32193" y="25852"/>
                  </a:lnTo>
                  <a:lnTo>
                    <a:pt x="30242" y="23901"/>
                  </a:lnTo>
                  <a:lnTo>
                    <a:pt x="19145" y="12804"/>
                  </a:lnTo>
                  <a:lnTo>
                    <a:pt x="12804" y="9877"/>
                  </a:lnTo>
                  <a:lnTo>
                    <a:pt x="8658" y="7926"/>
                  </a:lnTo>
                  <a:lnTo>
                    <a:pt x="4756" y="8780"/>
                  </a:lnTo>
                  <a:lnTo>
                    <a:pt x="1463" y="8780"/>
                  </a:lnTo>
                  <a:lnTo>
                    <a:pt x="0" y="10121"/>
                  </a:lnTo>
                  <a:lnTo>
                    <a:pt x="1219" y="9511"/>
                  </a:lnTo>
                  <a:lnTo>
                    <a:pt x="1951" y="9511"/>
                  </a:lnTo>
                  <a:cubicBezTo>
                    <a:pt x="8367" y="9206"/>
                    <a:pt x="14719" y="10911"/>
                    <a:pt x="20120" y="14389"/>
                  </a:cubicBezTo>
                  <a:lnTo>
                    <a:pt x="20120" y="14389"/>
                  </a:lnTo>
                  <a:cubicBezTo>
                    <a:pt x="21356" y="15661"/>
                    <a:pt x="22348" y="17149"/>
                    <a:pt x="23047" y="18779"/>
                  </a:cubicBezTo>
                  <a:cubicBezTo>
                    <a:pt x="23645" y="20328"/>
                    <a:pt x="24134" y="21917"/>
                    <a:pt x="24510" y="23535"/>
                  </a:cubicBezTo>
                  <a:cubicBezTo>
                    <a:pt x="24746" y="24789"/>
                    <a:pt x="25114" y="26016"/>
                    <a:pt x="25607" y="27193"/>
                  </a:cubicBezTo>
                  <a:lnTo>
                    <a:pt x="28900" y="30120"/>
                  </a:lnTo>
                  <a:cubicBezTo>
                    <a:pt x="32659" y="32752"/>
                    <a:pt x="35546" y="36446"/>
                    <a:pt x="37192" y="40728"/>
                  </a:cubicBezTo>
                  <a:cubicBezTo>
                    <a:pt x="37559" y="42251"/>
                    <a:pt x="37559" y="43840"/>
                    <a:pt x="37192" y="45362"/>
                  </a:cubicBezTo>
                  <a:lnTo>
                    <a:pt x="37192" y="45362"/>
                  </a:lnTo>
                  <a:lnTo>
                    <a:pt x="37192" y="45362"/>
                  </a:lnTo>
                  <a:lnTo>
                    <a:pt x="37192" y="45362"/>
                  </a:lnTo>
                  <a:lnTo>
                    <a:pt x="32437" y="48655"/>
                  </a:lnTo>
                  <a:lnTo>
                    <a:pt x="31217" y="49386"/>
                  </a:lnTo>
                  <a:lnTo>
                    <a:pt x="25608" y="52191"/>
                  </a:lnTo>
                  <a:lnTo>
                    <a:pt x="24998" y="52191"/>
                  </a:lnTo>
                  <a:cubicBezTo>
                    <a:pt x="23170" y="52888"/>
                    <a:pt x="21295" y="53458"/>
                    <a:pt x="19389" y="53898"/>
                  </a:cubicBezTo>
                  <a:lnTo>
                    <a:pt x="17803" y="53898"/>
                  </a:lnTo>
                  <a:cubicBezTo>
                    <a:pt x="15665" y="54269"/>
                    <a:pt x="13507" y="54513"/>
                    <a:pt x="11340" y="54630"/>
                  </a:cubicBezTo>
                  <a:lnTo>
                    <a:pt x="11340" y="54630"/>
                  </a:lnTo>
                  <a:lnTo>
                    <a:pt x="8536" y="54630"/>
                  </a:lnTo>
                  <a:lnTo>
                    <a:pt x="6951" y="54630"/>
                  </a:lnTo>
                  <a:cubicBezTo>
                    <a:pt x="5334" y="54482"/>
                    <a:pt x="3739" y="54154"/>
                    <a:pt x="2195" y="53654"/>
                  </a:cubicBezTo>
                  <a:cubicBezTo>
                    <a:pt x="732" y="53654"/>
                    <a:pt x="244" y="56093"/>
                    <a:pt x="0" y="59873"/>
                  </a:cubicBezTo>
                  <a:cubicBezTo>
                    <a:pt x="0" y="60605"/>
                    <a:pt x="0" y="61215"/>
                    <a:pt x="0" y="61824"/>
                  </a:cubicBezTo>
                  <a:cubicBezTo>
                    <a:pt x="0" y="62434"/>
                    <a:pt x="610" y="62556"/>
                    <a:pt x="1097" y="62556"/>
                  </a:cubicBezTo>
                  <a:lnTo>
                    <a:pt x="1097" y="62556"/>
                  </a:lnTo>
                  <a:cubicBezTo>
                    <a:pt x="1904" y="62439"/>
                    <a:pt x="2686" y="62192"/>
                    <a:pt x="3414" y="61824"/>
                  </a:cubicBezTo>
                  <a:lnTo>
                    <a:pt x="3414" y="61824"/>
                  </a:lnTo>
                  <a:lnTo>
                    <a:pt x="5243" y="61215"/>
                  </a:lnTo>
                  <a:lnTo>
                    <a:pt x="5853" y="61215"/>
                  </a:lnTo>
                  <a:lnTo>
                    <a:pt x="7560" y="61215"/>
                  </a:lnTo>
                  <a:lnTo>
                    <a:pt x="7560" y="61215"/>
                  </a:lnTo>
                  <a:cubicBezTo>
                    <a:pt x="8124" y="61100"/>
                    <a:pt x="8704" y="61100"/>
                    <a:pt x="9268" y="61215"/>
                  </a:cubicBezTo>
                  <a:lnTo>
                    <a:pt x="10243" y="61215"/>
                  </a:lnTo>
                  <a:cubicBezTo>
                    <a:pt x="11264" y="61779"/>
                    <a:pt x="12141" y="62572"/>
                    <a:pt x="12804" y="63532"/>
                  </a:cubicBezTo>
                  <a:cubicBezTo>
                    <a:pt x="14600" y="65561"/>
                    <a:pt x="15895" y="67983"/>
                    <a:pt x="16584" y="70604"/>
                  </a:cubicBezTo>
                  <a:cubicBezTo>
                    <a:pt x="16827" y="71935"/>
                    <a:pt x="16827" y="73298"/>
                    <a:pt x="16584" y="74628"/>
                  </a:cubicBezTo>
                  <a:cubicBezTo>
                    <a:pt x="16344" y="75991"/>
                    <a:pt x="15803" y="77283"/>
                    <a:pt x="14999" y="78409"/>
                  </a:cubicBez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3" name="Freihandform: Form 702">
              <a:extLst>
                <a:ext uri="{FF2B5EF4-FFF2-40B4-BE49-F238E27FC236}">
                  <a16:creationId xmlns:a16="http://schemas.microsoft.com/office/drawing/2014/main" id="{E6A39944-9818-4F21-8DE4-ACF44B4402C7}"/>
                </a:ext>
              </a:extLst>
            </p:cNvPr>
            <p:cNvSpPr/>
            <p:nvPr/>
          </p:nvSpPr>
          <p:spPr>
            <a:xfrm>
              <a:off x="6617814" y="3286962"/>
              <a:ext cx="178278" cy="120722"/>
            </a:xfrm>
            <a:custGeom>
              <a:avLst/>
              <a:gdLst>
                <a:gd name="connsiteX0" fmla="*/ 168523 w 178278"/>
                <a:gd name="connsiteY0" fmla="*/ 22803 h 120722"/>
                <a:gd name="connsiteX1" fmla="*/ 150110 w 178278"/>
                <a:gd name="connsiteY1" fmla="*/ 19877 h 120722"/>
                <a:gd name="connsiteX2" fmla="*/ 143160 w 178278"/>
                <a:gd name="connsiteY2" fmla="*/ 0 h 120722"/>
                <a:gd name="connsiteX3" fmla="*/ 114015 w 178278"/>
                <a:gd name="connsiteY3" fmla="*/ 28412 h 120722"/>
                <a:gd name="connsiteX4" fmla="*/ 111821 w 178278"/>
                <a:gd name="connsiteY4" fmla="*/ 42558 h 120722"/>
                <a:gd name="connsiteX5" fmla="*/ 114015 w 178278"/>
                <a:gd name="connsiteY5" fmla="*/ 42680 h 120722"/>
                <a:gd name="connsiteX6" fmla="*/ 112552 w 178278"/>
                <a:gd name="connsiteY6" fmla="*/ 49508 h 120722"/>
                <a:gd name="connsiteX7" fmla="*/ 111211 w 178278"/>
                <a:gd name="connsiteY7" fmla="*/ 55361 h 120722"/>
                <a:gd name="connsiteX8" fmla="*/ 110967 w 178278"/>
                <a:gd name="connsiteY8" fmla="*/ 56215 h 120722"/>
                <a:gd name="connsiteX9" fmla="*/ 110479 w 178278"/>
                <a:gd name="connsiteY9" fmla="*/ 57069 h 120722"/>
                <a:gd name="connsiteX10" fmla="*/ 109016 w 178278"/>
                <a:gd name="connsiteY10" fmla="*/ 59751 h 120722"/>
                <a:gd name="connsiteX11" fmla="*/ 105724 w 178278"/>
                <a:gd name="connsiteY11" fmla="*/ 65361 h 120722"/>
                <a:gd name="connsiteX12" fmla="*/ 100236 w 178278"/>
                <a:gd name="connsiteY12" fmla="*/ 61702 h 120722"/>
                <a:gd name="connsiteX13" fmla="*/ 98407 w 178278"/>
                <a:gd name="connsiteY13" fmla="*/ 60361 h 120722"/>
                <a:gd name="connsiteX14" fmla="*/ 98285 w 178278"/>
                <a:gd name="connsiteY14" fmla="*/ 60483 h 120722"/>
                <a:gd name="connsiteX15" fmla="*/ 96944 w 178278"/>
                <a:gd name="connsiteY15" fmla="*/ 65970 h 120722"/>
                <a:gd name="connsiteX16" fmla="*/ 91456 w 178278"/>
                <a:gd name="connsiteY16" fmla="*/ 64995 h 120722"/>
                <a:gd name="connsiteX17" fmla="*/ 89627 w 178278"/>
                <a:gd name="connsiteY17" fmla="*/ 64751 h 120722"/>
                <a:gd name="connsiteX18" fmla="*/ 84018 w 178278"/>
                <a:gd name="connsiteY18" fmla="*/ 63775 h 120722"/>
                <a:gd name="connsiteX19" fmla="*/ 84506 w 178278"/>
                <a:gd name="connsiteY19" fmla="*/ 58166 h 120722"/>
                <a:gd name="connsiteX20" fmla="*/ 85115 w 178278"/>
                <a:gd name="connsiteY20" fmla="*/ 52069 h 120722"/>
                <a:gd name="connsiteX21" fmla="*/ 81335 w 178278"/>
                <a:gd name="connsiteY21" fmla="*/ 53654 h 120722"/>
                <a:gd name="connsiteX22" fmla="*/ 70848 w 178278"/>
                <a:gd name="connsiteY22" fmla="*/ 72555 h 120722"/>
                <a:gd name="connsiteX23" fmla="*/ 49630 w 178278"/>
                <a:gd name="connsiteY23" fmla="*/ 80238 h 120722"/>
                <a:gd name="connsiteX24" fmla="*/ 40851 w 178278"/>
                <a:gd name="connsiteY24" fmla="*/ 87066 h 120722"/>
                <a:gd name="connsiteX25" fmla="*/ 26827 w 178278"/>
                <a:gd name="connsiteY25" fmla="*/ 88042 h 120722"/>
                <a:gd name="connsiteX26" fmla="*/ 24023 w 178278"/>
                <a:gd name="connsiteY26" fmla="*/ 108772 h 120722"/>
                <a:gd name="connsiteX27" fmla="*/ 0 w 178278"/>
                <a:gd name="connsiteY27" fmla="*/ 109626 h 120722"/>
                <a:gd name="connsiteX28" fmla="*/ 6463 w 178278"/>
                <a:gd name="connsiteY28" fmla="*/ 120722 h 120722"/>
                <a:gd name="connsiteX29" fmla="*/ 30485 w 178278"/>
                <a:gd name="connsiteY29" fmla="*/ 120722 h 120722"/>
                <a:gd name="connsiteX30" fmla="*/ 43411 w 178278"/>
                <a:gd name="connsiteY30" fmla="*/ 113040 h 120722"/>
                <a:gd name="connsiteX31" fmla="*/ 44509 w 178278"/>
                <a:gd name="connsiteY31" fmla="*/ 112430 h 120722"/>
                <a:gd name="connsiteX32" fmla="*/ 45484 w 178278"/>
                <a:gd name="connsiteY32" fmla="*/ 112186 h 120722"/>
                <a:gd name="connsiteX33" fmla="*/ 54752 w 178278"/>
                <a:gd name="connsiteY33" fmla="*/ 110479 h 120722"/>
                <a:gd name="connsiteX34" fmla="*/ 56825 w 178278"/>
                <a:gd name="connsiteY34" fmla="*/ 110113 h 120722"/>
                <a:gd name="connsiteX35" fmla="*/ 58532 w 178278"/>
                <a:gd name="connsiteY35" fmla="*/ 111089 h 120722"/>
                <a:gd name="connsiteX36" fmla="*/ 66093 w 178278"/>
                <a:gd name="connsiteY36" fmla="*/ 114869 h 120722"/>
                <a:gd name="connsiteX37" fmla="*/ 81335 w 178278"/>
                <a:gd name="connsiteY37" fmla="*/ 110845 h 120722"/>
                <a:gd name="connsiteX38" fmla="*/ 93286 w 178278"/>
                <a:gd name="connsiteY38" fmla="*/ 96456 h 120722"/>
                <a:gd name="connsiteX39" fmla="*/ 98041 w 178278"/>
                <a:gd name="connsiteY39" fmla="*/ 90603 h 120722"/>
                <a:gd name="connsiteX40" fmla="*/ 105358 w 178278"/>
                <a:gd name="connsiteY40" fmla="*/ 70116 h 120722"/>
                <a:gd name="connsiteX41" fmla="*/ 107187 w 178278"/>
                <a:gd name="connsiteY41" fmla="*/ 65117 h 120722"/>
                <a:gd name="connsiteX42" fmla="*/ 107431 w 178278"/>
                <a:gd name="connsiteY42" fmla="*/ 64141 h 120722"/>
                <a:gd name="connsiteX43" fmla="*/ 108040 w 178278"/>
                <a:gd name="connsiteY43" fmla="*/ 63410 h 120722"/>
                <a:gd name="connsiteX44" fmla="*/ 110357 w 178278"/>
                <a:gd name="connsiteY44" fmla="*/ 60483 h 120722"/>
                <a:gd name="connsiteX45" fmla="*/ 113893 w 178278"/>
                <a:gd name="connsiteY45" fmla="*/ 55971 h 120722"/>
                <a:gd name="connsiteX46" fmla="*/ 115601 w 178278"/>
                <a:gd name="connsiteY46" fmla="*/ 53776 h 120722"/>
                <a:gd name="connsiteX47" fmla="*/ 118527 w 178278"/>
                <a:gd name="connsiteY47" fmla="*/ 53654 h 120722"/>
                <a:gd name="connsiteX48" fmla="*/ 141209 w 178278"/>
                <a:gd name="connsiteY48" fmla="*/ 52679 h 120722"/>
                <a:gd name="connsiteX49" fmla="*/ 143647 w 178278"/>
                <a:gd name="connsiteY49" fmla="*/ 52679 h 120722"/>
                <a:gd name="connsiteX50" fmla="*/ 145477 w 178278"/>
                <a:gd name="connsiteY50" fmla="*/ 54142 h 120722"/>
                <a:gd name="connsiteX51" fmla="*/ 150232 w 178278"/>
                <a:gd name="connsiteY51" fmla="*/ 58288 h 120722"/>
                <a:gd name="connsiteX52" fmla="*/ 157183 w 178278"/>
                <a:gd name="connsiteY52" fmla="*/ 51947 h 120722"/>
                <a:gd name="connsiteX53" fmla="*/ 165719 w 178278"/>
                <a:gd name="connsiteY53" fmla="*/ 48899 h 120722"/>
                <a:gd name="connsiteX54" fmla="*/ 160963 w 178278"/>
                <a:gd name="connsiteY54" fmla="*/ 39387 h 120722"/>
                <a:gd name="connsiteX55" fmla="*/ 178279 w 178278"/>
                <a:gd name="connsiteY55" fmla="*/ 33900 h 120722"/>
                <a:gd name="connsiteX56" fmla="*/ 168523 w 178278"/>
                <a:gd name="connsiteY56" fmla="*/ 22803 h 120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78278" h="120722">
                  <a:moveTo>
                    <a:pt x="168523" y="22803"/>
                  </a:moveTo>
                  <a:lnTo>
                    <a:pt x="150110" y="19877"/>
                  </a:lnTo>
                  <a:lnTo>
                    <a:pt x="143160" y="0"/>
                  </a:lnTo>
                  <a:lnTo>
                    <a:pt x="114015" y="28412"/>
                  </a:lnTo>
                  <a:lnTo>
                    <a:pt x="111821" y="42558"/>
                  </a:lnTo>
                  <a:lnTo>
                    <a:pt x="114015" y="42680"/>
                  </a:lnTo>
                  <a:lnTo>
                    <a:pt x="112552" y="49508"/>
                  </a:lnTo>
                  <a:lnTo>
                    <a:pt x="111211" y="55361"/>
                  </a:lnTo>
                  <a:lnTo>
                    <a:pt x="110967" y="56215"/>
                  </a:lnTo>
                  <a:lnTo>
                    <a:pt x="110479" y="57069"/>
                  </a:lnTo>
                  <a:lnTo>
                    <a:pt x="109016" y="59751"/>
                  </a:lnTo>
                  <a:lnTo>
                    <a:pt x="105724" y="65361"/>
                  </a:lnTo>
                  <a:lnTo>
                    <a:pt x="100236" y="61702"/>
                  </a:lnTo>
                  <a:lnTo>
                    <a:pt x="98407" y="60361"/>
                  </a:lnTo>
                  <a:lnTo>
                    <a:pt x="98285" y="60483"/>
                  </a:lnTo>
                  <a:lnTo>
                    <a:pt x="96944" y="65970"/>
                  </a:lnTo>
                  <a:lnTo>
                    <a:pt x="91456" y="64995"/>
                  </a:lnTo>
                  <a:lnTo>
                    <a:pt x="89627" y="64751"/>
                  </a:lnTo>
                  <a:lnTo>
                    <a:pt x="84018" y="63775"/>
                  </a:lnTo>
                  <a:lnTo>
                    <a:pt x="84506" y="58166"/>
                  </a:lnTo>
                  <a:lnTo>
                    <a:pt x="85115" y="52069"/>
                  </a:lnTo>
                  <a:lnTo>
                    <a:pt x="81335" y="53654"/>
                  </a:lnTo>
                  <a:lnTo>
                    <a:pt x="70848" y="72555"/>
                  </a:lnTo>
                  <a:lnTo>
                    <a:pt x="49630" y="80238"/>
                  </a:lnTo>
                  <a:lnTo>
                    <a:pt x="40851" y="87066"/>
                  </a:lnTo>
                  <a:lnTo>
                    <a:pt x="26827" y="88042"/>
                  </a:lnTo>
                  <a:lnTo>
                    <a:pt x="24023" y="108772"/>
                  </a:lnTo>
                  <a:lnTo>
                    <a:pt x="0" y="109626"/>
                  </a:lnTo>
                  <a:lnTo>
                    <a:pt x="6463" y="120722"/>
                  </a:lnTo>
                  <a:lnTo>
                    <a:pt x="30485" y="120722"/>
                  </a:lnTo>
                  <a:lnTo>
                    <a:pt x="43411" y="113040"/>
                  </a:lnTo>
                  <a:lnTo>
                    <a:pt x="44509" y="112430"/>
                  </a:lnTo>
                  <a:lnTo>
                    <a:pt x="45484" y="112186"/>
                  </a:lnTo>
                  <a:lnTo>
                    <a:pt x="54752" y="110479"/>
                  </a:lnTo>
                  <a:lnTo>
                    <a:pt x="56825" y="110113"/>
                  </a:lnTo>
                  <a:lnTo>
                    <a:pt x="58532" y="111089"/>
                  </a:lnTo>
                  <a:lnTo>
                    <a:pt x="66093" y="114869"/>
                  </a:lnTo>
                  <a:lnTo>
                    <a:pt x="81335" y="110845"/>
                  </a:lnTo>
                  <a:lnTo>
                    <a:pt x="93286" y="96456"/>
                  </a:lnTo>
                  <a:lnTo>
                    <a:pt x="98041" y="90603"/>
                  </a:lnTo>
                  <a:lnTo>
                    <a:pt x="105358" y="70116"/>
                  </a:lnTo>
                  <a:lnTo>
                    <a:pt x="107187" y="65117"/>
                  </a:lnTo>
                  <a:lnTo>
                    <a:pt x="107431" y="64141"/>
                  </a:lnTo>
                  <a:lnTo>
                    <a:pt x="108040" y="63410"/>
                  </a:lnTo>
                  <a:lnTo>
                    <a:pt x="110357" y="60483"/>
                  </a:lnTo>
                  <a:lnTo>
                    <a:pt x="113893" y="55971"/>
                  </a:lnTo>
                  <a:lnTo>
                    <a:pt x="115601" y="53776"/>
                  </a:lnTo>
                  <a:lnTo>
                    <a:pt x="118527" y="53654"/>
                  </a:lnTo>
                  <a:lnTo>
                    <a:pt x="141209" y="52679"/>
                  </a:lnTo>
                  <a:lnTo>
                    <a:pt x="143647" y="52679"/>
                  </a:lnTo>
                  <a:lnTo>
                    <a:pt x="145477" y="54142"/>
                  </a:lnTo>
                  <a:lnTo>
                    <a:pt x="150232" y="58288"/>
                  </a:lnTo>
                  <a:lnTo>
                    <a:pt x="157183" y="51947"/>
                  </a:lnTo>
                  <a:lnTo>
                    <a:pt x="165719" y="48899"/>
                  </a:lnTo>
                  <a:lnTo>
                    <a:pt x="160963" y="39387"/>
                  </a:lnTo>
                  <a:lnTo>
                    <a:pt x="178279" y="33900"/>
                  </a:lnTo>
                  <a:lnTo>
                    <a:pt x="168523" y="2280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4" name="Freihandform: Form 703">
              <a:extLst>
                <a:ext uri="{FF2B5EF4-FFF2-40B4-BE49-F238E27FC236}">
                  <a16:creationId xmlns:a16="http://schemas.microsoft.com/office/drawing/2014/main" id="{92653E16-08BA-48E2-8971-F65BA64D93D1}"/>
                </a:ext>
              </a:extLst>
            </p:cNvPr>
            <p:cNvSpPr/>
            <p:nvPr/>
          </p:nvSpPr>
          <p:spPr>
            <a:xfrm>
              <a:off x="5586432" y="1533564"/>
              <a:ext cx="25729" cy="13413"/>
            </a:xfrm>
            <a:custGeom>
              <a:avLst/>
              <a:gdLst>
                <a:gd name="connsiteX0" fmla="*/ 0 w 25729"/>
                <a:gd name="connsiteY0" fmla="*/ 2073 h 13413"/>
                <a:gd name="connsiteX1" fmla="*/ 2561 w 25729"/>
                <a:gd name="connsiteY1" fmla="*/ 6219 h 13413"/>
                <a:gd name="connsiteX2" fmla="*/ 19998 w 25729"/>
                <a:gd name="connsiteY2" fmla="*/ 13414 h 13413"/>
                <a:gd name="connsiteX3" fmla="*/ 24998 w 25729"/>
                <a:gd name="connsiteY3" fmla="*/ 13414 h 13413"/>
                <a:gd name="connsiteX4" fmla="*/ 25730 w 25729"/>
                <a:gd name="connsiteY4" fmla="*/ 9146 h 13413"/>
                <a:gd name="connsiteX5" fmla="*/ 5365 w 25729"/>
                <a:gd name="connsiteY5" fmla="*/ 0 h 13413"/>
                <a:gd name="connsiteX6" fmla="*/ 0 w 25729"/>
                <a:gd name="connsiteY6" fmla="*/ 2073 h 13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29" h="13413">
                  <a:moveTo>
                    <a:pt x="0" y="2073"/>
                  </a:moveTo>
                  <a:lnTo>
                    <a:pt x="2561" y="6219"/>
                  </a:lnTo>
                  <a:lnTo>
                    <a:pt x="19998" y="13414"/>
                  </a:lnTo>
                  <a:lnTo>
                    <a:pt x="24998" y="13414"/>
                  </a:lnTo>
                  <a:lnTo>
                    <a:pt x="25730" y="9146"/>
                  </a:lnTo>
                  <a:lnTo>
                    <a:pt x="5365" y="0"/>
                  </a:lnTo>
                  <a:lnTo>
                    <a:pt x="0" y="207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5" name="Freihandform: Form 704">
              <a:extLst>
                <a:ext uri="{FF2B5EF4-FFF2-40B4-BE49-F238E27FC236}">
                  <a16:creationId xmlns:a16="http://schemas.microsoft.com/office/drawing/2014/main" id="{13654FAE-7AD4-40EB-BB4A-51E5CDBBB67F}"/>
                </a:ext>
              </a:extLst>
            </p:cNvPr>
            <p:cNvSpPr/>
            <p:nvPr/>
          </p:nvSpPr>
          <p:spPr>
            <a:xfrm>
              <a:off x="6859502" y="3244039"/>
              <a:ext cx="85602" cy="71213"/>
            </a:xfrm>
            <a:custGeom>
              <a:avLst/>
              <a:gdLst>
                <a:gd name="connsiteX0" fmla="*/ 79872 w 85602"/>
                <a:gd name="connsiteY0" fmla="*/ 24510 h 71213"/>
                <a:gd name="connsiteX1" fmla="*/ 80847 w 85602"/>
                <a:gd name="connsiteY1" fmla="*/ 14755 h 71213"/>
                <a:gd name="connsiteX2" fmla="*/ 77433 w 85602"/>
                <a:gd name="connsiteY2" fmla="*/ 4634 h 71213"/>
                <a:gd name="connsiteX3" fmla="*/ 69751 w 85602"/>
                <a:gd name="connsiteY3" fmla="*/ 0 h 71213"/>
                <a:gd name="connsiteX4" fmla="*/ 71214 w 85602"/>
                <a:gd name="connsiteY4" fmla="*/ 3414 h 71213"/>
                <a:gd name="connsiteX5" fmla="*/ 65361 w 85602"/>
                <a:gd name="connsiteY5" fmla="*/ 12194 h 71213"/>
                <a:gd name="connsiteX6" fmla="*/ 61337 w 85602"/>
                <a:gd name="connsiteY6" fmla="*/ 8170 h 71213"/>
                <a:gd name="connsiteX7" fmla="*/ 58044 w 85602"/>
                <a:gd name="connsiteY7" fmla="*/ 8170 h 71213"/>
                <a:gd name="connsiteX8" fmla="*/ 55240 w 85602"/>
                <a:gd name="connsiteY8" fmla="*/ 15487 h 71213"/>
                <a:gd name="connsiteX9" fmla="*/ 48899 w 85602"/>
                <a:gd name="connsiteY9" fmla="*/ 16462 h 71213"/>
                <a:gd name="connsiteX10" fmla="*/ 47070 w 85602"/>
                <a:gd name="connsiteY10" fmla="*/ 25730 h 71213"/>
                <a:gd name="connsiteX11" fmla="*/ 37192 w 85602"/>
                <a:gd name="connsiteY11" fmla="*/ 28412 h 71213"/>
                <a:gd name="connsiteX12" fmla="*/ 34022 w 85602"/>
                <a:gd name="connsiteY12" fmla="*/ 18779 h 71213"/>
                <a:gd name="connsiteX13" fmla="*/ 25730 w 85602"/>
                <a:gd name="connsiteY13" fmla="*/ 13536 h 71213"/>
                <a:gd name="connsiteX14" fmla="*/ 11340 w 85602"/>
                <a:gd name="connsiteY14" fmla="*/ 28656 h 71213"/>
                <a:gd name="connsiteX15" fmla="*/ 5000 w 85602"/>
                <a:gd name="connsiteY15" fmla="*/ 30485 h 71213"/>
                <a:gd name="connsiteX16" fmla="*/ 0 w 85602"/>
                <a:gd name="connsiteY16" fmla="*/ 38778 h 71213"/>
                <a:gd name="connsiteX17" fmla="*/ 0 w 85602"/>
                <a:gd name="connsiteY17" fmla="*/ 41704 h 71213"/>
                <a:gd name="connsiteX18" fmla="*/ 1585 w 85602"/>
                <a:gd name="connsiteY18" fmla="*/ 41094 h 71213"/>
                <a:gd name="connsiteX19" fmla="*/ 4268 w 85602"/>
                <a:gd name="connsiteY19" fmla="*/ 39021 h 71213"/>
                <a:gd name="connsiteX20" fmla="*/ 4268 w 85602"/>
                <a:gd name="connsiteY20" fmla="*/ 34266 h 71213"/>
                <a:gd name="connsiteX21" fmla="*/ 13536 w 85602"/>
                <a:gd name="connsiteY21" fmla="*/ 27681 h 71213"/>
                <a:gd name="connsiteX22" fmla="*/ 19267 w 85602"/>
                <a:gd name="connsiteY22" fmla="*/ 35363 h 71213"/>
                <a:gd name="connsiteX23" fmla="*/ 23779 w 85602"/>
                <a:gd name="connsiteY23" fmla="*/ 32315 h 71213"/>
                <a:gd name="connsiteX24" fmla="*/ 36460 w 85602"/>
                <a:gd name="connsiteY24" fmla="*/ 32315 h 71213"/>
                <a:gd name="connsiteX25" fmla="*/ 45972 w 85602"/>
                <a:gd name="connsiteY25" fmla="*/ 39387 h 71213"/>
                <a:gd name="connsiteX26" fmla="*/ 40728 w 85602"/>
                <a:gd name="connsiteY26" fmla="*/ 50972 h 71213"/>
                <a:gd name="connsiteX27" fmla="*/ 40728 w 85602"/>
                <a:gd name="connsiteY27" fmla="*/ 55118 h 71213"/>
                <a:gd name="connsiteX28" fmla="*/ 53898 w 85602"/>
                <a:gd name="connsiteY28" fmla="*/ 66702 h 71213"/>
                <a:gd name="connsiteX29" fmla="*/ 58410 w 85602"/>
                <a:gd name="connsiteY29" fmla="*/ 63654 h 71213"/>
                <a:gd name="connsiteX30" fmla="*/ 65848 w 85602"/>
                <a:gd name="connsiteY30" fmla="*/ 59995 h 71213"/>
                <a:gd name="connsiteX31" fmla="*/ 64507 w 85602"/>
                <a:gd name="connsiteY31" fmla="*/ 69385 h 71213"/>
                <a:gd name="connsiteX32" fmla="*/ 66824 w 85602"/>
                <a:gd name="connsiteY32" fmla="*/ 71214 h 71213"/>
                <a:gd name="connsiteX33" fmla="*/ 67678 w 85602"/>
                <a:gd name="connsiteY33" fmla="*/ 70360 h 71213"/>
                <a:gd name="connsiteX34" fmla="*/ 67678 w 85602"/>
                <a:gd name="connsiteY34" fmla="*/ 59752 h 71213"/>
                <a:gd name="connsiteX35" fmla="*/ 62800 w 85602"/>
                <a:gd name="connsiteY35" fmla="*/ 53898 h 71213"/>
                <a:gd name="connsiteX36" fmla="*/ 64141 w 85602"/>
                <a:gd name="connsiteY36" fmla="*/ 45118 h 71213"/>
                <a:gd name="connsiteX37" fmla="*/ 70970 w 85602"/>
                <a:gd name="connsiteY37" fmla="*/ 42436 h 71213"/>
                <a:gd name="connsiteX38" fmla="*/ 79872 w 85602"/>
                <a:gd name="connsiteY38" fmla="*/ 48533 h 71213"/>
                <a:gd name="connsiteX39" fmla="*/ 83896 w 85602"/>
                <a:gd name="connsiteY39" fmla="*/ 43899 h 71213"/>
                <a:gd name="connsiteX40" fmla="*/ 85603 w 85602"/>
                <a:gd name="connsiteY40" fmla="*/ 33046 h 71213"/>
                <a:gd name="connsiteX41" fmla="*/ 79872 w 85602"/>
                <a:gd name="connsiteY41" fmla="*/ 24510 h 71213"/>
                <a:gd name="connsiteX42" fmla="*/ 79872 w 85602"/>
                <a:gd name="connsiteY42" fmla="*/ 24510 h 7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5602" h="71213">
                  <a:moveTo>
                    <a:pt x="79872" y="24510"/>
                  </a:moveTo>
                  <a:lnTo>
                    <a:pt x="80847" y="14755"/>
                  </a:lnTo>
                  <a:lnTo>
                    <a:pt x="77433" y="4634"/>
                  </a:lnTo>
                  <a:lnTo>
                    <a:pt x="69751" y="0"/>
                  </a:lnTo>
                  <a:lnTo>
                    <a:pt x="71214" y="3414"/>
                  </a:lnTo>
                  <a:lnTo>
                    <a:pt x="65361" y="12194"/>
                  </a:lnTo>
                  <a:lnTo>
                    <a:pt x="61337" y="8170"/>
                  </a:lnTo>
                  <a:lnTo>
                    <a:pt x="58044" y="8170"/>
                  </a:lnTo>
                  <a:lnTo>
                    <a:pt x="55240" y="15487"/>
                  </a:lnTo>
                  <a:lnTo>
                    <a:pt x="48899" y="16462"/>
                  </a:lnTo>
                  <a:lnTo>
                    <a:pt x="47070" y="25730"/>
                  </a:lnTo>
                  <a:lnTo>
                    <a:pt x="37192" y="28412"/>
                  </a:lnTo>
                  <a:lnTo>
                    <a:pt x="34022" y="18779"/>
                  </a:lnTo>
                  <a:lnTo>
                    <a:pt x="25730" y="13536"/>
                  </a:lnTo>
                  <a:lnTo>
                    <a:pt x="11340" y="28656"/>
                  </a:lnTo>
                  <a:lnTo>
                    <a:pt x="5000" y="30485"/>
                  </a:lnTo>
                  <a:lnTo>
                    <a:pt x="0" y="38778"/>
                  </a:lnTo>
                  <a:lnTo>
                    <a:pt x="0" y="41704"/>
                  </a:lnTo>
                  <a:lnTo>
                    <a:pt x="1585" y="41094"/>
                  </a:lnTo>
                  <a:lnTo>
                    <a:pt x="4268" y="39021"/>
                  </a:lnTo>
                  <a:lnTo>
                    <a:pt x="4268" y="34266"/>
                  </a:lnTo>
                  <a:lnTo>
                    <a:pt x="13536" y="27681"/>
                  </a:lnTo>
                  <a:lnTo>
                    <a:pt x="19267" y="35363"/>
                  </a:lnTo>
                  <a:lnTo>
                    <a:pt x="23779" y="32315"/>
                  </a:lnTo>
                  <a:lnTo>
                    <a:pt x="36460" y="32315"/>
                  </a:lnTo>
                  <a:lnTo>
                    <a:pt x="45972" y="39387"/>
                  </a:lnTo>
                  <a:lnTo>
                    <a:pt x="40728" y="50972"/>
                  </a:lnTo>
                  <a:lnTo>
                    <a:pt x="40728" y="55118"/>
                  </a:lnTo>
                  <a:lnTo>
                    <a:pt x="53898" y="66702"/>
                  </a:lnTo>
                  <a:lnTo>
                    <a:pt x="58410" y="63654"/>
                  </a:lnTo>
                  <a:lnTo>
                    <a:pt x="65848" y="59995"/>
                  </a:lnTo>
                  <a:lnTo>
                    <a:pt x="64507" y="69385"/>
                  </a:lnTo>
                  <a:lnTo>
                    <a:pt x="66824" y="71214"/>
                  </a:lnTo>
                  <a:lnTo>
                    <a:pt x="67678" y="70360"/>
                  </a:lnTo>
                  <a:lnTo>
                    <a:pt x="67678" y="59752"/>
                  </a:lnTo>
                  <a:lnTo>
                    <a:pt x="62800" y="53898"/>
                  </a:lnTo>
                  <a:lnTo>
                    <a:pt x="64141" y="45118"/>
                  </a:lnTo>
                  <a:lnTo>
                    <a:pt x="70970" y="42436"/>
                  </a:lnTo>
                  <a:lnTo>
                    <a:pt x="79872" y="48533"/>
                  </a:lnTo>
                  <a:lnTo>
                    <a:pt x="83896" y="43899"/>
                  </a:lnTo>
                  <a:lnTo>
                    <a:pt x="85603" y="33046"/>
                  </a:lnTo>
                  <a:lnTo>
                    <a:pt x="79872" y="24510"/>
                  </a:lnTo>
                  <a:lnTo>
                    <a:pt x="79872" y="245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6" name="Freihandform: Form 705">
              <a:extLst>
                <a:ext uri="{FF2B5EF4-FFF2-40B4-BE49-F238E27FC236}">
                  <a16:creationId xmlns:a16="http://schemas.microsoft.com/office/drawing/2014/main" id="{7349420F-D570-4477-A3D7-2549C37F613F}"/>
                </a:ext>
              </a:extLst>
            </p:cNvPr>
            <p:cNvSpPr/>
            <p:nvPr/>
          </p:nvSpPr>
          <p:spPr>
            <a:xfrm>
              <a:off x="7010222" y="2719934"/>
              <a:ext cx="44752" cy="60482"/>
            </a:xfrm>
            <a:custGeom>
              <a:avLst/>
              <a:gdLst>
                <a:gd name="connsiteX0" fmla="*/ 31095 w 44752"/>
                <a:gd name="connsiteY0" fmla="*/ 56947 h 60482"/>
                <a:gd name="connsiteX1" fmla="*/ 32558 w 44752"/>
                <a:gd name="connsiteY1" fmla="*/ 37070 h 60482"/>
                <a:gd name="connsiteX2" fmla="*/ 44752 w 44752"/>
                <a:gd name="connsiteY2" fmla="*/ 24876 h 60482"/>
                <a:gd name="connsiteX3" fmla="*/ 37680 w 44752"/>
                <a:gd name="connsiteY3" fmla="*/ 13901 h 60482"/>
                <a:gd name="connsiteX4" fmla="*/ 35119 w 44752"/>
                <a:gd name="connsiteY4" fmla="*/ 7560 h 60482"/>
                <a:gd name="connsiteX5" fmla="*/ 19998 w 44752"/>
                <a:gd name="connsiteY5" fmla="*/ 0 h 60482"/>
                <a:gd name="connsiteX6" fmla="*/ 9877 w 44752"/>
                <a:gd name="connsiteY6" fmla="*/ 6585 h 60482"/>
                <a:gd name="connsiteX7" fmla="*/ 0 w 44752"/>
                <a:gd name="connsiteY7" fmla="*/ 10243 h 60482"/>
                <a:gd name="connsiteX8" fmla="*/ 610 w 44752"/>
                <a:gd name="connsiteY8" fmla="*/ 17072 h 60482"/>
                <a:gd name="connsiteX9" fmla="*/ 7072 w 44752"/>
                <a:gd name="connsiteY9" fmla="*/ 22437 h 60482"/>
                <a:gd name="connsiteX10" fmla="*/ 15364 w 44752"/>
                <a:gd name="connsiteY10" fmla="*/ 15487 h 60482"/>
                <a:gd name="connsiteX11" fmla="*/ 16706 w 44752"/>
                <a:gd name="connsiteY11" fmla="*/ 16340 h 60482"/>
                <a:gd name="connsiteX12" fmla="*/ 17560 w 44752"/>
                <a:gd name="connsiteY12" fmla="*/ 17194 h 60482"/>
                <a:gd name="connsiteX13" fmla="*/ 19754 w 44752"/>
                <a:gd name="connsiteY13" fmla="*/ 28047 h 60482"/>
                <a:gd name="connsiteX14" fmla="*/ 11828 w 44752"/>
                <a:gd name="connsiteY14" fmla="*/ 39021 h 60482"/>
                <a:gd name="connsiteX15" fmla="*/ 9999 w 44752"/>
                <a:gd name="connsiteY15" fmla="*/ 55118 h 60482"/>
                <a:gd name="connsiteX16" fmla="*/ 11218 w 44752"/>
                <a:gd name="connsiteY16" fmla="*/ 55727 h 60482"/>
                <a:gd name="connsiteX17" fmla="*/ 15974 w 44752"/>
                <a:gd name="connsiteY17" fmla="*/ 48289 h 60482"/>
                <a:gd name="connsiteX18" fmla="*/ 22681 w 44752"/>
                <a:gd name="connsiteY18" fmla="*/ 49630 h 60482"/>
                <a:gd name="connsiteX19" fmla="*/ 22071 w 44752"/>
                <a:gd name="connsiteY19" fmla="*/ 60483 h 6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752" h="60482">
                  <a:moveTo>
                    <a:pt x="31095" y="56947"/>
                  </a:moveTo>
                  <a:lnTo>
                    <a:pt x="32558" y="37070"/>
                  </a:lnTo>
                  <a:lnTo>
                    <a:pt x="44752" y="24876"/>
                  </a:lnTo>
                  <a:lnTo>
                    <a:pt x="37680" y="13901"/>
                  </a:lnTo>
                  <a:lnTo>
                    <a:pt x="35119" y="7560"/>
                  </a:lnTo>
                  <a:lnTo>
                    <a:pt x="19998" y="0"/>
                  </a:lnTo>
                  <a:lnTo>
                    <a:pt x="9877" y="6585"/>
                  </a:lnTo>
                  <a:lnTo>
                    <a:pt x="0" y="10243"/>
                  </a:lnTo>
                  <a:lnTo>
                    <a:pt x="610" y="17072"/>
                  </a:lnTo>
                  <a:lnTo>
                    <a:pt x="7072" y="22437"/>
                  </a:lnTo>
                  <a:lnTo>
                    <a:pt x="15364" y="15487"/>
                  </a:lnTo>
                  <a:lnTo>
                    <a:pt x="16706" y="16340"/>
                  </a:lnTo>
                  <a:cubicBezTo>
                    <a:pt x="17052" y="16556"/>
                    <a:pt x="17343" y="16848"/>
                    <a:pt x="17560" y="17194"/>
                  </a:cubicBezTo>
                  <a:cubicBezTo>
                    <a:pt x="19373" y="20506"/>
                    <a:pt x="20138" y="24290"/>
                    <a:pt x="19754" y="28047"/>
                  </a:cubicBezTo>
                  <a:cubicBezTo>
                    <a:pt x="20044" y="33120"/>
                    <a:pt x="16736" y="37702"/>
                    <a:pt x="11828" y="39021"/>
                  </a:cubicBezTo>
                  <a:lnTo>
                    <a:pt x="9999" y="55118"/>
                  </a:lnTo>
                  <a:lnTo>
                    <a:pt x="11218" y="55727"/>
                  </a:lnTo>
                  <a:lnTo>
                    <a:pt x="15974" y="48289"/>
                  </a:lnTo>
                  <a:lnTo>
                    <a:pt x="22681" y="49630"/>
                  </a:lnTo>
                  <a:lnTo>
                    <a:pt x="22071" y="6048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7" name="Freihandform: Form 706">
              <a:extLst>
                <a:ext uri="{FF2B5EF4-FFF2-40B4-BE49-F238E27FC236}">
                  <a16:creationId xmlns:a16="http://schemas.microsoft.com/office/drawing/2014/main" id="{1FC31D13-F188-401C-B137-EC4DEF5134BD}"/>
                </a:ext>
              </a:extLst>
            </p:cNvPr>
            <p:cNvSpPr/>
            <p:nvPr/>
          </p:nvSpPr>
          <p:spPr>
            <a:xfrm>
              <a:off x="7016685" y="3456461"/>
              <a:ext cx="9755" cy="5975"/>
            </a:xfrm>
            <a:custGeom>
              <a:avLst/>
              <a:gdLst>
                <a:gd name="connsiteX0" fmla="*/ 0 w 9755"/>
                <a:gd name="connsiteY0" fmla="*/ 3658 h 5975"/>
                <a:gd name="connsiteX1" fmla="*/ 366 w 9755"/>
                <a:gd name="connsiteY1" fmla="*/ 5244 h 5975"/>
                <a:gd name="connsiteX2" fmla="*/ 5609 w 9755"/>
                <a:gd name="connsiteY2" fmla="*/ 5975 h 5975"/>
                <a:gd name="connsiteX3" fmla="*/ 9755 w 9755"/>
                <a:gd name="connsiteY3" fmla="*/ 2439 h 5975"/>
                <a:gd name="connsiteX4" fmla="*/ 9755 w 9755"/>
                <a:gd name="connsiteY4" fmla="*/ 610 h 5975"/>
                <a:gd name="connsiteX5" fmla="*/ 1829 w 9755"/>
                <a:gd name="connsiteY5" fmla="*/ 0 h 5975"/>
                <a:gd name="connsiteX6" fmla="*/ 0 w 9755"/>
                <a:gd name="connsiteY6" fmla="*/ 3658 h 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55" h="5975">
                  <a:moveTo>
                    <a:pt x="0" y="3658"/>
                  </a:moveTo>
                  <a:lnTo>
                    <a:pt x="366" y="5244"/>
                  </a:lnTo>
                  <a:lnTo>
                    <a:pt x="5609" y="5975"/>
                  </a:lnTo>
                  <a:lnTo>
                    <a:pt x="9755" y="2439"/>
                  </a:lnTo>
                  <a:lnTo>
                    <a:pt x="9755" y="610"/>
                  </a:lnTo>
                  <a:lnTo>
                    <a:pt x="1829" y="0"/>
                  </a:lnTo>
                  <a:lnTo>
                    <a:pt x="0" y="365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8" name="Freihandform: Form 707">
              <a:extLst>
                <a:ext uri="{FF2B5EF4-FFF2-40B4-BE49-F238E27FC236}">
                  <a16:creationId xmlns:a16="http://schemas.microsoft.com/office/drawing/2014/main" id="{3B2DB6B5-3022-41EA-B75F-D0E4C21A83BF}"/>
                </a:ext>
              </a:extLst>
            </p:cNvPr>
            <p:cNvSpPr/>
            <p:nvPr/>
          </p:nvSpPr>
          <p:spPr>
            <a:xfrm>
              <a:off x="6936447" y="3578647"/>
              <a:ext cx="11950" cy="5365"/>
            </a:xfrm>
            <a:custGeom>
              <a:avLst/>
              <a:gdLst>
                <a:gd name="connsiteX0" fmla="*/ 122 w 11950"/>
                <a:gd name="connsiteY0" fmla="*/ 5365 h 5365"/>
                <a:gd name="connsiteX1" fmla="*/ 9633 w 11950"/>
                <a:gd name="connsiteY1" fmla="*/ 3170 h 5365"/>
                <a:gd name="connsiteX2" fmla="*/ 11950 w 11950"/>
                <a:gd name="connsiteY2" fmla="*/ 244 h 5365"/>
                <a:gd name="connsiteX3" fmla="*/ 11828 w 11950"/>
                <a:gd name="connsiteY3" fmla="*/ 0 h 5365"/>
                <a:gd name="connsiteX4" fmla="*/ 0 w 11950"/>
                <a:gd name="connsiteY4" fmla="*/ 4512 h 5365"/>
                <a:gd name="connsiteX5" fmla="*/ 122 w 11950"/>
                <a:gd name="connsiteY5" fmla="*/ 5365 h 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50" h="5365">
                  <a:moveTo>
                    <a:pt x="122" y="5365"/>
                  </a:moveTo>
                  <a:lnTo>
                    <a:pt x="9633" y="3170"/>
                  </a:lnTo>
                  <a:lnTo>
                    <a:pt x="11950" y="244"/>
                  </a:lnTo>
                  <a:lnTo>
                    <a:pt x="11828" y="0"/>
                  </a:lnTo>
                  <a:lnTo>
                    <a:pt x="0" y="4512"/>
                  </a:lnTo>
                  <a:lnTo>
                    <a:pt x="122" y="53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09" name="Freihandform: Form 708">
              <a:extLst>
                <a:ext uri="{FF2B5EF4-FFF2-40B4-BE49-F238E27FC236}">
                  <a16:creationId xmlns:a16="http://schemas.microsoft.com/office/drawing/2014/main" id="{F6B9D8BE-A4BF-4DE4-AC11-844B688EA28C}"/>
                </a:ext>
              </a:extLst>
            </p:cNvPr>
            <p:cNvSpPr/>
            <p:nvPr/>
          </p:nvSpPr>
          <p:spPr>
            <a:xfrm>
              <a:off x="6676102" y="3567184"/>
              <a:ext cx="24510" cy="2926"/>
            </a:xfrm>
            <a:custGeom>
              <a:avLst/>
              <a:gdLst>
                <a:gd name="connsiteX0" fmla="*/ 0 w 24510"/>
                <a:gd name="connsiteY0" fmla="*/ 2927 h 2926"/>
                <a:gd name="connsiteX1" fmla="*/ 23901 w 24510"/>
                <a:gd name="connsiteY1" fmla="*/ 1219 h 2926"/>
                <a:gd name="connsiteX2" fmla="*/ 24510 w 24510"/>
                <a:gd name="connsiteY2" fmla="*/ 0 h 2926"/>
                <a:gd name="connsiteX3" fmla="*/ 0 w 24510"/>
                <a:gd name="connsiteY3" fmla="*/ 2317 h 2926"/>
                <a:gd name="connsiteX4" fmla="*/ 0 w 24510"/>
                <a:gd name="connsiteY4" fmla="*/ 2927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10" h="2926">
                  <a:moveTo>
                    <a:pt x="0" y="2927"/>
                  </a:moveTo>
                  <a:lnTo>
                    <a:pt x="23901" y="1219"/>
                  </a:lnTo>
                  <a:lnTo>
                    <a:pt x="24510" y="0"/>
                  </a:lnTo>
                  <a:lnTo>
                    <a:pt x="0" y="2317"/>
                  </a:lnTo>
                  <a:lnTo>
                    <a:pt x="0" y="29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0" name="Freihandform: Form 709">
              <a:extLst>
                <a:ext uri="{FF2B5EF4-FFF2-40B4-BE49-F238E27FC236}">
                  <a16:creationId xmlns:a16="http://schemas.microsoft.com/office/drawing/2014/main" id="{01269FBD-3D18-4EF8-A24E-21280EA3D469}"/>
                </a:ext>
              </a:extLst>
            </p:cNvPr>
            <p:cNvSpPr/>
            <p:nvPr/>
          </p:nvSpPr>
          <p:spPr>
            <a:xfrm>
              <a:off x="7034976" y="2792855"/>
              <a:ext cx="2316" cy="4511"/>
            </a:xfrm>
            <a:custGeom>
              <a:avLst/>
              <a:gdLst>
                <a:gd name="connsiteX0" fmla="*/ 0 w 2316"/>
                <a:gd name="connsiteY0" fmla="*/ 3902 h 4511"/>
                <a:gd name="connsiteX1" fmla="*/ 0 w 2316"/>
                <a:gd name="connsiteY1" fmla="*/ 4512 h 4511"/>
                <a:gd name="connsiteX2" fmla="*/ 2317 w 2316"/>
                <a:gd name="connsiteY2" fmla="*/ 122 h 4511"/>
                <a:gd name="connsiteX3" fmla="*/ 1951 w 2316"/>
                <a:gd name="connsiteY3" fmla="*/ 0 h 4511"/>
                <a:gd name="connsiteX4" fmla="*/ 0 w 2316"/>
                <a:gd name="connsiteY4" fmla="*/ 3902 h 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" h="4511">
                  <a:moveTo>
                    <a:pt x="0" y="3902"/>
                  </a:moveTo>
                  <a:lnTo>
                    <a:pt x="0" y="4512"/>
                  </a:lnTo>
                  <a:lnTo>
                    <a:pt x="2317" y="122"/>
                  </a:lnTo>
                  <a:lnTo>
                    <a:pt x="1951" y="0"/>
                  </a:lnTo>
                  <a:lnTo>
                    <a:pt x="0" y="3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1" name="Freihandform: Form 710">
              <a:extLst>
                <a:ext uri="{FF2B5EF4-FFF2-40B4-BE49-F238E27FC236}">
                  <a16:creationId xmlns:a16="http://schemas.microsoft.com/office/drawing/2014/main" id="{137EA932-93F5-4CAC-9ADD-13BE2BE7887D}"/>
                </a:ext>
              </a:extLst>
            </p:cNvPr>
            <p:cNvSpPr/>
            <p:nvPr/>
          </p:nvSpPr>
          <p:spPr>
            <a:xfrm>
              <a:off x="5371692" y="1561488"/>
              <a:ext cx="40240" cy="22071"/>
            </a:xfrm>
            <a:custGeom>
              <a:avLst/>
              <a:gdLst>
                <a:gd name="connsiteX0" fmla="*/ 38290 w 40240"/>
                <a:gd name="connsiteY0" fmla="*/ 16584 h 22071"/>
                <a:gd name="connsiteX1" fmla="*/ 40241 w 40240"/>
                <a:gd name="connsiteY1" fmla="*/ 9633 h 22071"/>
                <a:gd name="connsiteX2" fmla="*/ 29144 w 40240"/>
                <a:gd name="connsiteY2" fmla="*/ 7438 h 22071"/>
                <a:gd name="connsiteX3" fmla="*/ 20852 w 40240"/>
                <a:gd name="connsiteY3" fmla="*/ 0 h 22071"/>
                <a:gd name="connsiteX4" fmla="*/ 6097 w 40240"/>
                <a:gd name="connsiteY4" fmla="*/ 1463 h 22071"/>
                <a:gd name="connsiteX5" fmla="*/ 976 w 40240"/>
                <a:gd name="connsiteY5" fmla="*/ 13657 h 22071"/>
                <a:gd name="connsiteX6" fmla="*/ 0 w 40240"/>
                <a:gd name="connsiteY6" fmla="*/ 19755 h 22071"/>
                <a:gd name="connsiteX7" fmla="*/ 22803 w 40240"/>
                <a:gd name="connsiteY7" fmla="*/ 22071 h 22071"/>
                <a:gd name="connsiteX8" fmla="*/ 38290 w 40240"/>
                <a:gd name="connsiteY8" fmla="*/ 16584 h 22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40" h="22071">
                  <a:moveTo>
                    <a:pt x="38290" y="16584"/>
                  </a:moveTo>
                  <a:lnTo>
                    <a:pt x="40241" y="9633"/>
                  </a:lnTo>
                  <a:lnTo>
                    <a:pt x="29144" y="7438"/>
                  </a:lnTo>
                  <a:lnTo>
                    <a:pt x="20852" y="0"/>
                  </a:lnTo>
                  <a:lnTo>
                    <a:pt x="6097" y="1463"/>
                  </a:lnTo>
                  <a:lnTo>
                    <a:pt x="976" y="13657"/>
                  </a:lnTo>
                  <a:lnTo>
                    <a:pt x="0" y="19755"/>
                  </a:lnTo>
                  <a:lnTo>
                    <a:pt x="22803" y="22071"/>
                  </a:lnTo>
                  <a:lnTo>
                    <a:pt x="38290" y="165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2" name="Freihandform: Form 711">
              <a:extLst>
                <a:ext uri="{FF2B5EF4-FFF2-40B4-BE49-F238E27FC236}">
                  <a16:creationId xmlns:a16="http://schemas.microsoft.com/office/drawing/2014/main" id="{F38A0C33-0831-4B1B-8A3B-C8670EE1BDAE}"/>
                </a:ext>
              </a:extLst>
            </p:cNvPr>
            <p:cNvSpPr/>
            <p:nvPr/>
          </p:nvSpPr>
          <p:spPr>
            <a:xfrm>
              <a:off x="5442419" y="1418573"/>
              <a:ext cx="112795" cy="103650"/>
            </a:xfrm>
            <a:custGeom>
              <a:avLst/>
              <a:gdLst>
                <a:gd name="connsiteX0" fmla="*/ 10121 w 112795"/>
                <a:gd name="connsiteY0" fmla="*/ 67678 h 103650"/>
                <a:gd name="connsiteX1" fmla="*/ 20242 w 112795"/>
                <a:gd name="connsiteY1" fmla="*/ 59629 h 103650"/>
                <a:gd name="connsiteX2" fmla="*/ 22193 w 112795"/>
                <a:gd name="connsiteY2" fmla="*/ 67556 h 103650"/>
                <a:gd name="connsiteX3" fmla="*/ 34997 w 112795"/>
                <a:gd name="connsiteY3" fmla="*/ 70604 h 103650"/>
                <a:gd name="connsiteX4" fmla="*/ 50972 w 112795"/>
                <a:gd name="connsiteY4" fmla="*/ 73775 h 103650"/>
                <a:gd name="connsiteX5" fmla="*/ 41094 w 112795"/>
                <a:gd name="connsiteY5" fmla="*/ 87676 h 103650"/>
                <a:gd name="connsiteX6" fmla="*/ 42070 w 112795"/>
                <a:gd name="connsiteY6" fmla="*/ 94505 h 103650"/>
                <a:gd name="connsiteX7" fmla="*/ 57800 w 112795"/>
                <a:gd name="connsiteY7" fmla="*/ 95236 h 103650"/>
                <a:gd name="connsiteX8" fmla="*/ 75969 w 112795"/>
                <a:gd name="connsiteY8" fmla="*/ 103650 h 103650"/>
                <a:gd name="connsiteX9" fmla="*/ 96578 w 112795"/>
                <a:gd name="connsiteY9" fmla="*/ 99504 h 103650"/>
                <a:gd name="connsiteX10" fmla="*/ 110967 w 112795"/>
                <a:gd name="connsiteY10" fmla="*/ 97187 h 103650"/>
                <a:gd name="connsiteX11" fmla="*/ 112796 w 112795"/>
                <a:gd name="connsiteY11" fmla="*/ 92310 h 103650"/>
                <a:gd name="connsiteX12" fmla="*/ 78286 w 112795"/>
                <a:gd name="connsiteY12" fmla="*/ 70726 h 103650"/>
                <a:gd name="connsiteX13" fmla="*/ 72189 w 112795"/>
                <a:gd name="connsiteY13" fmla="*/ 57800 h 103650"/>
                <a:gd name="connsiteX14" fmla="*/ 73653 w 112795"/>
                <a:gd name="connsiteY14" fmla="*/ 23047 h 103650"/>
                <a:gd name="connsiteX15" fmla="*/ 85725 w 112795"/>
                <a:gd name="connsiteY15" fmla="*/ 22193 h 103650"/>
                <a:gd name="connsiteX16" fmla="*/ 92797 w 112795"/>
                <a:gd name="connsiteY16" fmla="*/ 7316 h 103650"/>
                <a:gd name="connsiteX17" fmla="*/ 78043 w 112795"/>
                <a:gd name="connsiteY17" fmla="*/ 0 h 103650"/>
                <a:gd name="connsiteX18" fmla="*/ 38655 w 112795"/>
                <a:gd name="connsiteY18" fmla="*/ 732 h 103650"/>
                <a:gd name="connsiteX19" fmla="*/ 31705 w 112795"/>
                <a:gd name="connsiteY19" fmla="*/ 12438 h 103650"/>
                <a:gd name="connsiteX20" fmla="*/ 24388 w 112795"/>
                <a:gd name="connsiteY20" fmla="*/ 14145 h 103650"/>
                <a:gd name="connsiteX21" fmla="*/ 20486 w 112795"/>
                <a:gd name="connsiteY21" fmla="*/ 18901 h 103650"/>
                <a:gd name="connsiteX22" fmla="*/ 26827 w 112795"/>
                <a:gd name="connsiteY22" fmla="*/ 24144 h 103650"/>
                <a:gd name="connsiteX23" fmla="*/ 25242 w 112795"/>
                <a:gd name="connsiteY23" fmla="*/ 37192 h 103650"/>
                <a:gd name="connsiteX24" fmla="*/ 17072 w 112795"/>
                <a:gd name="connsiteY24" fmla="*/ 44875 h 103650"/>
                <a:gd name="connsiteX25" fmla="*/ 4878 w 112795"/>
                <a:gd name="connsiteY25" fmla="*/ 46582 h 103650"/>
                <a:gd name="connsiteX26" fmla="*/ 0 w 112795"/>
                <a:gd name="connsiteY26" fmla="*/ 59751 h 103650"/>
                <a:gd name="connsiteX27" fmla="*/ 3414 w 112795"/>
                <a:gd name="connsiteY27" fmla="*/ 64995 h 103650"/>
                <a:gd name="connsiteX28" fmla="*/ 10121 w 112795"/>
                <a:gd name="connsiteY28" fmla="*/ 67678 h 10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2795" h="103650">
                  <a:moveTo>
                    <a:pt x="10121" y="67678"/>
                  </a:moveTo>
                  <a:lnTo>
                    <a:pt x="20242" y="59629"/>
                  </a:lnTo>
                  <a:lnTo>
                    <a:pt x="22193" y="67556"/>
                  </a:lnTo>
                  <a:lnTo>
                    <a:pt x="34997" y="70604"/>
                  </a:lnTo>
                  <a:lnTo>
                    <a:pt x="50972" y="73775"/>
                  </a:lnTo>
                  <a:lnTo>
                    <a:pt x="41094" y="87676"/>
                  </a:lnTo>
                  <a:lnTo>
                    <a:pt x="42070" y="94505"/>
                  </a:lnTo>
                  <a:lnTo>
                    <a:pt x="57800" y="95236"/>
                  </a:lnTo>
                  <a:lnTo>
                    <a:pt x="75969" y="103650"/>
                  </a:lnTo>
                  <a:lnTo>
                    <a:pt x="96578" y="99504"/>
                  </a:lnTo>
                  <a:lnTo>
                    <a:pt x="110967" y="97187"/>
                  </a:lnTo>
                  <a:lnTo>
                    <a:pt x="112796" y="92310"/>
                  </a:lnTo>
                  <a:lnTo>
                    <a:pt x="78286" y="70726"/>
                  </a:lnTo>
                  <a:lnTo>
                    <a:pt x="72189" y="57800"/>
                  </a:lnTo>
                  <a:lnTo>
                    <a:pt x="73653" y="23047"/>
                  </a:lnTo>
                  <a:lnTo>
                    <a:pt x="85725" y="22193"/>
                  </a:lnTo>
                  <a:lnTo>
                    <a:pt x="92797" y="7316"/>
                  </a:lnTo>
                  <a:lnTo>
                    <a:pt x="78043" y="0"/>
                  </a:lnTo>
                  <a:lnTo>
                    <a:pt x="38655" y="732"/>
                  </a:lnTo>
                  <a:lnTo>
                    <a:pt x="31705" y="12438"/>
                  </a:lnTo>
                  <a:lnTo>
                    <a:pt x="24388" y="14145"/>
                  </a:lnTo>
                  <a:lnTo>
                    <a:pt x="20486" y="18901"/>
                  </a:lnTo>
                  <a:lnTo>
                    <a:pt x="26827" y="24144"/>
                  </a:lnTo>
                  <a:lnTo>
                    <a:pt x="25242" y="37192"/>
                  </a:lnTo>
                  <a:lnTo>
                    <a:pt x="17072" y="44875"/>
                  </a:lnTo>
                  <a:lnTo>
                    <a:pt x="4878" y="46582"/>
                  </a:lnTo>
                  <a:lnTo>
                    <a:pt x="0" y="59751"/>
                  </a:lnTo>
                  <a:lnTo>
                    <a:pt x="3414" y="64995"/>
                  </a:lnTo>
                  <a:lnTo>
                    <a:pt x="10121" y="6767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3" name="Freihandform: Form 712">
              <a:extLst>
                <a:ext uri="{FF2B5EF4-FFF2-40B4-BE49-F238E27FC236}">
                  <a16:creationId xmlns:a16="http://schemas.microsoft.com/office/drawing/2014/main" id="{E14A0514-A0FE-4F5E-9157-B5924613FFFA}"/>
                </a:ext>
              </a:extLst>
            </p:cNvPr>
            <p:cNvSpPr/>
            <p:nvPr/>
          </p:nvSpPr>
          <p:spPr>
            <a:xfrm>
              <a:off x="4966481" y="1545148"/>
              <a:ext cx="729942" cy="989922"/>
            </a:xfrm>
            <a:custGeom>
              <a:avLst/>
              <a:gdLst>
                <a:gd name="connsiteX0" fmla="*/ 6341 w 729942"/>
                <a:gd name="connsiteY0" fmla="*/ 481182 h 989922"/>
                <a:gd name="connsiteX1" fmla="*/ 6341 w 729942"/>
                <a:gd name="connsiteY1" fmla="*/ 481182 h 989922"/>
                <a:gd name="connsiteX2" fmla="*/ 6341 w 729942"/>
                <a:gd name="connsiteY2" fmla="*/ 483377 h 989922"/>
                <a:gd name="connsiteX3" fmla="*/ 6341 w 729942"/>
                <a:gd name="connsiteY3" fmla="*/ 483377 h 989922"/>
                <a:gd name="connsiteX4" fmla="*/ 6341 w 729942"/>
                <a:gd name="connsiteY4" fmla="*/ 485328 h 989922"/>
                <a:gd name="connsiteX5" fmla="*/ 6341 w 729942"/>
                <a:gd name="connsiteY5" fmla="*/ 485328 h 989922"/>
                <a:gd name="connsiteX6" fmla="*/ 5121 w 729942"/>
                <a:gd name="connsiteY6" fmla="*/ 503985 h 989922"/>
                <a:gd name="connsiteX7" fmla="*/ 9024 w 729942"/>
                <a:gd name="connsiteY7" fmla="*/ 509106 h 989922"/>
                <a:gd name="connsiteX8" fmla="*/ 13657 w 729942"/>
                <a:gd name="connsiteY8" fmla="*/ 515325 h 989922"/>
                <a:gd name="connsiteX9" fmla="*/ 12316 w 729942"/>
                <a:gd name="connsiteY9" fmla="*/ 539714 h 989922"/>
                <a:gd name="connsiteX10" fmla="*/ 23778 w 729942"/>
                <a:gd name="connsiteY10" fmla="*/ 540933 h 989922"/>
                <a:gd name="connsiteX11" fmla="*/ 34753 w 729942"/>
                <a:gd name="connsiteY11" fmla="*/ 550566 h 989922"/>
                <a:gd name="connsiteX12" fmla="*/ 43899 w 729942"/>
                <a:gd name="connsiteY12" fmla="*/ 547884 h 989922"/>
                <a:gd name="connsiteX13" fmla="*/ 59508 w 729942"/>
                <a:gd name="connsiteY13" fmla="*/ 549469 h 989922"/>
                <a:gd name="connsiteX14" fmla="*/ 59508 w 729942"/>
                <a:gd name="connsiteY14" fmla="*/ 549469 h 989922"/>
                <a:gd name="connsiteX15" fmla="*/ 67434 w 729942"/>
                <a:gd name="connsiteY15" fmla="*/ 561663 h 989922"/>
                <a:gd name="connsiteX16" fmla="*/ 68531 w 729942"/>
                <a:gd name="connsiteY16" fmla="*/ 573857 h 989922"/>
                <a:gd name="connsiteX17" fmla="*/ 70360 w 729942"/>
                <a:gd name="connsiteY17" fmla="*/ 593368 h 989922"/>
                <a:gd name="connsiteX18" fmla="*/ 79872 w 729942"/>
                <a:gd name="connsiteY18" fmla="*/ 611171 h 989922"/>
                <a:gd name="connsiteX19" fmla="*/ 101821 w 729942"/>
                <a:gd name="connsiteY19" fmla="*/ 631658 h 989922"/>
                <a:gd name="connsiteX20" fmla="*/ 101821 w 729942"/>
                <a:gd name="connsiteY20" fmla="*/ 631658 h 989922"/>
                <a:gd name="connsiteX21" fmla="*/ 99382 w 729942"/>
                <a:gd name="connsiteY21" fmla="*/ 638608 h 989922"/>
                <a:gd name="connsiteX22" fmla="*/ 96090 w 729942"/>
                <a:gd name="connsiteY22" fmla="*/ 649217 h 989922"/>
                <a:gd name="connsiteX23" fmla="*/ 85359 w 729942"/>
                <a:gd name="connsiteY23" fmla="*/ 649217 h 989922"/>
                <a:gd name="connsiteX24" fmla="*/ 76945 w 729942"/>
                <a:gd name="connsiteY24" fmla="*/ 643486 h 989922"/>
                <a:gd name="connsiteX25" fmla="*/ 70238 w 729942"/>
                <a:gd name="connsiteY25" fmla="*/ 643486 h 989922"/>
                <a:gd name="connsiteX26" fmla="*/ 72433 w 729942"/>
                <a:gd name="connsiteY26" fmla="*/ 653119 h 989922"/>
                <a:gd name="connsiteX27" fmla="*/ 79262 w 729942"/>
                <a:gd name="connsiteY27" fmla="*/ 660070 h 989922"/>
                <a:gd name="connsiteX28" fmla="*/ 80847 w 729942"/>
                <a:gd name="connsiteY28" fmla="*/ 661533 h 989922"/>
                <a:gd name="connsiteX29" fmla="*/ 80847 w 729942"/>
                <a:gd name="connsiteY29" fmla="*/ 661533 h 989922"/>
                <a:gd name="connsiteX30" fmla="*/ 84505 w 729942"/>
                <a:gd name="connsiteY30" fmla="*/ 673727 h 989922"/>
                <a:gd name="connsiteX31" fmla="*/ 87310 w 729942"/>
                <a:gd name="connsiteY31" fmla="*/ 672264 h 989922"/>
                <a:gd name="connsiteX32" fmla="*/ 97065 w 729942"/>
                <a:gd name="connsiteY32" fmla="*/ 667509 h 989922"/>
                <a:gd name="connsiteX33" fmla="*/ 114137 w 729942"/>
                <a:gd name="connsiteY33" fmla="*/ 669338 h 989922"/>
                <a:gd name="connsiteX34" fmla="*/ 126331 w 729942"/>
                <a:gd name="connsiteY34" fmla="*/ 670557 h 989922"/>
                <a:gd name="connsiteX35" fmla="*/ 126331 w 729942"/>
                <a:gd name="connsiteY35" fmla="*/ 670557 h 989922"/>
                <a:gd name="connsiteX36" fmla="*/ 128527 w 729942"/>
                <a:gd name="connsiteY36" fmla="*/ 679337 h 989922"/>
                <a:gd name="connsiteX37" fmla="*/ 134867 w 729942"/>
                <a:gd name="connsiteY37" fmla="*/ 703725 h 989922"/>
                <a:gd name="connsiteX38" fmla="*/ 149256 w 729942"/>
                <a:gd name="connsiteY38" fmla="*/ 706652 h 989922"/>
                <a:gd name="connsiteX39" fmla="*/ 149256 w 729942"/>
                <a:gd name="connsiteY39" fmla="*/ 706652 h 989922"/>
                <a:gd name="connsiteX40" fmla="*/ 150720 w 729942"/>
                <a:gd name="connsiteY40" fmla="*/ 718846 h 989922"/>
                <a:gd name="connsiteX41" fmla="*/ 158158 w 729942"/>
                <a:gd name="connsiteY41" fmla="*/ 727504 h 989922"/>
                <a:gd name="connsiteX42" fmla="*/ 178035 w 729942"/>
                <a:gd name="connsiteY42" fmla="*/ 726650 h 989922"/>
                <a:gd name="connsiteX43" fmla="*/ 190229 w 729942"/>
                <a:gd name="connsiteY43" fmla="*/ 726650 h 989922"/>
                <a:gd name="connsiteX44" fmla="*/ 199130 w 729942"/>
                <a:gd name="connsiteY44" fmla="*/ 733967 h 989922"/>
                <a:gd name="connsiteX45" fmla="*/ 205838 w 729942"/>
                <a:gd name="connsiteY45" fmla="*/ 739454 h 989922"/>
                <a:gd name="connsiteX46" fmla="*/ 218641 w 729942"/>
                <a:gd name="connsiteY46" fmla="*/ 739454 h 989922"/>
                <a:gd name="connsiteX47" fmla="*/ 232543 w 729942"/>
                <a:gd name="connsiteY47" fmla="*/ 751648 h 989922"/>
                <a:gd name="connsiteX48" fmla="*/ 249127 w 729942"/>
                <a:gd name="connsiteY48" fmla="*/ 766525 h 989922"/>
                <a:gd name="connsiteX49" fmla="*/ 236932 w 729942"/>
                <a:gd name="connsiteY49" fmla="*/ 781768 h 989922"/>
                <a:gd name="connsiteX50" fmla="*/ 233884 w 729942"/>
                <a:gd name="connsiteY50" fmla="*/ 807497 h 989922"/>
                <a:gd name="connsiteX51" fmla="*/ 224250 w 729942"/>
                <a:gd name="connsiteY51" fmla="*/ 805912 h 989922"/>
                <a:gd name="connsiteX52" fmla="*/ 220958 w 729942"/>
                <a:gd name="connsiteY52" fmla="*/ 809205 h 989922"/>
                <a:gd name="connsiteX53" fmla="*/ 211081 w 729942"/>
                <a:gd name="connsiteY53" fmla="*/ 819082 h 989922"/>
                <a:gd name="connsiteX54" fmla="*/ 201569 w 729942"/>
                <a:gd name="connsiteY54" fmla="*/ 835788 h 989922"/>
                <a:gd name="connsiteX55" fmla="*/ 217666 w 729942"/>
                <a:gd name="connsiteY55" fmla="*/ 830423 h 989922"/>
                <a:gd name="connsiteX56" fmla="*/ 222909 w 729942"/>
                <a:gd name="connsiteY56" fmla="*/ 837495 h 989922"/>
                <a:gd name="connsiteX57" fmla="*/ 203764 w 729942"/>
                <a:gd name="connsiteY57" fmla="*/ 847128 h 989922"/>
                <a:gd name="connsiteX58" fmla="*/ 209739 w 729942"/>
                <a:gd name="connsiteY58" fmla="*/ 858225 h 989922"/>
                <a:gd name="connsiteX59" fmla="*/ 207422 w 729942"/>
                <a:gd name="connsiteY59" fmla="*/ 865298 h 989922"/>
                <a:gd name="connsiteX60" fmla="*/ 197058 w 729942"/>
                <a:gd name="connsiteY60" fmla="*/ 875541 h 989922"/>
                <a:gd name="connsiteX61" fmla="*/ 195960 w 729942"/>
                <a:gd name="connsiteY61" fmla="*/ 881272 h 989922"/>
                <a:gd name="connsiteX62" fmla="*/ 184619 w 729942"/>
                <a:gd name="connsiteY62" fmla="*/ 882126 h 989922"/>
                <a:gd name="connsiteX63" fmla="*/ 185717 w 729942"/>
                <a:gd name="connsiteY63" fmla="*/ 885906 h 989922"/>
                <a:gd name="connsiteX64" fmla="*/ 189131 w 729942"/>
                <a:gd name="connsiteY64" fmla="*/ 891759 h 989922"/>
                <a:gd name="connsiteX65" fmla="*/ 196448 w 729942"/>
                <a:gd name="connsiteY65" fmla="*/ 895417 h 989922"/>
                <a:gd name="connsiteX66" fmla="*/ 202667 w 729942"/>
                <a:gd name="connsiteY66" fmla="*/ 902612 h 989922"/>
                <a:gd name="connsiteX67" fmla="*/ 212178 w 729942"/>
                <a:gd name="connsiteY67" fmla="*/ 902612 h 989922"/>
                <a:gd name="connsiteX68" fmla="*/ 230592 w 729942"/>
                <a:gd name="connsiteY68" fmla="*/ 923952 h 989922"/>
                <a:gd name="connsiteX69" fmla="*/ 236445 w 729942"/>
                <a:gd name="connsiteY69" fmla="*/ 928220 h 989922"/>
                <a:gd name="connsiteX70" fmla="*/ 248639 w 729942"/>
                <a:gd name="connsiteY70" fmla="*/ 931390 h 989922"/>
                <a:gd name="connsiteX71" fmla="*/ 253395 w 729942"/>
                <a:gd name="connsiteY71" fmla="*/ 932488 h 989922"/>
                <a:gd name="connsiteX72" fmla="*/ 266320 w 729942"/>
                <a:gd name="connsiteY72" fmla="*/ 935780 h 989922"/>
                <a:gd name="connsiteX73" fmla="*/ 286563 w 729942"/>
                <a:gd name="connsiteY73" fmla="*/ 938707 h 989922"/>
                <a:gd name="connsiteX74" fmla="*/ 295221 w 729942"/>
                <a:gd name="connsiteY74" fmla="*/ 939926 h 989922"/>
                <a:gd name="connsiteX75" fmla="*/ 303512 w 729942"/>
                <a:gd name="connsiteY75" fmla="*/ 937487 h 989922"/>
                <a:gd name="connsiteX76" fmla="*/ 305708 w 729942"/>
                <a:gd name="connsiteY76" fmla="*/ 937487 h 989922"/>
                <a:gd name="connsiteX77" fmla="*/ 307781 w 729942"/>
                <a:gd name="connsiteY77" fmla="*/ 938463 h 989922"/>
                <a:gd name="connsiteX78" fmla="*/ 311561 w 729942"/>
                <a:gd name="connsiteY78" fmla="*/ 940292 h 989922"/>
                <a:gd name="connsiteX79" fmla="*/ 334364 w 729942"/>
                <a:gd name="connsiteY79" fmla="*/ 951023 h 989922"/>
                <a:gd name="connsiteX80" fmla="*/ 345095 w 729942"/>
                <a:gd name="connsiteY80" fmla="*/ 957242 h 989922"/>
                <a:gd name="connsiteX81" fmla="*/ 360337 w 729942"/>
                <a:gd name="connsiteY81" fmla="*/ 966144 h 989922"/>
                <a:gd name="connsiteX82" fmla="*/ 367654 w 729942"/>
                <a:gd name="connsiteY82" fmla="*/ 966144 h 989922"/>
                <a:gd name="connsiteX83" fmla="*/ 369483 w 729942"/>
                <a:gd name="connsiteY83" fmla="*/ 968217 h 989922"/>
                <a:gd name="connsiteX84" fmla="*/ 376556 w 729942"/>
                <a:gd name="connsiteY84" fmla="*/ 976265 h 989922"/>
                <a:gd name="connsiteX85" fmla="*/ 378263 w 729942"/>
                <a:gd name="connsiteY85" fmla="*/ 978216 h 989922"/>
                <a:gd name="connsiteX86" fmla="*/ 382897 w 729942"/>
                <a:gd name="connsiteY86" fmla="*/ 980533 h 989922"/>
                <a:gd name="connsiteX87" fmla="*/ 401554 w 729942"/>
                <a:gd name="connsiteY87" fmla="*/ 989922 h 989922"/>
                <a:gd name="connsiteX88" fmla="*/ 410090 w 729942"/>
                <a:gd name="connsiteY88" fmla="*/ 986996 h 989922"/>
                <a:gd name="connsiteX89" fmla="*/ 410090 w 729942"/>
                <a:gd name="connsiteY89" fmla="*/ 972850 h 989922"/>
                <a:gd name="connsiteX90" fmla="*/ 405944 w 729942"/>
                <a:gd name="connsiteY90" fmla="*/ 965900 h 989922"/>
                <a:gd name="connsiteX91" fmla="*/ 393750 w 729942"/>
                <a:gd name="connsiteY91" fmla="*/ 939072 h 989922"/>
                <a:gd name="connsiteX92" fmla="*/ 393018 w 729942"/>
                <a:gd name="connsiteY92" fmla="*/ 929073 h 989922"/>
                <a:gd name="connsiteX93" fmla="*/ 393018 w 729942"/>
                <a:gd name="connsiteY93" fmla="*/ 923586 h 989922"/>
                <a:gd name="connsiteX94" fmla="*/ 391676 w 729942"/>
                <a:gd name="connsiteY94" fmla="*/ 922245 h 989922"/>
                <a:gd name="connsiteX95" fmla="*/ 381799 w 729942"/>
                <a:gd name="connsiteY95" fmla="*/ 910050 h 989922"/>
                <a:gd name="connsiteX96" fmla="*/ 378751 w 729942"/>
                <a:gd name="connsiteY96" fmla="*/ 903100 h 989922"/>
                <a:gd name="connsiteX97" fmla="*/ 378751 w 729942"/>
                <a:gd name="connsiteY97" fmla="*/ 895174 h 989922"/>
                <a:gd name="connsiteX98" fmla="*/ 378751 w 729942"/>
                <a:gd name="connsiteY98" fmla="*/ 894076 h 989922"/>
                <a:gd name="connsiteX99" fmla="*/ 385091 w 729942"/>
                <a:gd name="connsiteY99" fmla="*/ 890540 h 989922"/>
                <a:gd name="connsiteX100" fmla="*/ 391798 w 729942"/>
                <a:gd name="connsiteY100" fmla="*/ 875541 h 989922"/>
                <a:gd name="connsiteX101" fmla="*/ 394725 w 729942"/>
                <a:gd name="connsiteY101" fmla="*/ 870054 h 989922"/>
                <a:gd name="connsiteX102" fmla="*/ 395335 w 729942"/>
                <a:gd name="connsiteY102" fmla="*/ 868956 h 989922"/>
                <a:gd name="connsiteX103" fmla="*/ 396554 w 729942"/>
                <a:gd name="connsiteY103" fmla="*/ 868956 h 989922"/>
                <a:gd name="connsiteX104" fmla="*/ 416796 w 729942"/>
                <a:gd name="connsiteY104" fmla="*/ 858103 h 989922"/>
                <a:gd name="connsiteX105" fmla="*/ 423259 w 729942"/>
                <a:gd name="connsiteY105" fmla="*/ 852982 h 989922"/>
                <a:gd name="connsiteX106" fmla="*/ 423259 w 729942"/>
                <a:gd name="connsiteY106" fmla="*/ 852982 h 989922"/>
                <a:gd name="connsiteX107" fmla="*/ 419723 w 729942"/>
                <a:gd name="connsiteY107" fmla="*/ 851031 h 989922"/>
                <a:gd name="connsiteX108" fmla="*/ 415821 w 729942"/>
                <a:gd name="connsiteY108" fmla="*/ 848836 h 989922"/>
                <a:gd name="connsiteX109" fmla="*/ 416796 w 729942"/>
                <a:gd name="connsiteY109" fmla="*/ 844446 h 989922"/>
                <a:gd name="connsiteX110" fmla="*/ 420333 w 729942"/>
                <a:gd name="connsiteY110" fmla="*/ 827984 h 989922"/>
                <a:gd name="connsiteX111" fmla="*/ 416431 w 729942"/>
                <a:gd name="connsiteY111" fmla="*/ 821521 h 989922"/>
                <a:gd name="connsiteX112" fmla="*/ 409114 w 729942"/>
                <a:gd name="connsiteY112" fmla="*/ 812619 h 989922"/>
                <a:gd name="connsiteX113" fmla="*/ 385336 w 729942"/>
                <a:gd name="connsiteY113" fmla="*/ 807619 h 989922"/>
                <a:gd name="connsiteX114" fmla="*/ 380214 w 729942"/>
                <a:gd name="connsiteY114" fmla="*/ 806522 h 989922"/>
                <a:gd name="connsiteX115" fmla="*/ 380214 w 729942"/>
                <a:gd name="connsiteY115" fmla="*/ 801157 h 989922"/>
                <a:gd name="connsiteX116" fmla="*/ 385579 w 729942"/>
                <a:gd name="connsiteY116" fmla="*/ 723724 h 989922"/>
                <a:gd name="connsiteX117" fmla="*/ 385579 w 729942"/>
                <a:gd name="connsiteY117" fmla="*/ 719334 h 989922"/>
                <a:gd name="connsiteX118" fmla="*/ 389847 w 729942"/>
                <a:gd name="connsiteY118" fmla="*/ 718236 h 989922"/>
                <a:gd name="connsiteX119" fmla="*/ 398261 w 729942"/>
                <a:gd name="connsiteY119" fmla="*/ 716163 h 989922"/>
                <a:gd name="connsiteX120" fmla="*/ 402285 w 729942"/>
                <a:gd name="connsiteY120" fmla="*/ 715188 h 989922"/>
                <a:gd name="connsiteX121" fmla="*/ 404724 w 729942"/>
                <a:gd name="connsiteY121" fmla="*/ 718602 h 989922"/>
                <a:gd name="connsiteX122" fmla="*/ 406675 w 729942"/>
                <a:gd name="connsiteY122" fmla="*/ 721285 h 989922"/>
                <a:gd name="connsiteX123" fmla="*/ 409602 w 729942"/>
                <a:gd name="connsiteY123" fmla="*/ 725431 h 989922"/>
                <a:gd name="connsiteX124" fmla="*/ 416553 w 729942"/>
                <a:gd name="connsiteY124" fmla="*/ 724699 h 989922"/>
                <a:gd name="connsiteX125" fmla="*/ 416553 w 729942"/>
                <a:gd name="connsiteY125" fmla="*/ 704823 h 989922"/>
                <a:gd name="connsiteX126" fmla="*/ 419235 w 729942"/>
                <a:gd name="connsiteY126" fmla="*/ 702993 h 989922"/>
                <a:gd name="connsiteX127" fmla="*/ 456793 w 729942"/>
                <a:gd name="connsiteY127" fmla="*/ 678605 h 989922"/>
                <a:gd name="connsiteX128" fmla="*/ 459354 w 729942"/>
                <a:gd name="connsiteY128" fmla="*/ 676898 h 989922"/>
                <a:gd name="connsiteX129" fmla="*/ 463744 w 729942"/>
                <a:gd name="connsiteY129" fmla="*/ 673971 h 989922"/>
                <a:gd name="connsiteX130" fmla="*/ 467280 w 729942"/>
                <a:gd name="connsiteY130" fmla="*/ 677996 h 989922"/>
                <a:gd name="connsiteX131" fmla="*/ 474841 w 729942"/>
                <a:gd name="connsiteY131" fmla="*/ 686531 h 989922"/>
                <a:gd name="connsiteX132" fmla="*/ 494351 w 729942"/>
                <a:gd name="connsiteY132" fmla="*/ 686531 h 989922"/>
                <a:gd name="connsiteX133" fmla="*/ 496058 w 729942"/>
                <a:gd name="connsiteY133" fmla="*/ 687995 h 989922"/>
                <a:gd name="connsiteX134" fmla="*/ 502643 w 729942"/>
                <a:gd name="connsiteY134" fmla="*/ 693482 h 989922"/>
                <a:gd name="connsiteX135" fmla="*/ 518374 w 729942"/>
                <a:gd name="connsiteY135" fmla="*/ 692385 h 989922"/>
                <a:gd name="connsiteX136" fmla="*/ 521666 w 729942"/>
                <a:gd name="connsiteY136" fmla="*/ 692385 h 989922"/>
                <a:gd name="connsiteX137" fmla="*/ 523739 w 729942"/>
                <a:gd name="connsiteY137" fmla="*/ 695189 h 989922"/>
                <a:gd name="connsiteX138" fmla="*/ 531543 w 729942"/>
                <a:gd name="connsiteY138" fmla="*/ 706042 h 989922"/>
                <a:gd name="connsiteX139" fmla="*/ 533007 w 729942"/>
                <a:gd name="connsiteY139" fmla="*/ 707871 h 989922"/>
                <a:gd name="connsiteX140" fmla="*/ 541055 w 729942"/>
                <a:gd name="connsiteY140" fmla="*/ 706896 h 989922"/>
                <a:gd name="connsiteX141" fmla="*/ 543981 w 729942"/>
                <a:gd name="connsiteY141" fmla="*/ 706896 h 989922"/>
                <a:gd name="connsiteX142" fmla="*/ 546055 w 729942"/>
                <a:gd name="connsiteY142" fmla="*/ 709091 h 989922"/>
                <a:gd name="connsiteX143" fmla="*/ 548249 w 729942"/>
                <a:gd name="connsiteY143" fmla="*/ 711286 h 989922"/>
                <a:gd name="connsiteX144" fmla="*/ 552639 w 729942"/>
                <a:gd name="connsiteY144" fmla="*/ 715675 h 989922"/>
                <a:gd name="connsiteX145" fmla="*/ 556420 w 729942"/>
                <a:gd name="connsiteY145" fmla="*/ 715675 h 989922"/>
                <a:gd name="connsiteX146" fmla="*/ 561175 w 729942"/>
                <a:gd name="connsiteY146" fmla="*/ 710920 h 989922"/>
                <a:gd name="connsiteX147" fmla="*/ 566053 w 729942"/>
                <a:gd name="connsiteY147" fmla="*/ 706042 h 989922"/>
                <a:gd name="connsiteX148" fmla="*/ 567760 w 729942"/>
                <a:gd name="connsiteY148" fmla="*/ 704335 h 989922"/>
                <a:gd name="connsiteX149" fmla="*/ 606415 w 729942"/>
                <a:gd name="connsiteY149" fmla="*/ 704335 h 989922"/>
                <a:gd name="connsiteX150" fmla="*/ 608123 w 729942"/>
                <a:gd name="connsiteY150" fmla="*/ 705798 h 989922"/>
                <a:gd name="connsiteX151" fmla="*/ 615805 w 729942"/>
                <a:gd name="connsiteY151" fmla="*/ 712383 h 989922"/>
                <a:gd name="connsiteX152" fmla="*/ 616659 w 729942"/>
                <a:gd name="connsiteY152" fmla="*/ 713115 h 989922"/>
                <a:gd name="connsiteX153" fmla="*/ 638364 w 729942"/>
                <a:gd name="connsiteY153" fmla="*/ 717627 h 989922"/>
                <a:gd name="connsiteX154" fmla="*/ 638974 w 729942"/>
                <a:gd name="connsiteY154" fmla="*/ 712627 h 989922"/>
                <a:gd name="connsiteX155" fmla="*/ 619220 w 729942"/>
                <a:gd name="connsiteY155" fmla="*/ 693116 h 989922"/>
                <a:gd name="connsiteX156" fmla="*/ 602514 w 729942"/>
                <a:gd name="connsiteY156" fmla="*/ 676898 h 989922"/>
                <a:gd name="connsiteX157" fmla="*/ 587637 w 729942"/>
                <a:gd name="connsiteY157" fmla="*/ 662387 h 989922"/>
                <a:gd name="connsiteX158" fmla="*/ 585198 w 729942"/>
                <a:gd name="connsiteY158" fmla="*/ 659948 h 989922"/>
                <a:gd name="connsiteX159" fmla="*/ 586051 w 729942"/>
                <a:gd name="connsiteY159" fmla="*/ 656534 h 989922"/>
                <a:gd name="connsiteX160" fmla="*/ 587393 w 729942"/>
                <a:gd name="connsiteY160" fmla="*/ 651168 h 989922"/>
                <a:gd name="connsiteX161" fmla="*/ 591905 w 729942"/>
                <a:gd name="connsiteY161" fmla="*/ 632999 h 989922"/>
                <a:gd name="connsiteX162" fmla="*/ 591905 w 729942"/>
                <a:gd name="connsiteY162" fmla="*/ 632999 h 989922"/>
                <a:gd name="connsiteX163" fmla="*/ 591905 w 729942"/>
                <a:gd name="connsiteY163" fmla="*/ 632999 h 989922"/>
                <a:gd name="connsiteX164" fmla="*/ 619829 w 729942"/>
                <a:gd name="connsiteY164" fmla="*/ 576906 h 989922"/>
                <a:gd name="connsiteX165" fmla="*/ 606172 w 729942"/>
                <a:gd name="connsiteY165" fmla="*/ 564712 h 989922"/>
                <a:gd name="connsiteX166" fmla="*/ 603123 w 729942"/>
                <a:gd name="connsiteY166" fmla="*/ 561907 h 989922"/>
                <a:gd name="connsiteX167" fmla="*/ 604586 w 729942"/>
                <a:gd name="connsiteY167" fmla="*/ 558005 h 989922"/>
                <a:gd name="connsiteX168" fmla="*/ 613122 w 729942"/>
                <a:gd name="connsiteY168" fmla="*/ 536421 h 989922"/>
                <a:gd name="connsiteX169" fmla="*/ 613854 w 729942"/>
                <a:gd name="connsiteY169" fmla="*/ 534470 h 989922"/>
                <a:gd name="connsiteX170" fmla="*/ 615683 w 729942"/>
                <a:gd name="connsiteY170" fmla="*/ 533373 h 989922"/>
                <a:gd name="connsiteX171" fmla="*/ 629219 w 729942"/>
                <a:gd name="connsiteY171" fmla="*/ 525690 h 989922"/>
                <a:gd name="connsiteX172" fmla="*/ 632145 w 729942"/>
                <a:gd name="connsiteY172" fmla="*/ 524105 h 989922"/>
                <a:gd name="connsiteX173" fmla="*/ 639340 w 729942"/>
                <a:gd name="connsiteY173" fmla="*/ 494839 h 989922"/>
                <a:gd name="connsiteX174" fmla="*/ 637754 w 729942"/>
                <a:gd name="connsiteY174" fmla="*/ 447160 h 989922"/>
                <a:gd name="connsiteX175" fmla="*/ 631657 w 729942"/>
                <a:gd name="connsiteY175" fmla="*/ 409602 h 989922"/>
                <a:gd name="connsiteX176" fmla="*/ 631657 w 729942"/>
                <a:gd name="connsiteY176" fmla="*/ 407773 h 989922"/>
                <a:gd name="connsiteX177" fmla="*/ 640925 w 729942"/>
                <a:gd name="connsiteY177" fmla="*/ 336925 h 989922"/>
                <a:gd name="connsiteX178" fmla="*/ 645681 w 729942"/>
                <a:gd name="connsiteY178" fmla="*/ 316195 h 989922"/>
                <a:gd name="connsiteX179" fmla="*/ 652876 w 729942"/>
                <a:gd name="connsiteY179" fmla="*/ 284856 h 989922"/>
                <a:gd name="connsiteX180" fmla="*/ 647022 w 729942"/>
                <a:gd name="connsiteY180" fmla="*/ 277051 h 989922"/>
                <a:gd name="connsiteX181" fmla="*/ 643730 w 729942"/>
                <a:gd name="connsiteY181" fmla="*/ 272540 h 989922"/>
                <a:gd name="connsiteX182" fmla="*/ 642266 w 729942"/>
                <a:gd name="connsiteY182" fmla="*/ 270710 h 989922"/>
                <a:gd name="connsiteX183" fmla="*/ 642266 w 729942"/>
                <a:gd name="connsiteY183" fmla="*/ 268394 h 989922"/>
                <a:gd name="connsiteX184" fmla="*/ 648242 w 729942"/>
                <a:gd name="connsiteY184" fmla="*/ 200350 h 989922"/>
                <a:gd name="connsiteX185" fmla="*/ 648242 w 729942"/>
                <a:gd name="connsiteY185" fmla="*/ 198399 h 989922"/>
                <a:gd name="connsiteX186" fmla="*/ 649583 w 729942"/>
                <a:gd name="connsiteY186" fmla="*/ 196814 h 989922"/>
                <a:gd name="connsiteX187" fmla="*/ 709090 w 729942"/>
                <a:gd name="connsiteY187" fmla="*/ 129380 h 989922"/>
                <a:gd name="connsiteX188" fmla="*/ 709944 w 729942"/>
                <a:gd name="connsiteY188" fmla="*/ 128526 h 989922"/>
                <a:gd name="connsiteX189" fmla="*/ 711042 w 729942"/>
                <a:gd name="connsiteY189" fmla="*/ 127917 h 989922"/>
                <a:gd name="connsiteX190" fmla="*/ 721285 w 729942"/>
                <a:gd name="connsiteY190" fmla="*/ 123161 h 989922"/>
                <a:gd name="connsiteX191" fmla="*/ 725796 w 729942"/>
                <a:gd name="connsiteY191" fmla="*/ 121088 h 989922"/>
                <a:gd name="connsiteX192" fmla="*/ 729942 w 729942"/>
                <a:gd name="connsiteY192" fmla="*/ 101577 h 989922"/>
                <a:gd name="connsiteX193" fmla="*/ 727625 w 729942"/>
                <a:gd name="connsiteY193" fmla="*/ 91456 h 989922"/>
                <a:gd name="connsiteX194" fmla="*/ 717992 w 729942"/>
                <a:gd name="connsiteY194" fmla="*/ 48655 h 989922"/>
                <a:gd name="connsiteX195" fmla="*/ 717139 w 729942"/>
                <a:gd name="connsiteY195" fmla="*/ 44753 h 989922"/>
                <a:gd name="connsiteX196" fmla="*/ 720431 w 729942"/>
                <a:gd name="connsiteY196" fmla="*/ 42436 h 989922"/>
                <a:gd name="connsiteX197" fmla="*/ 727504 w 729942"/>
                <a:gd name="connsiteY197" fmla="*/ 37192 h 989922"/>
                <a:gd name="connsiteX198" fmla="*/ 724455 w 729942"/>
                <a:gd name="connsiteY198" fmla="*/ 29754 h 989922"/>
                <a:gd name="connsiteX199" fmla="*/ 718846 w 729942"/>
                <a:gd name="connsiteY199" fmla="*/ 16340 h 989922"/>
                <a:gd name="connsiteX200" fmla="*/ 716895 w 729942"/>
                <a:gd name="connsiteY200" fmla="*/ 11584 h 989922"/>
                <a:gd name="connsiteX201" fmla="*/ 665679 w 729942"/>
                <a:gd name="connsiteY201" fmla="*/ 5243 h 989922"/>
                <a:gd name="connsiteX202" fmla="*/ 654460 w 729942"/>
                <a:gd name="connsiteY202" fmla="*/ 12682 h 989922"/>
                <a:gd name="connsiteX203" fmla="*/ 661777 w 729942"/>
                <a:gd name="connsiteY203" fmla="*/ 19267 h 989922"/>
                <a:gd name="connsiteX204" fmla="*/ 660314 w 729942"/>
                <a:gd name="connsiteY204" fmla="*/ 37070 h 989922"/>
                <a:gd name="connsiteX205" fmla="*/ 643852 w 729942"/>
                <a:gd name="connsiteY205" fmla="*/ 41216 h 989922"/>
                <a:gd name="connsiteX206" fmla="*/ 645315 w 729942"/>
                <a:gd name="connsiteY206" fmla="*/ 46948 h 989922"/>
                <a:gd name="connsiteX207" fmla="*/ 634218 w 729942"/>
                <a:gd name="connsiteY207" fmla="*/ 51337 h 989922"/>
                <a:gd name="connsiteX208" fmla="*/ 623731 w 729942"/>
                <a:gd name="connsiteY208" fmla="*/ 45972 h 989922"/>
                <a:gd name="connsiteX209" fmla="*/ 625072 w 729942"/>
                <a:gd name="connsiteY209" fmla="*/ 35973 h 989922"/>
                <a:gd name="connsiteX210" fmla="*/ 616293 w 729942"/>
                <a:gd name="connsiteY210" fmla="*/ 32680 h 989922"/>
                <a:gd name="connsiteX211" fmla="*/ 605318 w 729942"/>
                <a:gd name="connsiteY211" fmla="*/ 39143 h 989922"/>
                <a:gd name="connsiteX212" fmla="*/ 593977 w 729942"/>
                <a:gd name="connsiteY212" fmla="*/ 39997 h 989922"/>
                <a:gd name="connsiteX213" fmla="*/ 582637 w 729942"/>
                <a:gd name="connsiteY213" fmla="*/ 46948 h 989922"/>
                <a:gd name="connsiteX214" fmla="*/ 565199 w 729942"/>
                <a:gd name="connsiteY214" fmla="*/ 46948 h 989922"/>
                <a:gd name="connsiteX215" fmla="*/ 563736 w 729942"/>
                <a:gd name="connsiteY215" fmla="*/ 44387 h 989922"/>
                <a:gd name="connsiteX216" fmla="*/ 554346 w 729942"/>
                <a:gd name="connsiteY216" fmla="*/ 44387 h 989922"/>
                <a:gd name="connsiteX217" fmla="*/ 546177 w 729942"/>
                <a:gd name="connsiteY217" fmla="*/ 49996 h 989922"/>
                <a:gd name="connsiteX218" fmla="*/ 547884 w 729942"/>
                <a:gd name="connsiteY218" fmla="*/ 57069 h 989922"/>
                <a:gd name="connsiteX219" fmla="*/ 533250 w 729942"/>
                <a:gd name="connsiteY219" fmla="*/ 57069 h 989922"/>
                <a:gd name="connsiteX220" fmla="*/ 529349 w 729942"/>
                <a:gd name="connsiteY220" fmla="*/ 54752 h 989922"/>
                <a:gd name="connsiteX221" fmla="*/ 517764 w 729942"/>
                <a:gd name="connsiteY221" fmla="*/ 59142 h 989922"/>
                <a:gd name="connsiteX222" fmla="*/ 508984 w 729942"/>
                <a:gd name="connsiteY222" fmla="*/ 51215 h 989922"/>
                <a:gd name="connsiteX223" fmla="*/ 521178 w 729942"/>
                <a:gd name="connsiteY223" fmla="*/ 44021 h 989922"/>
                <a:gd name="connsiteX224" fmla="*/ 517032 w 729942"/>
                <a:gd name="connsiteY224" fmla="*/ 37558 h 989922"/>
                <a:gd name="connsiteX225" fmla="*/ 520690 w 729942"/>
                <a:gd name="connsiteY225" fmla="*/ 34509 h 989922"/>
                <a:gd name="connsiteX226" fmla="*/ 513374 w 729942"/>
                <a:gd name="connsiteY226" fmla="*/ 34509 h 989922"/>
                <a:gd name="connsiteX227" fmla="*/ 501790 w 729942"/>
                <a:gd name="connsiteY227" fmla="*/ 41094 h 989922"/>
                <a:gd name="connsiteX228" fmla="*/ 495205 w 729942"/>
                <a:gd name="connsiteY228" fmla="*/ 43045 h 989922"/>
                <a:gd name="connsiteX229" fmla="*/ 496546 w 729942"/>
                <a:gd name="connsiteY229" fmla="*/ 48899 h 989922"/>
                <a:gd name="connsiteX230" fmla="*/ 484352 w 729942"/>
                <a:gd name="connsiteY230" fmla="*/ 53776 h 989922"/>
                <a:gd name="connsiteX231" fmla="*/ 482523 w 729942"/>
                <a:gd name="connsiteY231" fmla="*/ 47679 h 989922"/>
                <a:gd name="connsiteX232" fmla="*/ 477279 w 729942"/>
                <a:gd name="connsiteY232" fmla="*/ 46338 h 989922"/>
                <a:gd name="connsiteX233" fmla="*/ 458256 w 729942"/>
                <a:gd name="connsiteY233" fmla="*/ 51215 h 989922"/>
                <a:gd name="connsiteX234" fmla="*/ 447038 w 729942"/>
                <a:gd name="connsiteY234" fmla="*/ 60483 h 989922"/>
                <a:gd name="connsiteX235" fmla="*/ 433868 w 729942"/>
                <a:gd name="connsiteY235" fmla="*/ 68409 h 989922"/>
                <a:gd name="connsiteX236" fmla="*/ 419723 w 729942"/>
                <a:gd name="connsiteY236" fmla="*/ 68409 h 989922"/>
                <a:gd name="connsiteX237" fmla="*/ 419723 w 729942"/>
                <a:gd name="connsiteY237" fmla="*/ 75726 h 989922"/>
                <a:gd name="connsiteX238" fmla="*/ 411553 w 729942"/>
                <a:gd name="connsiteY238" fmla="*/ 76945 h 989922"/>
                <a:gd name="connsiteX239" fmla="*/ 403139 w 729942"/>
                <a:gd name="connsiteY239" fmla="*/ 71946 h 989922"/>
                <a:gd name="connsiteX240" fmla="*/ 400090 w 729942"/>
                <a:gd name="connsiteY240" fmla="*/ 72921 h 989922"/>
                <a:gd name="connsiteX241" fmla="*/ 401310 w 729942"/>
                <a:gd name="connsiteY241" fmla="*/ 80725 h 989922"/>
                <a:gd name="connsiteX242" fmla="*/ 399725 w 729942"/>
                <a:gd name="connsiteY242" fmla="*/ 92920 h 989922"/>
                <a:gd name="connsiteX243" fmla="*/ 379360 w 729942"/>
                <a:gd name="connsiteY243" fmla="*/ 99504 h 989922"/>
                <a:gd name="connsiteX244" fmla="*/ 353509 w 729942"/>
                <a:gd name="connsiteY244" fmla="*/ 93041 h 989922"/>
                <a:gd name="connsiteX245" fmla="*/ 351923 w 729942"/>
                <a:gd name="connsiteY245" fmla="*/ 86701 h 989922"/>
                <a:gd name="connsiteX246" fmla="*/ 337534 w 729942"/>
                <a:gd name="connsiteY246" fmla="*/ 77677 h 989922"/>
                <a:gd name="connsiteX247" fmla="*/ 348509 w 729942"/>
                <a:gd name="connsiteY247" fmla="*/ 72189 h 989922"/>
                <a:gd name="connsiteX248" fmla="*/ 350094 w 729942"/>
                <a:gd name="connsiteY248" fmla="*/ 67556 h 989922"/>
                <a:gd name="connsiteX249" fmla="*/ 374483 w 729942"/>
                <a:gd name="connsiteY249" fmla="*/ 62922 h 989922"/>
                <a:gd name="connsiteX250" fmla="*/ 364483 w 729942"/>
                <a:gd name="connsiteY250" fmla="*/ 51703 h 989922"/>
                <a:gd name="connsiteX251" fmla="*/ 341192 w 729942"/>
                <a:gd name="connsiteY251" fmla="*/ 45118 h 989922"/>
                <a:gd name="connsiteX252" fmla="*/ 316072 w 729942"/>
                <a:gd name="connsiteY252" fmla="*/ 41826 h 989922"/>
                <a:gd name="connsiteX253" fmla="*/ 309244 w 729942"/>
                <a:gd name="connsiteY253" fmla="*/ 41826 h 989922"/>
                <a:gd name="connsiteX254" fmla="*/ 308634 w 729942"/>
                <a:gd name="connsiteY254" fmla="*/ 43899 h 989922"/>
                <a:gd name="connsiteX255" fmla="*/ 320097 w 729942"/>
                <a:gd name="connsiteY255" fmla="*/ 50118 h 989922"/>
                <a:gd name="connsiteX256" fmla="*/ 328145 w 729942"/>
                <a:gd name="connsiteY256" fmla="*/ 55849 h 989922"/>
                <a:gd name="connsiteX257" fmla="*/ 328145 w 729942"/>
                <a:gd name="connsiteY257" fmla="*/ 74140 h 989922"/>
                <a:gd name="connsiteX258" fmla="*/ 321072 w 729942"/>
                <a:gd name="connsiteY258" fmla="*/ 79262 h 989922"/>
                <a:gd name="connsiteX259" fmla="*/ 321072 w 729942"/>
                <a:gd name="connsiteY259" fmla="*/ 83652 h 989922"/>
                <a:gd name="connsiteX260" fmla="*/ 335583 w 729942"/>
                <a:gd name="connsiteY260" fmla="*/ 90725 h 989922"/>
                <a:gd name="connsiteX261" fmla="*/ 324365 w 729942"/>
                <a:gd name="connsiteY261" fmla="*/ 127307 h 989922"/>
                <a:gd name="connsiteX262" fmla="*/ 324365 w 729942"/>
                <a:gd name="connsiteY262" fmla="*/ 127307 h 989922"/>
                <a:gd name="connsiteX263" fmla="*/ 298269 w 729942"/>
                <a:gd name="connsiteY263" fmla="*/ 109747 h 989922"/>
                <a:gd name="connsiteX264" fmla="*/ 281075 w 729942"/>
                <a:gd name="connsiteY264" fmla="*/ 108284 h 989922"/>
                <a:gd name="connsiteX265" fmla="*/ 279734 w 729942"/>
                <a:gd name="connsiteY265" fmla="*/ 122429 h 989922"/>
                <a:gd name="connsiteX266" fmla="*/ 261930 w 729942"/>
                <a:gd name="connsiteY266" fmla="*/ 132794 h 989922"/>
                <a:gd name="connsiteX267" fmla="*/ 237542 w 729942"/>
                <a:gd name="connsiteY267" fmla="*/ 152915 h 989922"/>
                <a:gd name="connsiteX268" fmla="*/ 252785 w 729942"/>
                <a:gd name="connsiteY268" fmla="*/ 183522 h 989922"/>
                <a:gd name="connsiteX269" fmla="*/ 246078 w 729942"/>
                <a:gd name="connsiteY269" fmla="*/ 196814 h 989922"/>
                <a:gd name="connsiteX270" fmla="*/ 223153 w 729942"/>
                <a:gd name="connsiteY270" fmla="*/ 198399 h 989922"/>
                <a:gd name="connsiteX271" fmla="*/ 193643 w 729942"/>
                <a:gd name="connsiteY271" fmla="*/ 185229 h 989922"/>
                <a:gd name="connsiteX272" fmla="*/ 186815 w 729942"/>
                <a:gd name="connsiteY272" fmla="*/ 174133 h 989922"/>
                <a:gd name="connsiteX273" fmla="*/ 179620 w 729942"/>
                <a:gd name="connsiteY273" fmla="*/ 173035 h 989922"/>
                <a:gd name="connsiteX274" fmla="*/ 174742 w 729942"/>
                <a:gd name="connsiteY274" fmla="*/ 187424 h 989922"/>
                <a:gd name="connsiteX275" fmla="*/ 187912 w 729942"/>
                <a:gd name="connsiteY275" fmla="*/ 205837 h 989922"/>
                <a:gd name="connsiteX276" fmla="*/ 196204 w 729942"/>
                <a:gd name="connsiteY276" fmla="*/ 208520 h 989922"/>
                <a:gd name="connsiteX277" fmla="*/ 206325 w 729942"/>
                <a:gd name="connsiteY277" fmla="*/ 216934 h 989922"/>
                <a:gd name="connsiteX278" fmla="*/ 200838 w 729942"/>
                <a:gd name="connsiteY278" fmla="*/ 228031 h 989922"/>
                <a:gd name="connsiteX279" fmla="*/ 173035 w 729942"/>
                <a:gd name="connsiteY279" fmla="*/ 231079 h 989922"/>
                <a:gd name="connsiteX280" fmla="*/ 155231 w 729942"/>
                <a:gd name="connsiteY280" fmla="*/ 211813 h 989922"/>
                <a:gd name="connsiteX281" fmla="*/ 138525 w 729942"/>
                <a:gd name="connsiteY281" fmla="*/ 216446 h 989922"/>
                <a:gd name="connsiteX282" fmla="*/ 136819 w 729942"/>
                <a:gd name="connsiteY282" fmla="*/ 202423 h 989922"/>
                <a:gd name="connsiteX283" fmla="*/ 139501 w 729942"/>
                <a:gd name="connsiteY283" fmla="*/ 179010 h 989922"/>
                <a:gd name="connsiteX284" fmla="*/ 127307 w 729942"/>
                <a:gd name="connsiteY284" fmla="*/ 165719 h 989922"/>
                <a:gd name="connsiteX285" fmla="*/ 139501 w 729942"/>
                <a:gd name="connsiteY285" fmla="*/ 149500 h 989922"/>
                <a:gd name="connsiteX286" fmla="*/ 136940 w 729942"/>
                <a:gd name="connsiteY286" fmla="*/ 137306 h 989922"/>
                <a:gd name="connsiteX287" fmla="*/ 114869 w 729942"/>
                <a:gd name="connsiteY287" fmla="*/ 114259 h 989922"/>
                <a:gd name="connsiteX288" fmla="*/ 88408 w 729942"/>
                <a:gd name="connsiteY288" fmla="*/ 97431 h 989922"/>
                <a:gd name="connsiteX289" fmla="*/ 90480 w 729942"/>
                <a:gd name="connsiteY289" fmla="*/ 83652 h 989922"/>
                <a:gd name="connsiteX290" fmla="*/ 116698 w 729942"/>
                <a:gd name="connsiteY290" fmla="*/ 99382 h 989922"/>
                <a:gd name="connsiteX291" fmla="*/ 128892 w 729942"/>
                <a:gd name="connsiteY291" fmla="*/ 98529 h 989922"/>
                <a:gd name="connsiteX292" fmla="*/ 147793 w 729942"/>
                <a:gd name="connsiteY292" fmla="*/ 107309 h 989922"/>
                <a:gd name="connsiteX293" fmla="*/ 173157 w 729942"/>
                <a:gd name="connsiteY293" fmla="*/ 116332 h 989922"/>
                <a:gd name="connsiteX294" fmla="*/ 201204 w 729942"/>
                <a:gd name="connsiteY294" fmla="*/ 126210 h 989922"/>
                <a:gd name="connsiteX295" fmla="*/ 224372 w 729942"/>
                <a:gd name="connsiteY295" fmla="*/ 127551 h 989922"/>
                <a:gd name="connsiteX296" fmla="*/ 264004 w 729942"/>
                <a:gd name="connsiteY296" fmla="*/ 99626 h 989922"/>
                <a:gd name="connsiteX297" fmla="*/ 264004 w 729942"/>
                <a:gd name="connsiteY297" fmla="*/ 75238 h 989922"/>
                <a:gd name="connsiteX298" fmla="*/ 256321 w 729942"/>
                <a:gd name="connsiteY298" fmla="*/ 69994 h 989922"/>
                <a:gd name="connsiteX299" fmla="*/ 245712 w 729942"/>
                <a:gd name="connsiteY299" fmla="*/ 63044 h 989922"/>
                <a:gd name="connsiteX300" fmla="*/ 237055 w 729942"/>
                <a:gd name="connsiteY300" fmla="*/ 63044 h 989922"/>
                <a:gd name="connsiteX301" fmla="*/ 229616 w 729942"/>
                <a:gd name="connsiteY301" fmla="*/ 56825 h 989922"/>
                <a:gd name="connsiteX302" fmla="*/ 218641 w 729942"/>
                <a:gd name="connsiteY302" fmla="*/ 52679 h 989922"/>
                <a:gd name="connsiteX303" fmla="*/ 194253 w 729942"/>
                <a:gd name="connsiteY303" fmla="*/ 44021 h 989922"/>
                <a:gd name="connsiteX304" fmla="*/ 166084 w 729942"/>
                <a:gd name="connsiteY304" fmla="*/ 28047 h 989922"/>
                <a:gd name="connsiteX305" fmla="*/ 137062 w 729942"/>
                <a:gd name="connsiteY305" fmla="*/ 20608 h 989922"/>
                <a:gd name="connsiteX306" fmla="*/ 116820 w 729942"/>
                <a:gd name="connsiteY306" fmla="*/ 24022 h 989922"/>
                <a:gd name="connsiteX307" fmla="*/ 108040 w 729942"/>
                <a:gd name="connsiteY307" fmla="*/ 18779 h 989922"/>
                <a:gd name="connsiteX308" fmla="*/ 95480 w 729942"/>
                <a:gd name="connsiteY308" fmla="*/ 16706 h 989922"/>
                <a:gd name="connsiteX309" fmla="*/ 85847 w 729942"/>
                <a:gd name="connsiteY309" fmla="*/ 8170 h 989922"/>
                <a:gd name="connsiteX310" fmla="*/ 102797 w 729942"/>
                <a:gd name="connsiteY310" fmla="*/ 6097 h 989922"/>
                <a:gd name="connsiteX311" fmla="*/ 102797 w 729942"/>
                <a:gd name="connsiteY311" fmla="*/ 4512 h 989922"/>
                <a:gd name="connsiteX312" fmla="*/ 89017 w 729942"/>
                <a:gd name="connsiteY312" fmla="*/ 0 h 989922"/>
                <a:gd name="connsiteX313" fmla="*/ 79994 w 729942"/>
                <a:gd name="connsiteY313" fmla="*/ 732 h 989922"/>
                <a:gd name="connsiteX314" fmla="*/ 79994 w 729942"/>
                <a:gd name="connsiteY314" fmla="*/ 5975 h 989922"/>
                <a:gd name="connsiteX315" fmla="*/ 67800 w 729942"/>
                <a:gd name="connsiteY315" fmla="*/ 5975 h 989922"/>
                <a:gd name="connsiteX316" fmla="*/ 55605 w 729942"/>
                <a:gd name="connsiteY316" fmla="*/ 10487 h 989922"/>
                <a:gd name="connsiteX317" fmla="*/ 41948 w 729942"/>
                <a:gd name="connsiteY317" fmla="*/ 15609 h 989922"/>
                <a:gd name="connsiteX318" fmla="*/ 40606 w 729942"/>
                <a:gd name="connsiteY318" fmla="*/ 19755 h 989922"/>
                <a:gd name="connsiteX319" fmla="*/ 30363 w 729942"/>
                <a:gd name="connsiteY319" fmla="*/ 24998 h 989922"/>
                <a:gd name="connsiteX320" fmla="*/ 18169 w 729942"/>
                <a:gd name="connsiteY320" fmla="*/ 39509 h 989922"/>
                <a:gd name="connsiteX321" fmla="*/ 18169 w 729942"/>
                <a:gd name="connsiteY321" fmla="*/ 48533 h 989922"/>
                <a:gd name="connsiteX322" fmla="*/ 34753 w 729942"/>
                <a:gd name="connsiteY322" fmla="*/ 57556 h 989922"/>
                <a:gd name="connsiteX323" fmla="*/ 44143 w 729942"/>
                <a:gd name="connsiteY323" fmla="*/ 77311 h 989922"/>
                <a:gd name="connsiteX324" fmla="*/ 44143 w 729942"/>
                <a:gd name="connsiteY324" fmla="*/ 77311 h 989922"/>
                <a:gd name="connsiteX325" fmla="*/ 33534 w 729942"/>
                <a:gd name="connsiteY325" fmla="*/ 88773 h 989922"/>
                <a:gd name="connsiteX326" fmla="*/ 30120 w 729942"/>
                <a:gd name="connsiteY326" fmla="*/ 92554 h 989922"/>
                <a:gd name="connsiteX327" fmla="*/ 50606 w 729942"/>
                <a:gd name="connsiteY327" fmla="*/ 121454 h 989922"/>
                <a:gd name="connsiteX328" fmla="*/ 50606 w 729942"/>
                <a:gd name="connsiteY328" fmla="*/ 121454 h 989922"/>
                <a:gd name="connsiteX329" fmla="*/ 47679 w 729942"/>
                <a:gd name="connsiteY329" fmla="*/ 145842 h 989922"/>
                <a:gd name="connsiteX330" fmla="*/ 51947 w 729942"/>
                <a:gd name="connsiteY330" fmla="*/ 161573 h 989922"/>
                <a:gd name="connsiteX331" fmla="*/ 46582 w 729942"/>
                <a:gd name="connsiteY331" fmla="*/ 179132 h 989922"/>
                <a:gd name="connsiteX332" fmla="*/ 56825 w 729942"/>
                <a:gd name="connsiteY332" fmla="*/ 186449 h 989922"/>
                <a:gd name="connsiteX333" fmla="*/ 56825 w 729942"/>
                <a:gd name="connsiteY333" fmla="*/ 186449 h 989922"/>
                <a:gd name="connsiteX334" fmla="*/ 52801 w 729942"/>
                <a:gd name="connsiteY334" fmla="*/ 193399 h 989922"/>
                <a:gd name="connsiteX335" fmla="*/ 50849 w 729942"/>
                <a:gd name="connsiteY335" fmla="*/ 197058 h 989922"/>
                <a:gd name="connsiteX336" fmla="*/ 59020 w 729942"/>
                <a:gd name="connsiteY336" fmla="*/ 212056 h 989922"/>
                <a:gd name="connsiteX337" fmla="*/ 59020 w 729942"/>
                <a:gd name="connsiteY337" fmla="*/ 212056 h 989922"/>
                <a:gd name="connsiteX338" fmla="*/ 59020 w 729942"/>
                <a:gd name="connsiteY338" fmla="*/ 225836 h 989922"/>
                <a:gd name="connsiteX339" fmla="*/ 52069 w 729942"/>
                <a:gd name="connsiteY339" fmla="*/ 238030 h 989922"/>
                <a:gd name="connsiteX340" fmla="*/ 54386 w 729942"/>
                <a:gd name="connsiteY340" fmla="*/ 247420 h 989922"/>
                <a:gd name="connsiteX341" fmla="*/ 64751 w 729942"/>
                <a:gd name="connsiteY341" fmla="*/ 250468 h 989922"/>
                <a:gd name="connsiteX342" fmla="*/ 68043 w 729942"/>
                <a:gd name="connsiteY342" fmla="*/ 251444 h 989922"/>
                <a:gd name="connsiteX343" fmla="*/ 85115 w 729942"/>
                <a:gd name="connsiteY343" fmla="*/ 274613 h 989922"/>
                <a:gd name="connsiteX344" fmla="*/ 85115 w 729942"/>
                <a:gd name="connsiteY344" fmla="*/ 274613 h 989922"/>
                <a:gd name="connsiteX345" fmla="*/ 48533 w 729942"/>
                <a:gd name="connsiteY345" fmla="*/ 318512 h 989922"/>
                <a:gd name="connsiteX346" fmla="*/ 27681 w 729942"/>
                <a:gd name="connsiteY346" fmla="*/ 347778 h 989922"/>
                <a:gd name="connsiteX347" fmla="*/ 23047 w 729942"/>
                <a:gd name="connsiteY347" fmla="*/ 367654 h 989922"/>
                <a:gd name="connsiteX348" fmla="*/ 21340 w 729942"/>
                <a:gd name="connsiteY348" fmla="*/ 379848 h 989922"/>
                <a:gd name="connsiteX349" fmla="*/ 28900 w 729942"/>
                <a:gd name="connsiteY349" fmla="*/ 383750 h 989922"/>
                <a:gd name="connsiteX350" fmla="*/ 42923 w 729942"/>
                <a:gd name="connsiteY350" fmla="*/ 382775 h 989922"/>
                <a:gd name="connsiteX351" fmla="*/ 55117 w 729942"/>
                <a:gd name="connsiteY351" fmla="*/ 386311 h 989922"/>
                <a:gd name="connsiteX352" fmla="*/ 51459 w 729942"/>
                <a:gd name="connsiteY352" fmla="*/ 402285 h 989922"/>
                <a:gd name="connsiteX353" fmla="*/ 29144 w 729942"/>
                <a:gd name="connsiteY353" fmla="*/ 400334 h 989922"/>
                <a:gd name="connsiteX354" fmla="*/ 26461 w 729942"/>
                <a:gd name="connsiteY354" fmla="*/ 404968 h 989922"/>
                <a:gd name="connsiteX355" fmla="*/ 15364 w 729942"/>
                <a:gd name="connsiteY355" fmla="*/ 404968 h 989922"/>
                <a:gd name="connsiteX356" fmla="*/ 16096 w 729942"/>
                <a:gd name="connsiteY356" fmla="*/ 410334 h 989922"/>
                <a:gd name="connsiteX357" fmla="*/ 5487 w 729942"/>
                <a:gd name="connsiteY357" fmla="*/ 419113 h 989922"/>
                <a:gd name="connsiteX358" fmla="*/ 0 w 729942"/>
                <a:gd name="connsiteY358" fmla="*/ 449843 h 989922"/>
                <a:gd name="connsiteX359" fmla="*/ 7072 w 729942"/>
                <a:gd name="connsiteY359" fmla="*/ 466671 h 98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729942" h="989922">
                  <a:moveTo>
                    <a:pt x="6341" y="481182"/>
                  </a:moveTo>
                  <a:lnTo>
                    <a:pt x="6341" y="481182"/>
                  </a:lnTo>
                  <a:lnTo>
                    <a:pt x="6341" y="483377"/>
                  </a:lnTo>
                  <a:lnTo>
                    <a:pt x="6341" y="483377"/>
                  </a:lnTo>
                  <a:lnTo>
                    <a:pt x="6341" y="485328"/>
                  </a:lnTo>
                  <a:lnTo>
                    <a:pt x="6341" y="485328"/>
                  </a:lnTo>
                  <a:lnTo>
                    <a:pt x="5121" y="503985"/>
                  </a:lnTo>
                  <a:lnTo>
                    <a:pt x="9024" y="509106"/>
                  </a:lnTo>
                  <a:lnTo>
                    <a:pt x="13657" y="515325"/>
                  </a:lnTo>
                  <a:lnTo>
                    <a:pt x="12316" y="539714"/>
                  </a:lnTo>
                  <a:lnTo>
                    <a:pt x="23778" y="540933"/>
                  </a:lnTo>
                  <a:lnTo>
                    <a:pt x="34753" y="550566"/>
                  </a:lnTo>
                  <a:lnTo>
                    <a:pt x="43899" y="547884"/>
                  </a:lnTo>
                  <a:lnTo>
                    <a:pt x="59508" y="549469"/>
                  </a:lnTo>
                  <a:lnTo>
                    <a:pt x="59508" y="549469"/>
                  </a:lnTo>
                  <a:lnTo>
                    <a:pt x="67434" y="561663"/>
                  </a:lnTo>
                  <a:lnTo>
                    <a:pt x="68531" y="573857"/>
                  </a:lnTo>
                  <a:lnTo>
                    <a:pt x="70360" y="593368"/>
                  </a:lnTo>
                  <a:lnTo>
                    <a:pt x="79872" y="611171"/>
                  </a:lnTo>
                  <a:lnTo>
                    <a:pt x="101821" y="631658"/>
                  </a:lnTo>
                  <a:lnTo>
                    <a:pt x="101821" y="631658"/>
                  </a:lnTo>
                  <a:lnTo>
                    <a:pt x="99382" y="638608"/>
                  </a:lnTo>
                  <a:lnTo>
                    <a:pt x="96090" y="649217"/>
                  </a:lnTo>
                  <a:lnTo>
                    <a:pt x="85359" y="649217"/>
                  </a:lnTo>
                  <a:lnTo>
                    <a:pt x="76945" y="643486"/>
                  </a:lnTo>
                  <a:lnTo>
                    <a:pt x="70238" y="643486"/>
                  </a:lnTo>
                  <a:lnTo>
                    <a:pt x="72433" y="653119"/>
                  </a:lnTo>
                  <a:lnTo>
                    <a:pt x="79262" y="660070"/>
                  </a:lnTo>
                  <a:lnTo>
                    <a:pt x="80847" y="661533"/>
                  </a:lnTo>
                  <a:lnTo>
                    <a:pt x="80847" y="661533"/>
                  </a:lnTo>
                  <a:lnTo>
                    <a:pt x="84505" y="673727"/>
                  </a:lnTo>
                  <a:lnTo>
                    <a:pt x="87310" y="672264"/>
                  </a:lnTo>
                  <a:lnTo>
                    <a:pt x="97065" y="667509"/>
                  </a:lnTo>
                  <a:lnTo>
                    <a:pt x="114137" y="669338"/>
                  </a:lnTo>
                  <a:lnTo>
                    <a:pt x="126331" y="670557"/>
                  </a:lnTo>
                  <a:lnTo>
                    <a:pt x="126331" y="670557"/>
                  </a:lnTo>
                  <a:lnTo>
                    <a:pt x="128527" y="679337"/>
                  </a:lnTo>
                  <a:lnTo>
                    <a:pt x="134867" y="703725"/>
                  </a:lnTo>
                  <a:lnTo>
                    <a:pt x="149256" y="706652"/>
                  </a:lnTo>
                  <a:lnTo>
                    <a:pt x="149256" y="706652"/>
                  </a:lnTo>
                  <a:lnTo>
                    <a:pt x="150720" y="718846"/>
                  </a:lnTo>
                  <a:lnTo>
                    <a:pt x="158158" y="727504"/>
                  </a:lnTo>
                  <a:lnTo>
                    <a:pt x="178035" y="726650"/>
                  </a:lnTo>
                  <a:lnTo>
                    <a:pt x="190229" y="726650"/>
                  </a:lnTo>
                  <a:lnTo>
                    <a:pt x="199130" y="733967"/>
                  </a:lnTo>
                  <a:lnTo>
                    <a:pt x="205838" y="739454"/>
                  </a:lnTo>
                  <a:lnTo>
                    <a:pt x="218641" y="739454"/>
                  </a:lnTo>
                  <a:lnTo>
                    <a:pt x="232543" y="751648"/>
                  </a:lnTo>
                  <a:lnTo>
                    <a:pt x="249127" y="766525"/>
                  </a:lnTo>
                  <a:lnTo>
                    <a:pt x="236932" y="781768"/>
                  </a:lnTo>
                  <a:lnTo>
                    <a:pt x="233884" y="807497"/>
                  </a:lnTo>
                  <a:lnTo>
                    <a:pt x="224250" y="805912"/>
                  </a:lnTo>
                  <a:lnTo>
                    <a:pt x="220958" y="809205"/>
                  </a:lnTo>
                  <a:lnTo>
                    <a:pt x="211081" y="819082"/>
                  </a:lnTo>
                  <a:lnTo>
                    <a:pt x="201569" y="835788"/>
                  </a:lnTo>
                  <a:lnTo>
                    <a:pt x="217666" y="830423"/>
                  </a:lnTo>
                  <a:lnTo>
                    <a:pt x="222909" y="837495"/>
                  </a:lnTo>
                  <a:lnTo>
                    <a:pt x="203764" y="847128"/>
                  </a:lnTo>
                  <a:lnTo>
                    <a:pt x="209739" y="858225"/>
                  </a:lnTo>
                  <a:lnTo>
                    <a:pt x="207422" y="865298"/>
                  </a:lnTo>
                  <a:lnTo>
                    <a:pt x="197058" y="875541"/>
                  </a:lnTo>
                  <a:lnTo>
                    <a:pt x="195960" y="881272"/>
                  </a:lnTo>
                  <a:lnTo>
                    <a:pt x="184619" y="882126"/>
                  </a:lnTo>
                  <a:lnTo>
                    <a:pt x="185717" y="885906"/>
                  </a:lnTo>
                  <a:lnTo>
                    <a:pt x="189131" y="891759"/>
                  </a:lnTo>
                  <a:lnTo>
                    <a:pt x="196448" y="895417"/>
                  </a:lnTo>
                  <a:lnTo>
                    <a:pt x="202667" y="902612"/>
                  </a:lnTo>
                  <a:lnTo>
                    <a:pt x="212178" y="902612"/>
                  </a:lnTo>
                  <a:lnTo>
                    <a:pt x="230592" y="923952"/>
                  </a:lnTo>
                  <a:lnTo>
                    <a:pt x="236445" y="928220"/>
                  </a:lnTo>
                  <a:lnTo>
                    <a:pt x="248639" y="931390"/>
                  </a:lnTo>
                  <a:lnTo>
                    <a:pt x="253395" y="932488"/>
                  </a:lnTo>
                  <a:lnTo>
                    <a:pt x="266320" y="935780"/>
                  </a:lnTo>
                  <a:lnTo>
                    <a:pt x="286563" y="938707"/>
                  </a:lnTo>
                  <a:lnTo>
                    <a:pt x="295221" y="939926"/>
                  </a:lnTo>
                  <a:lnTo>
                    <a:pt x="303512" y="937487"/>
                  </a:lnTo>
                  <a:lnTo>
                    <a:pt x="305708" y="937487"/>
                  </a:lnTo>
                  <a:lnTo>
                    <a:pt x="307781" y="938463"/>
                  </a:lnTo>
                  <a:lnTo>
                    <a:pt x="311561" y="940292"/>
                  </a:lnTo>
                  <a:lnTo>
                    <a:pt x="334364" y="951023"/>
                  </a:lnTo>
                  <a:lnTo>
                    <a:pt x="345095" y="957242"/>
                  </a:lnTo>
                  <a:lnTo>
                    <a:pt x="360337" y="966144"/>
                  </a:lnTo>
                  <a:lnTo>
                    <a:pt x="367654" y="966144"/>
                  </a:lnTo>
                  <a:lnTo>
                    <a:pt x="369483" y="968217"/>
                  </a:lnTo>
                  <a:lnTo>
                    <a:pt x="376556" y="976265"/>
                  </a:lnTo>
                  <a:lnTo>
                    <a:pt x="378263" y="978216"/>
                  </a:lnTo>
                  <a:lnTo>
                    <a:pt x="382897" y="980533"/>
                  </a:lnTo>
                  <a:lnTo>
                    <a:pt x="401554" y="989922"/>
                  </a:lnTo>
                  <a:lnTo>
                    <a:pt x="410090" y="986996"/>
                  </a:lnTo>
                  <a:lnTo>
                    <a:pt x="410090" y="972850"/>
                  </a:lnTo>
                  <a:cubicBezTo>
                    <a:pt x="408555" y="970628"/>
                    <a:pt x="407170" y="968306"/>
                    <a:pt x="405944" y="965900"/>
                  </a:cubicBezTo>
                  <a:cubicBezTo>
                    <a:pt x="398452" y="958950"/>
                    <a:pt x="394059" y="949287"/>
                    <a:pt x="393750" y="939072"/>
                  </a:cubicBezTo>
                  <a:cubicBezTo>
                    <a:pt x="393750" y="935780"/>
                    <a:pt x="393750" y="932488"/>
                    <a:pt x="393018" y="929073"/>
                  </a:cubicBezTo>
                  <a:cubicBezTo>
                    <a:pt x="392286" y="925659"/>
                    <a:pt x="393018" y="925415"/>
                    <a:pt x="393018" y="923586"/>
                  </a:cubicBezTo>
                  <a:lnTo>
                    <a:pt x="391676" y="922245"/>
                  </a:lnTo>
                  <a:cubicBezTo>
                    <a:pt x="387968" y="918535"/>
                    <a:pt x="384658" y="914448"/>
                    <a:pt x="381799" y="910050"/>
                  </a:cubicBezTo>
                  <a:cubicBezTo>
                    <a:pt x="380487" y="907875"/>
                    <a:pt x="379462" y="905539"/>
                    <a:pt x="378751" y="903100"/>
                  </a:cubicBezTo>
                  <a:cubicBezTo>
                    <a:pt x="378319" y="900475"/>
                    <a:pt x="378319" y="897798"/>
                    <a:pt x="378751" y="895174"/>
                  </a:cubicBezTo>
                  <a:lnTo>
                    <a:pt x="378751" y="894076"/>
                  </a:lnTo>
                  <a:lnTo>
                    <a:pt x="385091" y="890540"/>
                  </a:lnTo>
                  <a:cubicBezTo>
                    <a:pt x="386679" y="885275"/>
                    <a:pt x="388933" y="880234"/>
                    <a:pt x="391798" y="875541"/>
                  </a:cubicBezTo>
                  <a:cubicBezTo>
                    <a:pt x="392774" y="873712"/>
                    <a:pt x="393871" y="871883"/>
                    <a:pt x="394725" y="870054"/>
                  </a:cubicBezTo>
                  <a:lnTo>
                    <a:pt x="395335" y="868956"/>
                  </a:lnTo>
                  <a:lnTo>
                    <a:pt x="396554" y="868956"/>
                  </a:lnTo>
                  <a:cubicBezTo>
                    <a:pt x="404291" y="867605"/>
                    <a:pt x="411389" y="863800"/>
                    <a:pt x="416796" y="858103"/>
                  </a:cubicBezTo>
                  <a:cubicBezTo>
                    <a:pt x="418870" y="856274"/>
                    <a:pt x="421064" y="854567"/>
                    <a:pt x="423259" y="852982"/>
                  </a:cubicBezTo>
                  <a:lnTo>
                    <a:pt x="423259" y="852982"/>
                  </a:lnTo>
                  <a:lnTo>
                    <a:pt x="419723" y="851031"/>
                  </a:lnTo>
                  <a:lnTo>
                    <a:pt x="415821" y="848836"/>
                  </a:lnTo>
                  <a:lnTo>
                    <a:pt x="416796" y="844446"/>
                  </a:lnTo>
                  <a:lnTo>
                    <a:pt x="420333" y="827984"/>
                  </a:lnTo>
                  <a:lnTo>
                    <a:pt x="416431" y="821521"/>
                  </a:lnTo>
                  <a:lnTo>
                    <a:pt x="409114" y="812619"/>
                  </a:lnTo>
                  <a:lnTo>
                    <a:pt x="385336" y="807619"/>
                  </a:lnTo>
                  <a:lnTo>
                    <a:pt x="380214" y="806522"/>
                  </a:lnTo>
                  <a:lnTo>
                    <a:pt x="380214" y="801157"/>
                  </a:lnTo>
                  <a:lnTo>
                    <a:pt x="385579" y="723724"/>
                  </a:lnTo>
                  <a:lnTo>
                    <a:pt x="385579" y="719334"/>
                  </a:lnTo>
                  <a:lnTo>
                    <a:pt x="389847" y="718236"/>
                  </a:lnTo>
                  <a:lnTo>
                    <a:pt x="398261" y="716163"/>
                  </a:lnTo>
                  <a:lnTo>
                    <a:pt x="402285" y="715188"/>
                  </a:lnTo>
                  <a:lnTo>
                    <a:pt x="404724" y="718602"/>
                  </a:lnTo>
                  <a:lnTo>
                    <a:pt x="406675" y="721285"/>
                  </a:lnTo>
                  <a:lnTo>
                    <a:pt x="409602" y="725431"/>
                  </a:lnTo>
                  <a:lnTo>
                    <a:pt x="416553" y="724699"/>
                  </a:lnTo>
                  <a:lnTo>
                    <a:pt x="416553" y="704823"/>
                  </a:lnTo>
                  <a:lnTo>
                    <a:pt x="419235" y="702993"/>
                  </a:lnTo>
                  <a:lnTo>
                    <a:pt x="456793" y="678605"/>
                  </a:lnTo>
                  <a:lnTo>
                    <a:pt x="459354" y="676898"/>
                  </a:lnTo>
                  <a:lnTo>
                    <a:pt x="463744" y="673971"/>
                  </a:lnTo>
                  <a:lnTo>
                    <a:pt x="467280" y="677996"/>
                  </a:lnTo>
                  <a:lnTo>
                    <a:pt x="474841" y="686531"/>
                  </a:lnTo>
                  <a:lnTo>
                    <a:pt x="494351" y="686531"/>
                  </a:lnTo>
                  <a:lnTo>
                    <a:pt x="496058" y="687995"/>
                  </a:lnTo>
                  <a:lnTo>
                    <a:pt x="502643" y="693482"/>
                  </a:lnTo>
                  <a:lnTo>
                    <a:pt x="518374" y="692385"/>
                  </a:lnTo>
                  <a:lnTo>
                    <a:pt x="521666" y="692385"/>
                  </a:lnTo>
                  <a:lnTo>
                    <a:pt x="523739" y="695189"/>
                  </a:lnTo>
                  <a:lnTo>
                    <a:pt x="531543" y="706042"/>
                  </a:lnTo>
                  <a:lnTo>
                    <a:pt x="533007" y="707871"/>
                  </a:lnTo>
                  <a:lnTo>
                    <a:pt x="541055" y="706896"/>
                  </a:lnTo>
                  <a:lnTo>
                    <a:pt x="543981" y="706896"/>
                  </a:lnTo>
                  <a:lnTo>
                    <a:pt x="546055" y="709091"/>
                  </a:lnTo>
                  <a:lnTo>
                    <a:pt x="548249" y="711286"/>
                  </a:lnTo>
                  <a:lnTo>
                    <a:pt x="552639" y="715675"/>
                  </a:lnTo>
                  <a:lnTo>
                    <a:pt x="556420" y="715675"/>
                  </a:lnTo>
                  <a:lnTo>
                    <a:pt x="561175" y="710920"/>
                  </a:lnTo>
                  <a:lnTo>
                    <a:pt x="566053" y="706042"/>
                  </a:lnTo>
                  <a:lnTo>
                    <a:pt x="567760" y="704335"/>
                  </a:lnTo>
                  <a:lnTo>
                    <a:pt x="606415" y="704335"/>
                  </a:lnTo>
                  <a:lnTo>
                    <a:pt x="608123" y="705798"/>
                  </a:lnTo>
                  <a:lnTo>
                    <a:pt x="615805" y="712383"/>
                  </a:lnTo>
                  <a:lnTo>
                    <a:pt x="616659" y="713115"/>
                  </a:lnTo>
                  <a:lnTo>
                    <a:pt x="638364" y="717627"/>
                  </a:lnTo>
                  <a:lnTo>
                    <a:pt x="638974" y="712627"/>
                  </a:lnTo>
                  <a:lnTo>
                    <a:pt x="619220" y="693116"/>
                  </a:lnTo>
                  <a:lnTo>
                    <a:pt x="602514" y="676898"/>
                  </a:lnTo>
                  <a:lnTo>
                    <a:pt x="587637" y="662387"/>
                  </a:lnTo>
                  <a:lnTo>
                    <a:pt x="585198" y="659948"/>
                  </a:lnTo>
                  <a:lnTo>
                    <a:pt x="586051" y="656534"/>
                  </a:lnTo>
                  <a:lnTo>
                    <a:pt x="587393" y="651168"/>
                  </a:lnTo>
                  <a:lnTo>
                    <a:pt x="591905" y="632999"/>
                  </a:lnTo>
                  <a:lnTo>
                    <a:pt x="591905" y="632999"/>
                  </a:lnTo>
                  <a:lnTo>
                    <a:pt x="591905" y="632999"/>
                  </a:lnTo>
                  <a:lnTo>
                    <a:pt x="619829" y="576906"/>
                  </a:lnTo>
                  <a:lnTo>
                    <a:pt x="606172" y="564712"/>
                  </a:lnTo>
                  <a:lnTo>
                    <a:pt x="603123" y="561907"/>
                  </a:lnTo>
                  <a:lnTo>
                    <a:pt x="604586" y="558005"/>
                  </a:lnTo>
                  <a:lnTo>
                    <a:pt x="613122" y="536421"/>
                  </a:lnTo>
                  <a:lnTo>
                    <a:pt x="613854" y="534470"/>
                  </a:lnTo>
                  <a:lnTo>
                    <a:pt x="615683" y="533373"/>
                  </a:lnTo>
                  <a:lnTo>
                    <a:pt x="629219" y="525690"/>
                  </a:lnTo>
                  <a:lnTo>
                    <a:pt x="632145" y="524105"/>
                  </a:lnTo>
                  <a:lnTo>
                    <a:pt x="639340" y="494839"/>
                  </a:lnTo>
                  <a:lnTo>
                    <a:pt x="637754" y="447160"/>
                  </a:lnTo>
                  <a:lnTo>
                    <a:pt x="631657" y="409602"/>
                  </a:lnTo>
                  <a:lnTo>
                    <a:pt x="631657" y="407773"/>
                  </a:lnTo>
                  <a:lnTo>
                    <a:pt x="640925" y="336925"/>
                  </a:lnTo>
                  <a:lnTo>
                    <a:pt x="645681" y="316195"/>
                  </a:lnTo>
                  <a:lnTo>
                    <a:pt x="652876" y="284856"/>
                  </a:lnTo>
                  <a:lnTo>
                    <a:pt x="647022" y="277051"/>
                  </a:lnTo>
                  <a:lnTo>
                    <a:pt x="643730" y="272540"/>
                  </a:lnTo>
                  <a:lnTo>
                    <a:pt x="642266" y="270710"/>
                  </a:lnTo>
                  <a:lnTo>
                    <a:pt x="642266" y="268394"/>
                  </a:lnTo>
                  <a:lnTo>
                    <a:pt x="648242" y="200350"/>
                  </a:lnTo>
                  <a:lnTo>
                    <a:pt x="648242" y="198399"/>
                  </a:lnTo>
                  <a:lnTo>
                    <a:pt x="649583" y="196814"/>
                  </a:lnTo>
                  <a:lnTo>
                    <a:pt x="709090" y="129380"/>
                  </a:lnTo>
                  <a:lnTo>
                    <a:pt x="709944" y="128526"/>
                  </a:lnTo>
                  <a:lnTo>
                    <a:pt x="711042" y="127917"/>
                  </a:lnTo>
                  <a:lnTo>
                    <a:pt x="721285" y="123161"/>
                  </a:lnTo>
                  <a:lnTo>
                    <a:pt x="725796" y="121088"/>
                  </a:lnTo>
                  <a:lnTo>
                    <a:pt x="729942" y="101577"/>
                  </a:lnTo>
                  <a:lnTo>
                    <a:pt x="727625" y="91456"/>
                  </a:lnTo>
                  <a:lnTo>
                    <a:pt x="717992" y="48655"/>
                  </a:lnTo>
                  <a:lnTo>
                    <a:pt x="717139" y="44753"/>
                  </a:lnTo>
                  <a:lnTo>
                    <a:pt x="720431" y="42436"/>
                  </a:lnTo>
                  <a:lnTo>
                    <a:pt x="727504" y="37192"/>
                  </a:lnTo>
                  <a:lnTo>
                    <a:pt x="724455" y="29754"/>
                  </a:lnTo>
                  <a:lnTo>
                    <a:pt x="718846" y="16340"/>
                  </a:lnTo>
                  <a:lnTo>
                    <a:pt x="716895" y="11584"/>
                  </a:lnTo>
                  <a:lnTo>
                    <a:pt x="665679" y="5243"/>
                  </a:lnTo>
                  <a:lnTo>
                    <a:pt x="654460" y="12682"/>
                  </a:lnTo>
                  <a:lnTo>
                    <a:pt x="661777" y="19267"/>
                  </a:lnTo>
                  <a:lnTo>
                    <a:pt x="660314" y="37070"/>
                  </a:lnTo>
                  <a:lnTo>
                    <a:pt x="643852" y="41216"/>
                  </a:lnTo>
                  <a:lnTo>
                    <a:pt x="645315" y="46948"/>
                  </a:lnTo>
                  <a:lnTo>
                    <a:pt x="634218" y="51337"/>
                  </a:lnTo>
                  <a:lnTo>
                    <a:pt x="623731" y="45972"/>
                  </a:lnTo>
                  <a:lnTo>
                    <a:pt x="625072" y="35973"/>
                  </a:lnTo>
                  <a:lnTo>
                    <a:pt x="616293" y="32680"/>
                  </a:lnTo>
                  <a:lnTo>
                    <a:pt x="605318" y="39143"/>
                  </a:lnTo>
                  <a:lnTo>
                    <a:pt x="593977" y="39997"/>
                  </a:lnTo>
                  <a:lnTo>
                    <a:pt x="582637" y="46948"/>
                  </a:lnTo>
                  <a:lnTo>
                    <a:pt x="565199" y="46948"/>
                  </a:lnTo>
                  <a:lnTo>
                    <a:pt x="563736" y="44387"/>
                  </a:lnTo>
                  <a:lnTo>
                    <a:pt x="554346" y="44387"/>
                  </a:lnTo>
                  <a:lnTo>
                    <a:pt x="546177" y="49996"/>
                  </a:lnTo>
                  <a:lnTo>
                    <a:pt x="547884" y="57069"/>
                  </a:lnTo>
                  <a:lnTo>
                    <a:pt x="533250" y="57069"/>
                  </a:lnTo>
                  <a:lnTo>
                    <a:pt x="529349" y="54752"/>
                  </a:lnTo>
                  <a:lnTo>
                    <a:pt x="517764" y="59142"/>
                  </a:lnTo>
                  <a:lnTo>
                    <a:pt x="508984" y="51215"/>
                  </a:lnTo>
                  <a:lnTo>
                    <a:pt x="521178" y="44021"/>
                  </a:lnTo>
                  <a:lnTo>
                    <a:pt x="517032" y="37558"/>
                  </a:lnTo>
                  <a:lnTo>
                    <a:pt x="520690" y="34509"/>
                  </a:lnTo>
                  <a:lnTo>
                    <a:pt x="513374" y="34509"/>
                  </a:lnTo>
                  <a:lnTo>
                    <a:pt x="501790" y="41094"/>
                  </a:lnTo>
                  <a:lnTo>
                    <a:pt x="495205" y="43045"/>
                  </a:lnTo>
                  <a:lnTo>
                    <a:pt x="496546" y="48899"/>
                  </a:lnTo>
                  <a:lnTo>
                    <a:pt x="484352" y="53776"/>
                  </a:lnTo>
                  <a:lnTo>
                    <a:pt x="482523" y="47679"/>
                  </a:lnTo>
                  <a:lnTo>
                    <a:pt x="477279" y="46338"/>
                  </a:lnTo>
                  <a:lnTo>
                    <a:pt x="458256" y="51215"/>
                  </a:lnTo>
                  <a:lnTo>
                    <a:pt x="447038" y="60483"/>
                  </a:lnTo>
                  <a:lnTo>
                    <a:pt x="433868" y="68409"/>
                  </a:lnTo>
                  <a:lnTo>
                    <a:pt x="419723" y="68409"/>
                  </a:lnTo>
                  <a:lnTo>
                    <a:pt x="419723" y="75726"/>
                  </a:lnTo>
                  <a:lnTo>
                    <a:pt x="411553" y="76945"/>
                  </a:lnTo>
                  <a:lnTo>
                    <a:pt x="403139" y="71946"/>
                  </a:lnTo>
                  <a:lnTo>
                    <a:pt x="400090" y="72921"/>
                  </a:lnTo>
                  <a:lnTo>
                    <a:pt x="401310" y="80725"/>
                  </a:lnTo>
                  <a:lnTo>
                    <a:pt x="399725" y="92920"/>
                  </a:lnTo>
                  <a:lnTo>
                    <a:pt x="379360" y="99504"/>
                  </a:lnTo>
                  <a:lnTo>
                    <a:pt x="353509" y="93041"/>
                  </a:lnTo>
                  <a:lnTo>
                    <a:pt x="351923" y="86701"/>
                  </a:lnTo>
                  <a:lnTo>
                    <a:pt x="337534" y="77677"/>
                  </a:lnTo>
                  <a:lnTo>
                    <a:pt x="348509" y="72189"/>
                  </a:lnTo>
                  <a:lnTo>
                    <a:pt x="350094" y="67556"/>
                  </a:lnTo>
                  <a:lnTo>
                    <a:pt x="374483" y="62922"/>
                  </a:lnTo>
                  <a:lnTo>
                    <a:pt x="364483" y="51703"/>
                  </a:lnTo>
                  <a:lnTo>
                    <a:pt x="341192" y="45118"/>
                  </a:lnTo>
                  <a:lnTo>
                    <a:pt x="316072" y="41826"/>
                  </a:lnTo>
                  <a:lnTo>
                    <a:pt x="309244" y="41826"/>
                  </a:lnTo>
                  <a:lnTo>
                    <a:pt x="308634" y="43899"/>
                  </a:lnTo>
                  <a:lnTo>
                    <a:pt x="320097" y="50118"/>
                  </a:lnTo>
                  <a:lnTo>
                    <a:pt x="328145" y="55849"/>
                  </a:lnTo>
                  <a:lnTo>
                    <a:pt x="328145" y="74140"/>
                  </a:lnTo>
                  <a:lnTo>
                    <a:pt x="321072" y="79262"/>
                  </a:lnTo>
                  <a:lnTo>
                    <a:pt x="321072" y="83652"/>
                  </a:lnTo>
                  <a:lnTo>
                    <a:pt x="335583" y="90725"/>
                  </a:lnTo>
                  <a:lnTo>
                    <a:pt x="324365" y="127307"/>
                  </a:lnTo>
                  <a:lnTo>
                    <a:pt x="324365" y="127307"/>
                  </a:lnTo>
                  <a:lnTo>
                    <a:pt x="298269" y="109747"/>
                  </a:lnTo>
                  <a:lnTo>
                    <a:pt x="281075" y="108284"/>
                  </a:lnTo>
                  <a:lnTo>
                    <a:pt x="279734" y="122429"/>
                  </a:lnTo>
                  <a:lnTo>
                    <a:pt x="261930" y="132794"/>
                  </a:lnTo>
                  <a:lnTo>
                    <a:pt x="237542" y="152915"/>
                  </a:lnTo>
                  <a:lnTo>
                    <a:pt x="252785" y="183522"/>
                  </a:lnTo>
                  <a:lnTo>
                    <a:pt x="246078" y="196814"/>
                  </a:lnTo>
                  <a:lnTo>
                    <a:pt x="223153" y="198399"/>
                  </a:lnTo>
                  <a:lnTo>
                    <a:pt x="193643" y="185229"/>
                  </a:lnTo>
                  <a:lnTo>
                    <a:pt x="186815" y="174133"/>
                  </a:lnTo>
                  <a:lnTo>
                    <a:pt x="179620" y="173035"/>
                  </a:lnTo>
                  <a:lnTo>
                    <a:pt x="174742" y="187424"/>
                  </a:lnTo>
                  <a:lnTo>
                    <a:pt x="187912" y="205837"/>
                  </a:lnTo>
                  <a:lnTo>
                    <a:pt x="196204" y="208520"/>
                  </a:lnTo>
                  <a:lnTo>
                    <a:pt x="206325" y="216934"/>
                  </a:lnTo>
                  <a:lnTo>
                    <a:pt x="200838" y="228031"/>
                  </a:lnTo>
                  <a:lnTo>
                    <a:pt x="173035" y="231079"/>
                  </a:lnTo>
                  <a:lnTo>
                    <a:pt x="155231" y="211813"/>
                  </a:lnTo>
                  <a:lnTo>
                    <a:pt x="138525" y="216446"/>
                  </a:lnTo>
                  <a:lnTo>
                    <a:pt x="136819" y="202423"/>
                  </a:lnTo>
                  <a:lnTo>
                    <a:pt x="139501" y="179010"/>
                  </a:lnTo>
                  <a:lnTo>
                    <a:pt x="127307" y="165719"/>
                  </a:lnTo>
                  <a:lnTo>
                    <a:pt x="139501" y="149500"/>
                  </a:lnTo>
                  <a:lnTo>
                    <a:pt x="136940" y="137306"/>
                  </a:lnTo>
                  <a:lnTo>
                    <a:pt x="114869" y="114259"/>
                  </a:lnTo>
                  <a:lnTo>
                    <a:pt x="88408" y="97431"/>
                  </a:lnTo>
                  <a:lnTo>
                    <a:pt x="90480" y="83652"/>
                  </a:lnTo>
                  <a:lnTo>
                    <a:pt x="116698" y="99382"/>
                  </a:lnTo>
                  <a:lnTo>
                    <a:pt x="128892" y="98529"/>
                  </a:lnTo>
                  <a:lnTo>
                    <a:pt x="147793" y="107309"/>
                  </a:lnTo>
                  <a:lnTo>
                    <a:pt x="173157" y="116332"/>
                  </a:lnTo>
                  <a:lnTo>
                    <a:pt x="201204" y="126210"/>
                  </a:lnTo>
                  <a:lnTo>
                    <a:pt x="224372" y="127551"/>
                  </a:lnTo>
                  <a:lnTo>
                    <a:pt x="264004" y="99626"/>
                  </a:lnTo>
                  <a:lnTo>
                    <a:pt x="264004" y="75238"/>
                  </a:lnTo>
                  <a:lnTo>
                    <a:pt x="256321" y="69994"/>
                  </a:lnTo>
                  <a:lnTo>
                    <a:pt x="245712" y="63044"/>
                  </a:lnTo>
                  <a:lnTo>
                    <a:pt x="237055" y="63044"/>
                  </a:lnTo>
                  <a:lnTo>
                    <a:pt x="229616" y="56825"/>
                  </a:lnTo>
                  <a:lnTo>
                    <a:pt x="218641" y="52679"/>
                  </a:lnTo>
                  <a:lnTo>
                    <a:pt x="194253" y="44021"/>
                  </a:lnTo>
                  <a:lnTo>
                    <a:pt x="166084" y="28047"/>
                  </a:lnTo>
                  <a:lnTo>
                    <a:pt x="137062" y="20608"/>
                  </a:lnTo>
                  <a:lnTo>
                    <a:pt x="116820" y="24022"/>
                  </a:lnTo>
                  <a:lnTo>
                    <a:pt x="108040" y="18779"/>
                  </a:lnTo>
                  <a:lnTo>
                    <a:pt x="95480" y="16706"/>
                  </a:lnTo>
                  <a:lnTo>
                    <a:pt x="85847" y="8170"/>
                  </a:lnTo>
                  <a:lnTo>
                    <a:pt x="102797" y="6097"/>
                  </a:lnTo>
                  <a:lnTo>
                    <a:pt x="102797" y="4512"/>
                  </a:lnTo>
                  <a:lnTo>
                    <a:pt x="89017" y="0"/>
                  </a:lnTo>
                  <a:lnTo>
                    <a:pt x="79994" y="732"/>
                  </a:lnTo>
                  <a:lnTo>
                    <a:pt x="79994" y="5975"/>
                  </a:lnTo>
                  <a:lnTo>
                    <a:pt x="67800" y="5975"/>
                  </a:lnTo>
                  <a:lnTo>
                    <a:pt x="55605" y="10487"/>
                  </a:lnTo>
                  <a:lnTo>
                    <a:pt x="41948" y="15609"/>
                  </a:lnTo>
                  <a:lnTo>
                    <a:pt x="40606" y="19755"/>
                  </a:lnTo>
                  <a:lnTo>
                    <a:pt x="30363" y="24998"/>
                  </a:lnTo>
                  <a:lnTo>
                    <a:pt x="18169" y="39509"/>
                  </a:lnTo>
                  <a:lnTo>
                    <a:pt x="18169" y="48533"/>
                  </a:lnTo>
                  <a:lnTo>
                    <a:pt x="34753" y="57556"/>
                  </a:lnTo>
                  <a:lnTo>
                    <a:pt x="44143" y="77311"/>
                  </a:lnTo>
                  <a:lnTo>
                    <a:pt x="44143" y="77311"/>
                  </a:lnTo>
                  <a:lnTo>
                    <a:pt x="33534" y="88773"/>
                  </a:lnTo>
                  <a:lnTo>
                    <a:pt x="30120" y="92554"/>
                  </a:lnTo>
                  <a:lnTo>
                    <a:pt x="50606" y="121454"/>
                  </a:lnTo>
                  <a:lnTo>
                    <a:pt x="50606" y="121454"/>
                  </a:lnTo>
                  <a:lnTo>
                    <a:pt x="47679" y="145842"/>
                  </a:lnTo>
                  <a:lnTo>
                    <a:pt x="51947" y="161573"/>
                  </a:lnTo>
                  <a:lnTo>
                    <a:pt x="46582" y="179132"/>
                  </a:lnTo>
                  <a:lnTo>
                    <a:pt x="56825" y="186449"/>
                  </a:lnTo>
                  <a:lnTo>
                    <a:pt x="56825" y="186449"/>
                  </a:lnTo>
                  <a:lnTo>
                    <a:pt x="52801" y="193399"/>
                  </a:lnTo>
                  <a:lnTo>
                    <a:pt x="50849" y="197058"/>
                  </a:lnTo>
                  <a:lnTo>
                    <a:pt x="59020" y="212056"/>
                  </a:lnTo>
                  <a:lnTo>
                    <a:pt x="59020" y="212056"/>
                  </a:lnTo>
                  <a:lnTo>
                    <a:pt x="59020" y="225836"/>
                  </a:lnTo>
                  <a:lnTo>
                    <a:pt x="52069" y="238030"/>
                  </a:lnTo>
                  <a:lnTo>
                    <a:pt x="54386" y="247420"/>
                  </a:lnTo>
                  <a:lnTo>
                    <a:pt x="64751" y="250468"/>
                  </a:lnTo>
                  <a:lnTo>
                    <a:pt x="68043" y="251444"/>
                  </a:lnTo>
                  <a:lnTo>
                    <a:pt x="85115" y="274613"/>
                  </a:lnTo>
                  <a:lnTo>
                    <a:pt x="85115" y="274613"/>
                  </a:lnTo>
                  <a:lnTo>
                    <a:pt x="48533" y="318512"/>
                  </a:lnTo>
                  <a:lnTo>
                    <a:pt x="27681" y="347778"/>
                  </a:lnTo>
                  <a:lnTo>
                    <a:pt x="23047" y="367654"/>
                  </a:lnTo>
                  <a:lnTo>
                    <a:pt x="21340" y="379848"/>
                  </a:lnTo>
                  <a:lnTo>
                    <a:pt x="28900" y="383750"/>
                  </a:lnTo>
                  <a:lnTo>
                    <a:pt x="42923" y="382775"/>
                  </a:lnTo>
                  <a:lnTo>
                    <a:pt x="55117" y="386311"/>
                  </a:lnTo>
                  <a:lnTo>
                    <a:pt x="51459" y="402285"/>
                  </a:lnTo>
                  <a:lnTo>
                    <a:pt x="29144" y="400334"/>
                  </a:lnTo>
                  <a:lnTo>
                    <a:pt x="26461" y="404968"/>
                  </a:lnTo>
                  <a:lnTo>
                    <a:pt x="15364" y="404968"/>
                  </a:lnTo>
                  <a:lnTo>
                    <a:pt x="16096" y="410334"/>
                  </a:lnTo>
                  <a:lnTo>
                    <a:pt x="5487" y="419113"/>
                  </a:lnTo>
                  <a:lnTo>
                    <a:pt x="0" y="449843"/>
                  </a:lnTo>
                  <a:lnTo>
                    <a:pt x="7072" y="46667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4" name="Freihandform: Form 713">
              <a:extLst>
                <a:ext uri="{FF2B5EF4-FFF2-40B4-BE49-F238E27FC236}">
                  <a16:creationId xmlns:a16="http://schemas.microsoft.com/office/drawing/2014/main" id="{43BFE754-A288-4D56-A573-FAC9F3315AF5}"/>
                </a:ext>
              </a:extLst>
            </p:cNvPr>
            <p:cNvSpPr/>
            <p:nvPr/>
          </p:nvSpPr>
          <p:spPr>
            <a:xfrm>
              <a:off x="4938678" y="2597870"/>
              <a:ext cx="1951" cy="6950"/>
            </a:xfrm>
            <a:custGeom>
              <a:avLst/>
              <a:gdLst>
                <a:gd name="connsiteX0" fmla="*/ 975 w 1951"/>
                <a:gd name="connsiteY0" fmla="*/ 0 h 6950"/>
                <a:gd name="connsiteX1" fmla="*/ 0 w 1951"/>
                <a:gd name="connsiteY1" fmla="*/ 488 h 6950"/>
                <a:gd name="connsiteX2" fmla="*/ 0 w 1951"/>
                <a:gd name="connsiteY2" fmla="*/ 4756 h 6950"/>
                <a:gd name="connsiteX3" fmla="*/ 1951 w 1951"/>
                <a:gd name="connsiteY3" fmla="*/ 6951 h 6950"/>
                <a:gd name="connsiteX4" fmla="*/ 1463 w 1951"/>
                <a:gd name="connsiteY4" fmla="*/ 1707 h 6950"/>
                <a:gd name="connsiteX5" fmla="*/ 975 w 1951"/>
                <a:gd name="connsiteY5" fmla="*/ 0 h 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1" h="6950">
                  <a:moveTo>
                    <a:pt x="975" y="0"/>
                  </a:moveTo>
                  <a:lnTo>
                    <a:pt x="0" y="488"/>
                  </a:lnTo>
                  <a:lnTo>
                    <a:pt x="0" y="4756"/>
                  </a:lnTo>
                  <a:lnTo>
                    <a:pt x="1951" y="6951"/>
                  </a:lnTo>
                  <a:lnTo>
                    <a:pt x="1463" y="1707"/>
                  </a:lnTo>
                  <a:lnTo>
                    <a:pt x="97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5" name="Freihandform: Form 714">
              <a:extLst>
                <a:ext uri="{FF2B5EF4-FFF2-40B4-BE49-F238E27FC236}">
                  <a16:creationId xmlns:a16="http://schemas.microsoft.com/office/drawing/2014/main" id="{A43586AD-89AA-4120-8777-3F8C89225F35}"/>
                </a:ext>
              </a:extLst>
            </p:cNvPr>
            <p:cNvSpPr/>
            <p:nvPr/>
          </p:nvSpPr>
          <p:spPr>
            <a:xfrm>
              <a:off x="5891042" y="2167416"/>
              <a:ext cx="1221001" cy="847860"/>
            </a:xfrm>
            <a:custGeom>
              <a:avLst/>
              <a:gdLst>
                <a:gd name="connsiteX0" fmla="*/ 269491 w 1221001"/>
                <a:gd name="connsiteY0" fmla="*/ 148647 h 847860"/>
                <a:gd name="connsiteX1" fmla="*/ 244615 w 1221001"/>
                <a:gd name="connsiteY1" fmla="*/ 168767 h 847860"/>
                <a:gd name="connsiteX2" fmla="*/ 235713 w 1221001"/>
                <a:gd name="connsiteY2" fmla="*/ 175962 h 847860"/>
                <a:gd name="connsiteX3" fmla="*/ 241932 w 1221001"/>
                <a:gd name="connsiteY3" fmla="*/ 199253 h 847860"/>
                <a:gd name="connsiteX4" fmla="*/ 242785 w 1221001"/>
                <a:gd name="connsiteY4" fmla="*/ 202667 h 847860"/>
                <a:gd name="connsiteX5" fmla="*/ 240347 w 1221001"/>
                <a:gd name="connsiteY5" fmla="*/ 205106 h 847860"/>
                <a:gd name="connsiteX6" fmla="*/ 230835 w 1221001"/>
                <a:gd name="connsiteY6" fmla="*/ 214495 h 847860"/>
                <a:gd name="connsiteX7" fmla="*/ 227909 w 1221001"/>
                <a:gd name="connsiteY7" fmla="*/ 217544 h 847860"/>
                <a:gd name="connsiteX8" fmla="*/ 224007 w 1221001"/>
                <a:gd name="connsiteY8" fmla="*/ 215837 h 847860"/>
                <a:gd name="connsiteX9" fmla="*/ 210593 w 1221001"/>
                <a:gd name="connsiteY9" fmla="*/ 209740 h 847860"/>
                <a:gd name="connsiteX10" fmla="*/ 189985 w 1221001"/>
                <a:gd name="connsiteY10" fmla="*/ 210959 h 847860"/>
                <a:gd name="connsiteX11" fmla="*/ 181815 w 1221001"/>
                <a:gd name="connsiteY11" fmla="*/ 230104 h 847860"/>
                <a:gd name="connsiteX12" fmla="*/ 175840 w 1221001"/>
                <a:gd name="connsiteY12" fmla="*/ 244493 h 847860"/>
                <a:gd name="connsiteX13" fmla="*/ 176205 w 1221001"/>
                <a:gd name="connsiteY13" fmla="*/ 247541 h 847860"/>
                <a:gd name="connsiteX14" fmla="*/ 177181 w 1221001"/>
                <a:gd name="connsiteY14" fmla="*/ 254126 h 847860"/>
                <a:gd name="connsiteX15" fmla="*/ 177669 w 1221001"/>
                <a:gd name="connsiteY15" fmla="*/ 257053 h 847860"/>
                <a:gd name="connsiteX16" fmla="*/ 175596 w 1221001"/>
                <a:gd name="connsiteY16" fmla="*/ 259126 h 847860"/>
                <a:gd name="connsiteX17" fmla="*/ 169255 w 1221001"/>
                <a:gd name="connsiteY17" fmla="*/ 266077 h 847860"/>
                <a:gd name="connsiteX18" fmla="*/ 164377 w 1221001"/>
                <a:gd name="connsiteY18" fmla="*/ 271320 h 847860"/>
                <a:gd name="connsiteX19" fmla="*/ 159987 w 1221001"/>
                <a:gd name="connsiteY19" fmla="*/ 265711 h 847860"/>
                <a:gd name="connsiteX20" fmla="*/ 153280 w 1221001"/>
                <a:gd name="connsiteY20" fmla="*/ 257175 h 847860"/>
                <a:gd name="connsiteX21" fmla="*/ 121942 w 1221001"/>
                <a:gd name="connsiteY21" fmla="*/ 268393 h 847860"/>
                <a:gd name="connsiteX22" fmla="*/ 130234 w 1221001"/>
                <a:gd name="connsiteY22" fmla="*/ 277539 h 847860"/>
                <a:gd name="connsiteX23" fmla="*/ 131575 w 1221001"/>
                <a:gd name="connsiteY23" fmla="*/ 279124 h 847860"/>
                <a:gd name="connsiteX24" fmla="*/ 131697 w 1221001"/>
                <a:gd name="connsiteY24" fmla="*/ 281197 h 847860"/>
                <a:gd name="connsiteX25" fmla="*/ 133038 w 1221001"/>
                <a:gd name="connsiteY25" fmla="*/ 301074 h 847860"/>
                <a:gd name="connsiteX26" fmla="*/ 136940 w 1221001"/>
                <a:gd name="connsiteY26" fmla="*/ 312902 h 847860"/>
                <a:gd name="connsiteX27" fmla="*/ 137550 w 1221001"/>
                <a:gd name="connsiteY27" fmla="*/ 314853 h 847860"/>
                <a:gd name="connsiteX28" fmla="*/ 136940 w 1221001"/>
                <a:gd name="connsiteY28" fmla="*/ 316804 h 847860"/>
                <a:gd name="connsiteX29" fmla="*/ 132672 w 1221001"/>
                <a:gd name="connsiteY29" fmla="*/ 328755 h 847860"/>
                <a:gd name="connsiteX30" fmla="*/ 131087 w 1221001"/>
                <a:gd name="connsiteY30" fmla="*/ 333144 h 847860"/>
                <a:gd name="connsiteX31" fmla="*/ 130965 w 1221001"/>
                <a:gd name="connsiteY31" fmla="*/ 333388 h 847860"/>
                <a:gd name="connsiteX32" fmla="*/ 131941 w 1221001"/>
                <a:gd name="connsiteY32" fmla="*/ 334120 h 847860"/>
                <a:gd name="connsiteX33" fmla="*/ 129868 w 1221001"/>
                <a:gd name="connsiteY33" fmla="*/ 336681 h 847860"/>
                <a:gd name="connsiteX34" fmla="*/ 128160 w 1221001"/>
                <a:gd name="connsiteY34" fmla="*/ 341315 h 847860"/>
                <a:gd name="connsiteX35" fmla="*/ 126819 w 1221001"/>
                <a:gd name="connsiteY35" fmla="*/ 340217 h 847860"/>
                <a:gd name="connsiteX36" fmla="*/ 124746 w 1221001"/>
                <a:gd name="connsiteY36" fmla="*/ 342656 h 847860"/>
                <a:gd name="connsiteX37" fmla="*/ 114259 w 1221001"/>
                <a:gd name="connsiteY37" fmla="*/ 355094 h 847860"/>
                <a:gd name="connsiteX38" fmla="*/ 112796 w 1221001"/>
                <a:gd name="connsiteY38" fmla="*/ 356679 h 847860"/>
                <a:gd name="connsiteX39" fmla="*/ 110723 w 1221001"/>
                <a:gd name="connsiteY39" fmla="*/ 357167 h 847860"/>
                <a:gd name="connsiteX40" fmla="*/ 94626 w 1221001"/>
                <a:gd name="connsiteY40" fmla="*/ 360216 h 847860"/>
                <a:gd name="connsiteX41" fmla="*/ 89627 w 1221001"/>
                <a:gd name="connsiteY41" fmla="*/ 361069 h 847860"/>
                <a:gd name="connsiteX42" fmla="*/ 87676 w 1221001"/>
                <a:gd name="connsiteY42" fmla="*/ 362532 h 847860"/>
                <a:gd name="connsiteX43" fmla="*/ 73775 w 1221001"/>
                <a:gd name="connsiteY43" fmla="*/ 372898 h 847860"/>
                <a:gd name="connsiteX44" fmla="*/ 72555 w 1221001"/>
                <a:gd name="connsiteY44" fmla="*/ 373995 h 847860"/>
                <a:gd name="connsiteX45" fmla="*/ 70848 w 1221001"/>
                <a:gd name="connsiteY45" fmla="*/ 374117 h 847860"/>
                <a:gd name="connsiteX46" fmla="*/ 64995 w 1221001"/>
                <a:gd name="connsiteY46" fmla="*/ 374727 h 847860"/>
                <a:gd name="connsiteX47" fmla="*/ 61702 w 1221001"/>
                <a:gd name="connsiteY47" fmla="*/ 375092 h 847860"/>
                <a:gd name="connsiteX48" fmla="*/ 61458 w 1221001"/>
                <a:gd name="connsiteY48" fmla="*/ 376068 h 847860"/>
                <a:gd name="connsiteX49" fmla="*/ 59629 w 1221001"/>
                <a:gd name="connsiteY49" fmla="*/ 387652 h 847860"/>
                <a:gd name="connsiteX50" fmla="*/ 58776 w 1221001"/>
                <a:gd name="connsiteY50" fmla="*/ 392164 h 847860"/>
                <a:gd name="connsiteX51" fmla="*/ 54264 w 1221001"/>
                <a:gd name="connsiteY51" fmla="*/ 392652 h 847860"/>
                <a:gd name="connsiteX52" fmla="*/ 44021 w 1221001"/>
                <a:gd name="connsiteY52" fmla="*/ 393749 h 847860"/>
                <a:gd name="connsiteX53" fmla="*/ 41338 w 1221001"/>
                <a:gd name="connsiteY53" fmla="*/ 394115 h 847860"/>
                <a:gd name="connsiteX54" fmla="*/ 39265 w 1221001"/>
                <a:gd name="connsiteY54" fmla="*/ 392286 h 847860"/>
                <a:gd name="connsiteX55" fmla="*/ 31461 w 1221001"/>
                <a:gd name="connsiteY55" fmla="*/ 385458 h 847860"/>
                <a:gd name="connsiteX56" fmla="*/ 30729 w 1221001"/>
                <a:gd name="connsiteY56" fmla="*/ 384848 h 847860"/>
                <a:gd name="connsiteX57" fmla="*/ 4633 w 1221001"/>
                <a:gd name="connsiteY57" fmla="*/ 399847 h 847860"/>
                <a:gd name="connsiteX58" fmla="*/ 244 w 1221001"/>
                <a:gd name="connsiteY58" fmla="*/ 409480 h 847860"/>
                <a:gd name="connsiteX59" fmla="*/ 0 w 1221001"/>
                <a:gd name="connsiteY59" fmla="*/ 410212 h 847860"/>
                <a:gd name="connsiteX60" fmla="*/ 244 w 1221001"/>
                <a:gd name="connsiteY60" fmla="*/ 411187 h 847860"/>
                <a:gd name="connsiteX61" fmla="*/ 3414 w 1221001"/>
                <a:gd name="connsiteY61" fmla="*/ 426064 h 847860"/>
                <a:gd name="connsiteX62" fmla="*/ 10243 w 1221001"/>
                <a:gd name="connsiteY62" fmla="*/ 427162 h 847860"/>
                <a:gd name="connsiteX63" fmla="*/ 17803 w 1221001"/>
                <a:gd name="connsiteY63" fmla="*/ 428381 h 847860"/>
                <a:gd name="connsiteX64" fmla="*/ 21584 w 1221001"/>
                <a:gd name="connsiteY64" fmla="*/ 428991 h 847860"/>
                <a:gd name="connsiteX65" fmla="*/ 22681 w 1221001"/>
                <a:gd name="connsiteY65" fmla="*/ 432649 h 847860"/>
                <a:gd name="connsiteX66" fmla="*/ 26339 w 1221001"/>
                <a:gd name="connsiteY66" fmla="*/ 444721 h 847860"/>
                <a:gd name="connsiteX67" fmla="*/ 27071 w 1221001"/>
                <a:gd name="connsiteY67" fmla="*/ 447038 h 847860"/>
                <a:gd name="connsiteX68" fmla="*/ 25973 w 1221001"/>
                <a:gd name="connsiteY68" fmla="*/ 449233 h 847860"/>
                <a:gd name="connsiteX69" fmla="*/ 17438 w 1221001"/>
                <a:gd name="connsiteY69" fmla="*/ 466305 h 847860"/>
                <a:gd name="connsiteX70" fmla="*/ 20242 w 1221001"/>
                <a:gd name="connsiteY70" fmla="*/ 471060 h 847860"/>
                <a:gd name="connsiteX71" fmla="*/ 20974 w 1221001"/>
                <a:gd name="connsiteY71" fmla="*/ 470817 h 847860"/>
                <a:gd name="connsiteX72" fmla="*/ 23169 w 1221001"/>
                <a:gd name="connsiteY72" fmla="*/ 471670 h 847860"/>
                <a:gd name="connsiteX73" fmla="*/ 29510 w 1221001"/>
                <a:gd name="connsiteY73" fmla="*/ 474231 h 847860"/>
                <a:gd name="connsiteX74" fmla="*/ 30973 w 1221001"/>
                <a:gd name="connsiteY74" fmla="*/ 474841 h 847860"/>
                <a:gd name="connsiteX75" fmla="*/ 31949 w 1221001"/>
                <a:gd name="connsiteY75" fmla="*/ 476060 h 847860"/>
                <a:gd name="connsiteX76" fmla="*/ 35973 w 1221001"/>
                <a:gd name="connsiteY76" fmla="*/ 480938 h 847860"/>
                <a:gd name="connsiteX77" fmla="*/ 44996 w 1221001"/>
                <a:gd name="connsiteY77" fmla="*/ 487401 h 847860"/>
                <a:gd name="connsiteX78" fmla="*/ 45240 w 1221001"/>
                <a:gd name="connsiteY78" fmla="*/ 487644 h 847860"/>
                <a:gd name="connsiteX79" fmla="*/ 45484 w 1221001"/>
                <a:gd name="connsiteY79" fmla="*/ 487767 h 847860"/>
                <a:gd name="connsiteX80" fmla="*/ 51581 w 1221001"/>
                <a:gd name="connsiteY80" fmla="*/ 493254 h 847860"/>
                <a:gd name="connsiteX81" fmla="*/ 58044 w 1221001"/>
                <a:gd name="connsiteY81" fmla="*/ 497034 h 847860"/>
                <a:gd name="connsiteX82" fmla="*/ 59629 w 1221001"/>
                <a:gd name="connsiteY82" fmla="*/ 498010 h 847860"/>
                <a:gd name="connsiteX83" fmla="*/ 60483 w 1221001"/>
                <a:gd name="connsiteY83" fmla="*/ 499717 h 847860"/>
                <a:gd name="connsiteX84" fmla="*/ 63287 w 1221001"/>
                <a:gd name="connsiteY84" fmla="*/ 505814 h 847860"/>
                <a:gd name="connsiteX85" fmla="*/ 69263 w 1221001"/>
                <a:gd name="connsiteY85" fmla="*/ 509228 h 847860"/>
                <a:gd name="connsiteX86" fmla="*/ 72067 w 1221001"/>
                <a:gd name="connsiteY86" fmla="*/ 510813 h 847860"/>
                <a:gd name="connsiteX87" fmla="*/ 72189 w 1221001"/>
                <a:gd name="connsiteY87" fmla="*/ 512155 h 847860"/>
                <a:gd name="connsiteX88" fmla="*/ 72555 w 1221001"/>
                <a:gd name="connsiteY88" fmla="*/ 512277 h 847860"/>
                <a:gd name="connsiteX89" fmla="*/ 72311 w 1221001"/>
                <a:gd name="connsiteY89" fmla="*/ 513252 h 847860"/>
                <a:gd name="connsiteX90" fmla="*/ 72433 w 1221001"/>
                <a:gd name="connsiteY90" fmla="*/ 514106 h 847860"/>
                <a:gd name="connsiteX91" fmla="*/ 72555 w 1221001"/>
                <a:gd name="connsiteY91" fmla="*/ 516057 h 847860"/>
                <a:gd name="connsiteX92" fmla="*/ 81457 w 1221001"/>
                <a:gd name="connsiteY92" fmla="*/ 517032 h 847860"/>
                <a:gd name="connsiteX93" fmla="*/ 96090 w 1221001"/>
                <a:gd name="connsiteY93" fmla="*/ 509106 h 847860"/>
                <a:gd name="connsiteX94" fmla="*/ 98529 w 1221001"/>
                <a:gd name="connsiteY94" fmla="*/ 507887 h 847860"/>
                <a:gd name="connsiteX95" fmla="*/ 100968 w 1221001"/>
                <a:gd name="connsiteY95" fmla="*/ 508741 h 847860"/>
                <a:gd name="connsiteX96" fmla="*/ 104626 w 1221001"/>
                <a:gd name="connsiteY96" fmla="*/ 510082 h 847860"/>
                <a:gd name="connsiteX97" fmla="*/ 106577 w 1221001"/>
                <a:gd name="connsiteY97" fmla="*/ 508497 h 847860"/>
                <a:gd name="connsiteX98" fmla="*/ 109747 w 1221001"/>
                <a:gd name="connsiteY98" fmla="*/ 506058 h 847860"/>
                <a:gd name="connsiteX99" fmla="*/ 113162 w 1221001"/>
                <a:gd name="connsiteY99" fmla="*/ 508009 h 847860"/>
                <a:gd name="connsiteX100" fmla="*/ 125843 w 1221001"/>
                <a:gd name="connsiteY100" fmla="*/ 514838 h 847860"/>
                <a:gd name="connsiteX101" fmla="*/ 130477 w 1221001"/>
                <a:gd name="connsiteY101" fmla="*/ 517276 h 847860"/>
                <a:gd name="connsiteX102" fmla="*/ 128648 w 1221001"/>
                <a:gd name="connsiteY102" fmla="*/ 522276 h 847860"/>
                <a:gd name="connsiteX103" fmla="*/ 122551 w 1221001"/>
                <a:gd name="connsiteY103" fmla="*/ 538982 h 847860"/>
                <a:gd name="connsiteX104" fmla="*/ 121820 w 1221001"/>
                <a:gd name="connsiteY104" fmla="*/ 540689 h 847860"/>
                <a:gd name="connsiteX105" fmla="*/ 120356 w 1221001"/>
                <a:gd name="connsiteY105" fmla="*/ 541787 h 847860"/>
                <a:gd name="connsiteX106" fmla="*/ 105967 w 1221001"/>
                <a:gd name="connsiteY106" fmla="*/ 552030 h 847860"/>
                <a:gd name="connsiteX107" fmla="*/ 104504 w 1221001"/>
                <a:gd name="connsiteY107" fmla="*/ 557273 h 847860"/>
                <a:gd name="connsiteX108" fmla="*/ 114137 w 1221001"/>
                <a:gd name="connsiteY108" fmla="*/ 575564 h 847860"/>
                <a:gd name="connsiteX109" fmla="*/ 116942 w 1221001"/>
                <a:gd name="connsiteY109" fmla="*/ 580930 h 847860"/>
                <a:gd name="connsiteX110" fmla="*/ 111698 w 1221001"/>
                <a:gd name="connsiteY110" fmla="*/ 583735 h 847860"/>
                <a:gd name="connsiteX111" fmla="*/ 106699 w 1221001"/>
                <a:gd name="connsiteY111" fmla="*/ 586539 h 847860"/>
                <a:gd name="connsiteX112" fmla="*/ 103772 w 1221001"/>
                <a:gd name="connsiteY112" fmla="*/ 588734 h 847860"/>
                <a:gd name="connsiteX113" fmla="*/ 103285 w 1221001"/>
                <a:gd name="connsiteY113" fmla="*/ 589100 h 847860"/>
                <a:gd name="connsiteX114" fmla="*/ 100602 w 1221001"/>
                <a:gd name="connsiteY114" fmla="*/ 591051 h 847860"/>
                <a:gd name="connsiteX115" fmla="*/ 102065 w 1221001"/>
                <a:gd name="connsiteY115" fmla="*/ 592392 h 847860"/>
                <a:gd name="connsiteX116" fmla="*/ 101821 w 1221001"/>
                <a:gd name="connsiteY116" fmla="*/ 595441 h 847860"/>
                <a:gd name="connsiteX117" fmla="*/ 100724 w 1221001"/>
                <a:gd name="connsiteY117" fmla="*/ 610318 h 847860"/>
                <a:gd name="connsiteX118" fmla="*/ 107552 w 1221001"/>
                <a:gd name="connsiteY118" fmla="*/ 614220 h 847860"/>
                <a:gd name="connsiteX119" fmla="*/ 123649 w 1221001"/>
                <a:gd name="connsiteY119" fmla="*/ 614220 h 847860"/>
                <a:gd name="connsiteX120" fmla="*/ 125478 w 1221001"/>
                <a:gd name="connsiteY120" fmla="*/ 615927 h 847860"/>
                <a:gd name="connsiteX121" fmla="*/ 139135 w 1221001"/>
                <a:gd name="connsiteY121" fmla="*/ 629585 h 847860"/>
                <a:gd name="connsiteX122" fmla="*/ 160475 w 1221001"/>
                <a:gd name="connsiteY122" fmla="*/ 627146 h 847860"/>
                <a:gd name="connsiteX123" fmla="*/ 162914 w 1221001"/>
                <a:gd name="connsiteY123" fmla="*/ 626780 h 847860"/>
                <a:gd name="connsiteX124" fmla="*/ 164865 w 1221001"/>
                <a:gd name="connsiteY124" fmla="*/ 628365 h 847860"/>
                <a:gd name="connsiteX125" fmla="*/ 189010 w 1221001"/>
                <a:gd name="connsiteY125" fmla="*/ 647144 h 847860"/>
                <a:gd name="connsiteX126" fmla="*/ 200228 w 1221001"/>
                <a:gd name="connsiteY126" fmla="*/ 651534 h 847860"/>
                <a:gd name="connsiteX127" fmla="*/ 214007 w 1221001"/>
                <a:gd name="connsiteY127" fmla="*/ 656900 h 847860"/>
                <a:gd name="connsiteX128" fmla="*/ 214739 w 1221001"/>
                <a:gd name="connsiteY128" fmla="*/ 657265 h 847860"/>
                <a:gd name="connsiteX129" fmla="*/ 215471 w 1221001"/>
                <a:gd name="connsiteY129" fmla="*/ 657631 h 847860"/>
                <a:gd name="connsiteX130" fmla="*/ 237176 w 1221001"/>
                <a:gd name="connsiteY130" fmla="*/ 673971 h 847860"/>
                <a:gd name="connsiteX131" fmla="*/ 281807 w 1221001"/>
                <a:gd name="connsiteY131" fmla="*/ 683483 h 847860"/>
                <a:gd name="connsiteX132" fmla="*/ 282295 w 1221001"/>
                <a:gd name="connsiteY132" fmla="*/ 683605 h 847860"/>
                <a:gd name="connsiteX133" fmla="*/ 294245 w 1221001"/>
                <a:gd name="connsiteY133" fmla="*/ 677508 h 847860"/>
                <a:gd name="connsiteX134" fmla="*/ 297659 w 1221001"/>
                <a:gd name="connsiteY134" fmla="*/ 675679 h 847860"/>
                <a:gd name="connsiteX135" fmla="*/ 300708 w 1221001"/>
                <a:gd name="connsiteY135" fmla="*/ 678117 h 847860"/>
                <a:gd name="connsiteX136" fmla="*/ 306073 w 1221001"/>
                <a:gd name="connsiteY136" fmla="*/ 682385 h 847860"/>
                <a:gd name="connsiteX137" fmla="*/ 316072 w 1221001"/>
                <a:gd name="connsiteY137" fmla="*/ 673728 h 847860"/>
                <a:gd name="connsiteX138" fmla="*/ 317780 w 1221001"/>
                <a:gd name="connsiteY138" fmla="*/ 672264 h 847860"/>
                <a:gd name="connsiteX139" fmla="*/ 333632 w 1221001"/>
                <a:gd name="connsiteY139" fmla="*/ 672264 h 847860"/>
                <a:gd name="connsiteX140" fmla="*/ 335339 w 1221001"/>
                <a:gd name="connsiteY140" fmla="*/ 674093 h 847860"/>
                <a:gd name="connsiteX141" fmla="*/ 336559 w 1221001"/>
                <a:gd name="connsiteY141" fmla="*/ 675191 h 847860"/>
                <a:gd name="connsiteX142" fmla="*/ 342168 w 1221001"/>
                <a:gd name="connsiteY142" fmla="*/ 680922 h 847860"/>
                <a:gd name="connsiteX143" fmla="*/ 353752 w 1221001"/>
                <a:gd name="connsiteY143" fmla="*/ 680556 h 847860"/>
                <a:gd name="connsiteX144" fmla="*/ 360825 w 1221001"/>
                <a:gd name="connsiteY144" fmla="*/ 680312 h 847860"/>
                <a:gd name="connsiteX145" fmla="*/ 360581 w 1221001"/>
                <a:gd name="connsiteY145" fmla="*/ 682019 h 847860"/>
                <a:gd name="connsiteX146" fmla="*/ 362654 w 1221001"/>
                <a:gd name="connsiteY146" fmla="*/ 681776 h 847860"/>
                <a:gd name="connsiteX147" fmla="*/ 363752 w 1221001"/>
                <a:gd name="connsiteY147" fmla="*/ 681288 h 847860"/>
                <a:gd name="connsiteX148" fmla="*/ 390701 w 1221001"/>
                <a:gd name="connsiteY148" fmla="*/ 663241 h 847860"/>
                <a:gd name="connsiteX149" fmla="*/ 399968 w 1221001"/>
                <a:gd name="connsiteY149" fmla="*/ 650924 h 847860"/>
                <a:gd name="connsiteX150" fmla="*/ 404480 w 1221001"/>
                <a:gd name="connsiteY150" fmla="*/ 644340 h 847860"/>
                <a:gd name="connsiteX151" fmla="*/ 407163 w 1221001"/>
                <a:gd name="connsiteY151" fmla="*/ 646047 h 847860"/>
                <a:gd name="connsiteX152" fmla="*/ 410455 w 1221001"/>
                <a:gd name="connsiteY152" fmla="*/ 647998 h 847860"/>
                <a:gd name="connsiteX153" fmla="*/ 419357 w 1221001"/>
                <a:gd name="connsiteY153" fmla="*/ 652875 h 847860"/>
                <a:gd name="connsiteX154" fmla="*/ 428137 w 1221001"/>
                <a:gd name="connsiteY154" fmla="*/ 646291 h 847860"/>
                <a:gd name="connsiteX155" fmla="*/ 431429 w 1221001"/>
                <a:gd name="connsiteY155" fmla="*/ 643730 h 847860"/>
                <a:gd name="connsiteX156" fmla="*/ 434966 w 1221001"/>
                <a:gd name="connsiteY156" fmla="*/ 645803 h 847860"/>
                <a:gd name="connsiteX157" fmla="*/ 447770 w 1221001"/>
                <a:gd name="connsiteY157" fmla="*/ 653485 h 847860"/>
                <a:gd name="connsiteX158" fmla="*/ 451550 w 1221001"/>
                <a:gd name="connsiteY158" fmla="*/ 655680 h 847860"/>
                <a:gd name="connsiteX159" fmla="*/ 450696 w 1221001"/>
                <a:gd name="connsiteY159" fmla="*/ 659948 h 847860"/>
                <a:gd name="connsiteX160" fmla="*/ 450208 w 1221001"/>
                <a:gd name="connsiteY160" fmla="*/ 662143 h 847860"/>
                <a:gd name="connsiteX161" fmla="*/ 457525 w 1221001"/>
                <a:gd name="connsiteY161" fmla="*/ 665435 h 847860"/>
                <a:gd name="connsiteX162" fmla="*/ 459476 w 1221001"/>
                <a:gd name="connsiteY162" fmla="*/ 666289 h 847860"/>
                <a:gd name="connsiteX163" fmla="*/ 460451 w 1221001"/>
                <a:gd name="connsiteY163" fmla="*/ 668118 h 847860"/>
                <a:gd name="connsiteX164" fmla="*/ 462646 w 1221001"/>
                <a:gd name="connsiteY164" fmla="*/ 672630 h 847860"/>
                <a:gd name="connsiteX165" fmla="*/ 463378 w 1221001"/>
                <a:gd name="connsiteY165" fmla="*/ 672996 h 847860"/>
                <a:gd name="connsiteX166" fmla="*/ 464476 w 1221001"/>
                <a:gd name="connsiteY166" fmla="*/ 675435 h 847860"/>
                <a:gd name="connsiteX167" fmla="*/ 475572 w 1221001"/>
                <a:gd name="connsiteY167" fmla="*/ 674337 h 847860"/>
                <a:gd name="connsiteX168" fmla="*/ 480450 w 1221001"/>
                <a:gd name="connsiteY168" fmla="*/ 673971 h 847860"/>
                <a:gd name="connsiteX169" fmla="*/ 484718 w 1221001"/>
                <a:gd name="connsiteY169" fmla="*/ 673484 h 847860"/>
                <a:gd name="connsiteX170" fmla="*/ 486547 w 1221001"/>
                <a:gd name="connsiteY170" fmla="*/ 677386 h 847860"/>
                <a:gd name="connsiteX171" fmla="*/ 497156 w 1221001"/>
                <a:gd name="connsiteY171" fmla="*/ 699823 h 847860"/>
                <a:gd name="connsiteX172" fmla="*/ 497522 w 1221001"/>
                <a:gd name="connsiteY172" fmla="*/ 700677 h 847860"/>
                <a:gd name="connsiteX173" fmla="*/ 497644 w 1221001"/>
                <a:gd name="connsiteY173" fmla="*/ 701530 h 847860"/>
                <a:gd name="connsiteX174" fmla="*/ 501668 w 1221001"/>
                <a:gd name="connsiteY174" fmla="*/ 727138 h 847860"/>
                <a:gd name="connsiteX175" fmla="*/ 502155 w 1221001"/>
                <a:gd name="connsiteY175" fmla="*/ 730065 h 847860"/>
                <a:gd name="connsiteX176" fmla="*/ 500082 w 1221001"/>
                <a:gd name="connsiteY176" fmla="*/ 732260 h 847860"/>
                <a:gd name="connsiteX177" fmla="*/ 483376 w 1221001"/>
                <a:gd name="connsiteY177" fmla="*/ 750185 h 847860"/>
                <a:gd name="connsiteX178" fmla="*/ 483376 w 1221001"/>
                <a:gd name="connsiteY178" fmla="*/ 767744 h 847860"/>
                <a:gd name="connsiteX179" fmla="*/ 488010 w 1221001"/>
                <a:gd name="connsiteY179" fmla="*/ 768232 h 847860"/>
                <a:gd name="connsiteX180" fmla="*/ 491790 w 1221001"/>
                <a:gd name="connsiteY180" fmla="*/ 768598 h 847860"/>
                <a:gd name="connsiteX181" fmla="*/ 494229 w 1221001"/>
                <a:gd name="connsiteY181" fmla="*/ 768964 h 847860"/>
                <a:gd name="connsiteX182" fmla="*/ 495814 w 1221001"/>
                <a:gd name="connsiteY182" fmla="*/ 770671 h 847860"/>
                <a:gd name="connsiteX183" fmla="*/ 511789 w 1221001"/>
                <a:gd name="connsiteY183" fmla="*/ 789328 h 847860"/>
                <a:gd name="connsiteX184" fmla="*/ 513252 w 1221001"/>
                <a:gd name="connsiteY184" fmla="*/ 791035 h 847860"/>
                <a:gd name="connsiteX185" fmla="*/ 513252 w 1221001"/>
                <a:gd name="connsiteY185" fmla="*/ 793352 h 847860"/>
                <a:gd name="connsiteX186" fmla="*/ 513252 w 1221001"/>
                <a:gd name="connsiteY186" fmla="*/ 807010 h 847860"/>
                <a:gd name="connsiteX187" fmla="*/ 529470 w 1221001"/>
                <a:gd name="connsiteY187" fmla="*/ 807010 h 847860"/>
                <a:gd name="connsiteX188" fmla="*/ 530446 w 1221001"/>
                <a:gd name="connsiteY188" fmla="*/ 811887 h 847860"/>
                <a:gd name="connsiteX189" fmla="*/ 531178 w 1221001"/>
                <a:gd name="connsiteY189" fmla="*/ 815058 h 847860"/>
                <a:gd name="connsiteX190" fmla="*/ 536299 w 1221001"/>
                <a:gd name="connsiteY190" fmla="*/ 817009 h 847860"/>
                <a:gd name="connsiteX191" fmla="*/ 543859 w 1221001"/>
                <a:gd name="connsiteY191" fmla="*/ 819692 h 847860"/>
                <a:gd name="connsiteX192" fmla="*/ 546055 w 1221001"/>
                <a:gd name="connsiteY192" fmla="*/ 820545 h 847860"/>
                <a:gd name="connsiteX193" fmla="*/ 547152 w 1221001"/>
                <a:gd name="connsiteY193" fmla="*/ 822740 h 847860"/>
                <a:gd name="connsiteX194" fmla="*/ 548981 w 1221001"/>
                <a:gd name="connsiteY194" fmla="*/ 826276 h 847860"/>
                <a:gd name="connsiteX195" fmla="*/ 549956 w 1221001"/>
                <a:gd name="connsiteY195" fmla="*/ 828349 h 847860"/>
                <a:gd name="connsiteX196" fmla="*/ 550688 w 1221001"/>
                <a:gd name="connsiteY196" fmla="*/ 829203 h 847860"/>
                <a:gd name="connsiteX197" fmla="*/ 551176 w 1221001"/>
                <a:gd name="connsiteY197" fmla="*/ 829935 h 847860"/>
                <a:gd name="connsiteX198" fmla="*/ 551298 w 1221001"/>
                <a:gd name="connsiteY198" fmla="*/ 829935 h 847860"/>
                <a:gd name="connsiteX199" fmla="*/ 551298 w 1221001"/>
                <a:gd name="connsiteY199" fmla="*/ 829935 h 847860"/>
                <a:gd name="connsiteX200" fmla="*/ 555322 w 1221001"/>
                <a:gd name="connsiteY200" fmla="*/ 830422 h 847860"/>
                <a:gd name="connsiteX201" fmla="*/ 552273 w 1221001"/>
                <a:gd name="connsiteY201" fmla="*/ 815180 h 847860"/>
                <a:gd name="connsiteX202" fmla="*/ 551907 w 1221001"/>
                <a:gd name="connsiteY202" fmla="*/ 813351 h 847860"/>
                <a:gd name="connsiteX203" fmla="*/ 552639 w 1221001"/>
                <a:gd name="connsiteY203" fmla="*/ 811522 h 847860"/>
                <a:gd name="connsiteX204" fmla="*/ 557273 w 1221001"/>
                <a:gd name="connsiteY204" fmla="*/ 801278 h 847860"/>
                <a:gd name="connsiteX205" fmla="*/ 559590 w 1221001"/>
                <a:gd name="connsiteY205" fmla="*/ 796035 h 847860"/>
                <a:gd name="connsiteX206" fmla="*/ 564955 w 1221001"/>
                <a:gd name="connsiteY206" fmla="*/ 797986 h 847860"/>
                <a:gd name="connsiteX207" fmla="*/ 566419 w 1221001"/>
                <a:gd name="connsiteY207" fmla="*/ 798596 h 847860"/>
                <a:gd name="connsiteX208" fmla="*/ 572028 w 1221001"/>
                <a:gd name="connsiteY208" fmla="*/ 800669 h 847860"/>
                <a:gd name="connsiteX209" fmla="*/ 577881 w 1221001"/>
                <a:gd name="connsiteY209" fmla="*/ 794815 h 847860"/>
                <a:gd name="connsiteX210" fmla="*/ 580320 w 1221001"/>
                <a:gd name="connsiteY210" fmla="*/ 792377 h 847860"/>
                <a:gd name="connsiteX211" fmla="*/ 583734 w 1221001"/>
                <a:gd name="connsiteY211" fmla="*/ 793230 h 847860"/>
                <a:gd name="connsiteX212" fmla="*/ 593368 w 1221001"/>
                <a:gd name="connsiteY212" fmla="*/ 795669 h 847860"/>
                <a:gd name="connsiteX213" fmla="*/ 614829 w 1221001"/>
                <a:gd name="connsiteY213" fmla="*/ 796888 h 847860"/>
                <a:gd name="connsiteX214" fmla="*/ 622146 w 1221001"/>
                <a:gd name="connsiteY214" fmla="*/ 784207 h 847860"/>
                <a:gd name="connsiteX215" fmla="*/ 625926 w 1221001"/>
                <a:gd name="connsiteY215" fmla="*/ 777866 h 847860"/>
                <a:gd name="connsiteX216" fmla="*/ 631535 w 1221001"/>
                <a:gd name="connsiteY216" fmla="*/ 782743 h 847860"/>
                <a:gd name="connsiteX217" fmla="*/ 637754 w 1221001"/>
                <a:gd name="connsiteY217" fmla="*/ 788231 h 847860"/>
                <a:gd name="connsiteX218" fmla="*/ 639828 w 1221001"/>
                <a:gd name="connsiteY218" fmla="*/ 789938 h 847860"/>
                <a:gd name="connsiteX219" fmla="*/ 662265 w 1221001"/>
                <a:gd name="connsiteY219" fmla="*/ 789938 h 847860"/>
                <a:gd name="connsiteX220" fmla="*/ 663850 w 1221001"/>
                <a:gd name="connsiteY220" fmla="*/ 793840 h 847860"/>
                <a:gd name="connsiteX221" fmla="*/ 665801 w 1221001"/>
                <a:gd name="connsiteY221" fmla="*/ 798961 h 847860"/>
                <a:gd name="connsiteX222" fmla="*/ 666533 w 1221001"/>
                <a:gd name="connsiteY222" fmla="*/ 800669 h 847860"/>
                <a:gd name="connsiteX223" fmla="*/ 666167 w 1221001"/>
                <a:gd name="connsiteY223" fmla="*/ 802498 h 847860"/>
                <a:gd name="connsiteX224" fmla="*/ 665557 w 1221001"/>
                <a:gd name="connsiteY224" fmla="*/ 805425 h 847860"/>
                <a:gd name="connsiteX225" fmla="*/ 663972 w 1221001"/>
                <a:gd name="connsiteY225" fmla="*/ 812375 h 847860"/>
                <a:gd name="connsiteX226" fmla="*/ 672264 w 1221001"/>
                <a:gd name="connsiteY226" fmla="*/ 819570 h 847860"/>
                <a:gd name="connsiteX227" fmla="*/ 682263 w 1221001"/>
                <a:gd name="connsiteY227" fmla="*/ 818472 h 847860"/>
                <a:gd name="connsiteX228" fmla="*/ 685068 w 1221001"/>
                <a:gd name="connsiteY228" fmla="*/ 818106 h 847860"/>
                <a:gd name="connsiteX229" fmla="*/ 687019 w 1221001"/>
                <a:gd name="connsiteY229" fmla="*/ 820057 h 847860"/>
                <a:gd name="connsiteX230" fmla="*/ 690311 w 1221001"/>
                <a:gd name="connsiteY230" fmla="*/ 822984 h 847860"/>
                <a:gd name="connsiteX231" fmla="*/ 693116 w 1221001"/>
                <a:gd name="connsiteY231" fmla="*/ 825667 h 847860"/>
                <a:gd name="connsiteX232" fmla="*/ 707993 w 1221001"/>
                <a:gd name="connsiteY232" fmla="*/ 826520 h 847860"/>
                <a:gd name="connsiteX233" fmla="*/ 719943 w 1221001"/>
                <a:gd name="connsiteY233" fmla="*/ 830788 h 847860"/>
                <a:gd name="connsiteX234" fmla="*/ 719943 w 1221001"/>
                <a:gd name="connsiteY234" fmla="*/ 830788 h 847860"/>
                <a:gd name="connsiteX235" fmla="*/ 718968 w 1221001"/>
                <a:gd name="connsiteY235" fmla="*/ 842982 h 847860"/>
                <a:gd name="connsiteX236" fmla="*/ 721772 w 1221001"/>
                <a:gd name="connsiteY236" fmla="*/ 847250 h 847860"/>
                <a:gd name="connsiteX237" fmla="*/ 725553 w 1221001"/>
                <a:gd name="connsiteY237" fmla="*/ 847860 h 847860"/>
                <a:gd name="connsiteX238" fmla="*/ 727260 w 1221001"/>
                <a:gd name="connsiteY238" fmla="*/ 839080 h 847860"/>
                <a:gd name="connsiteX239" fmla="*/ 741161 w 1221001"/>
                <a:gd name="connsiteY239" fmla="*/ 835056 h 847860"/>
                <a:gd name="connsiteX240" fmla="*/ 747014 w 1221001"/>
                <a:gd name="connsiteY240" fmla="*/ 829325 h 847860"/>
                <a:gd name="connsiteX241" fmla="*/ 754819 w 1221001"/>
                <a:gd name="connsiteY241" fmla="*/ 828349 h 847860"/>
                <a:gd name="connsiteX242" fmla="*/ 762501 w 1221001"/>
                <a:gd name="connsiteY242" fmla="*/ 823472 h 847860"/>
                <a:gd name="connsiteX243" fmla="*/ 772744 w 1221001"/>
                <a:gd name="connsiteY243" fmla="*/ 823472 h 847860"/>
                <a:gd name="connsiteX244" fmla="*/ 784938 w 1221001"/>
                <a:gd name="connsiteY244" fmla="*/ 813960 h 847860"/>
                <a:gd name="connsiteX245" fmla="*/ 789816 w 1221001"/>
                <a:gd name="connsiteY245" fmla="*/ 799449 h 847860"/>
                <a:gd name="connsiteX246" fmla="*/ 799083 w 1221001"/>
                <a:gd name="connsiteY246" fmla="*/ 795913 h 847860"/>
                <a:gd name="connsiteX247" fmla="*/ 806765 w 1221001"/>
                <a:gd name="connsiteY247" fmla="*/ 799693 h 847860"/>
                <a:gd name="connsiteX248" fmla="*/ 806765 w 1221001"/>
                <a:gd name="connsiteY248" fmla="*/ 807375 h 847860"/>
                <a:gd name="connsiteX249" fmla="*/ 813228 w 1221001"/>
                <a:gd name="connsiteY249" fmla="*/ 810912 h 847860"/>
                <a:gd name="connsiteX250" fmla="*/ 827739 w 1221001"/>
                <a:gd name="connsiteY250" fmla="*/ 801766 h 847860"/>
                <a:gd name="connsiteX251" fmla="*/ 837861 w 1221001"/>
                <a:gd name="connsiteY251" fmla="*/ 801766 h 847860"/>
                <a:gd name="connsiteX252" fmla="*/ 847250 w 1221001"/>
                <a:gd name="connsiteY252" fmla="*/ 792377 h 847860"/>
                <a:gd name="connsiteX253" fmla="*/ 858103 w 1221001"/>
                <a:gd name="connsiteY253" fmla="*/ 791523 h 847860"/>
                <a:gd name="connsiteX254" fmla="*/ 861639 w 1221001"/>
                <a:gd name="connsiteY254" fmla="*/ 782499 h 847860"/>
                <a:gd name="connsiteX255" fmla="*/ 882126 w 1221001"/>
                <a:gd name="connsiteY255" fmla="*/ 773110 h 847860"/>
                <a:gd name="connsiteX256" fmla="*/ 883101 w 1221001"/>
                <a:gd name="connsiteY256" fmla="*/ 763111 h 847860"/>
                <a:gd name="connsiteX257" fmla="*/ 894686 w 1221001"/>
                <a:gd name="connsiteY257" fmla="*/ 753721 h 847860"/>
                <a:gd name="connsiteX258" fmla="*/ 901636 w 1221001"/>
                <a:gd name="connsiteY258" fmla="*/ 752746 h 847860"/>
                <a:gd name="connsiteX259" fmla="*/ 905172 w 1221001"/>
                <a:gd name="connsiteY259" fmla="*/ 744697 h 847860"/>
                <a:gd name="connsiteX260" fmla="*/ 916147 w 1221001"/>
                <a:gd name="connsiteY260" fmla="*/ 739210 h 847860"/>
                <a:gd name="connsiteX261" fmla="*/ 917123 w 1221001"/>
                <a:gd name="connsiteY261" fmla="*/ 718236 h 847860"/>
                <a:gd name="connsiteX262" fmla="*/ 925537 w 1221001"/>
                <a:gd name="connsiteY262" fmla="*/ 715432 h 847860"/>
                <a:gd name="connsiteX263" fmla="*/ 925537 w 1221001"/>
                <a:gd name="connsiteY263" fmla="*/ 704701 h 847860"/>
                <a:gd name="connsiteX264" fmla="*/ 938828 w 1221001"/>
                <a:gd name="connsiteY264" fmla="*/ 691409 h 847860"/>
                <a:gd name="connsiteX265" fmla="*/ 939804 w 1221001"/>
                <a:gd name="connsiteY265" fmla="*/ 684580 h 847860"/>
                <a:gd name="connsiteX266" fmla="*/ 949681 w 1221001"/>
                <a:gd name="connsiteY266" fmla="*/ 677752 h 847860"/>
                <a:gd name="connsiteX267" fmla="*/ 951998 w 1221001"/>
                <a:gd name="connsiteY267" fmla="*/ 673118 h 847860"/>
                <a:gd name="connsiteX268" fmla="*/ 951023 w 1221001"/>
                <a:gd name="connsiteY268" fmla="*/ 663362 h 847860"/>
                <a:gd name="connsiteX269" fmla="*/ 959437 w 1221001"/>
                <a:gd name="connsiteY269" fmla="*/ 652997 h 847860"/>
                <a:gd name="connsiteX270" fmla="*/ 957729 w 1221001"/>
                <a:gd name="connsiteY270" fmla="*/ 639706 h 847860"/>
                <a:gd name="connsiteX271" fmla="*/ 952974 w 1221001"/>
                <a:gd name="connsiteY271" fmla="*/ 636291 h 847860"/>
                <a:gd name="connsiteX272" fmla="*/ 943706 w 1221001"/>
                <a:gd name="connsiteY272" fmla="*/ 640925 h 847860"/>
                <a:gd name="connsiteX273" fmla="*/ 937609 w 1221001"/>
                <a:gd name="connsiteY273" fmla="*/ 637877 h 847860"/>
                <a:gd name="connsiteX274" fmla="*/ 938950 w 1221001"/>
                <a:gd name="connsiteY274" fmla="*/ 627877 h 847860"/>
                <a:gd name="connsiteX275" fmla="*/ 951388 w 1221001"/>
                <a:gd name="connsiteY275" fmla="*/ 619585 h 847860"/>
                <a:gd name="connsiteX276" fmla="*/ 958217 w 1221001"/>
                <a:gd name="connsiteY276" fmla="*/ 616537 h 847860"/>
                <a:gd name="connsiteX277" fmla="*/ 956022 w 1221001"/>
                <a:gd name="connsiteY277" fmla="*/ 609342 h 847860"/>
                <a:gd name="connsiteX278" fmla="*/ 945291 w 1221001"/>
                <a:gd name="connsiteY278" fmla="*/ 598611 h 847860"/>
                <a:gd name="connsiteX279" fmla="*/ 945291 w 1221001"/>
                <a:gd name="connsiteY279" fmla="*/ 598611 h 847860"/>
                <a:gd name="connsiteX280" fmla="*/ 945291 w 1221001"/>
                <a:gd name="connsiteY280" fmla="*/ 598611 h 847860"/>
                <a:gd name="connsiteX281" fmla="*/ 957607 w 1221001"/>
                <a:gd name="connsiteY281" fmla="*/ 598611 h 847860"/>
                <a:gd name="connsiteX282" fmla="*/ 957607 w 1221001"/>
                <a:gd name="connsiteY282" fmla="*/ 594831 h 847860"/>
                <a:gd name="connsiteX283" fmla="*/ 950657 w 1221001"/>
                <a:gd name="connsiteY283" fmla="*/ 586051 h 847860"/>
                <a:gd name="connsiteX284" fmla="*/ 940657 w 1221001"/>
                <a:gd name="connsiteY284" fmla="*/ 577150 h 847860"/>
                <a:gd name="connsiteX285" fmla="*/ 939804 w 1221001"/>
                <a:gd name="connsiteY285" fmla="*/ 560078 h 847860"/>
                <a:gd name="connsiteX286" fmla="*/ 933219 w 1221001"/>
                <a:gd name="connsiteY286" fmla="*/ 553493 h 847860"/>
                <a:gd name="connsiteX287" fmla="*/ 931390 w 1221001"/>
                <a:gd name="connsiteY287" fmla="*/ 538982 h 847860"/>
                <a:gd name="connsiteX288" fmla="*/ 918952 w 1221001"/>
                <a:gd name="connsiteY288" fmla="*/ 535446 h 847860"/>
                <a:gd name="connsiteX289" fmla="*/ 905416 w 1221001"/>
                <a:gd name="connsiteY289" fmla="*/ 522886 h 847860"/>
                <a:gd name="connsiteX290" fmla="*/ 908709 w 1221001"/>
                <a:gd name="connsiteY290" fmla="*/ 510691 h 847860"/>
                <a:gd name="connsiteX291" fmla="*/ 919805 w 1221001"/>
                <a:gd name="connsiteY291" fmla="*/ 501424 h 847860"/>
                <a:gd name="connsiteX292" fmla="*/ 919805 w 1221001"/>
                <a:gd name="connsiteY292" fmla="*/ 497766 h 847860"/>
                <a:gd name="connsiteX293" fmla="*/ 930658 w 1221001"/>
                <a:gd name="connsiteY293" fmla="*/ 486913 h 847860"/>
                <a:gd name="connsiteX294" fmla="*/ 935292 w 1221001"/>
                <a:gd name="connsiteY294" fmla="*/ 492766 h 847860"/>
                <a:gd name="connsiteX295" fmla="*/ 941023 w 1221001"/>
                <a:gd name="connsiteY295" fmla="*/ 492766 h 847860"/>
                <a:gd name="connsiteX296" fmla="*/ 950291 w 1221001"/>
                <a:gd name="connsiteY296" fmla="*/ 484352 h 847860"/>
                <a:gd name="connsiteX297" fmla="*/ 951388 w 1221001"/>
                <a:gd name="connsiteY297" fmla="*/ 479109 h 847860"/>
                <a:gd name="connsiteX298" fmla="*/ 961266 w 1221001"/>
                <a:gd name="connsiteY298" fmla="*/ 475694 h 847860"/>
                <a:gd name="connsiteX299" fmla="*/ 970899 w 1221001"/>
                <a:gd name="connsiteY299" fmla="*/ 475694 h 847860"/>
                <a:gd name="connsiteX300" fmla="*/ 973460 w 1221001"/>
                <a:gd name="connsiteY300" fmla="*/ 471792 h 847860"/>
                <a:gd name="connsiteX301" fmla="*/ 971509 w 1221001"/>
                <a:gd name="connsiteY301" fmla="*/ 465695 h 847860"/>
                <a:gd name="connsiteX302" fmla="*/ 946754 w 1221001"/>
                <a:gd name="connsiteY302" fmla="*/ 463866 h 847860"/>
                <a:gd name="connsiteX303" fmla="*/ 940292 w 1221001"/>
                <a:gd name="connsiteY303" fmla="*/ 459232 h 847860"/>
                <a:gd name="connsiteX304" fmla="*/ 934926 w 1221001"/>
                <a:gd name="connsiteY304" fmla="*/ 460086 h 847860"/>
                <a:gd name="connsiteX305" fmla="*/ 913952 w 1221001"/>
                <a:gd name="connsiteY305" fmla="*/ 472402 h 847860"/>
                <a:gd name="connsiteX306" fmla="*/ 899807 w 1221001"/>
                <a:gd name="connsiteY306" fmla="*/ 471304 h 847860"/>
                <a:gd name="connsiteX307" fmla="*/ 900783 w 1221001"/>
                <a:gd name="connsiteY307" fmla="*/ 457037 h 847860"/>
                <a:gd name="connsiteX308" fmla="*/ 886637 w 1221001"/>
                <a:gd name="connsiteY308" fmla="*/ 455208 h 847860"/>
                <a:gd name="connsiteX309" fmla="*/ 875053 w 1221001"/>
                <a:gd name="connsiteY309" fmla="*/ 437283 h 847860"/>
                <a:gd name="connsiteX310" fmla="*/ 881760 w 1221001"/>
                <a:gd name="connsiteY310" fmla="*/ 423869 h 847860"/>
                <a:gd name="connsiteX311" fmla="*/ 896758 w 1221001"/>
                <a:gd name="connsiteY311" fmla="*/ 421918 h 847860"/>
                <a:gd name="connsiteX312" fmla="*/ 900904 w 1221001"/>
                <a:gd name="connsiteY312" fmla="*/ 419845 h 847860"/>
                <a:gd name="connsiteX313" fmla="*/ 900904 w 1221001"/>
                <a:gd name="connsiteY313" fmla="*/ 415577 h 847860"/>
                <a:gd name="connsiteX314" fmla="*/ 908709 w 1221001"/>
                <a:gd name="connsiteY314" fmla="*/ 407773 h 847860"/>
                <a:gd name="connsiteX315" fmla="*/ 911757 w 1221001"/>
                <a:gd name="connsiteY315" fmla="*/ 397774 h 847860"/>
                <a:gd name="connsiteX316" fmla="*/ 927488 w 1221001"/>
                <a:gd name="connsiteY316" fmla="*/ 391920 h 847860"/>
                <a:gd name="connsiteX317" fmla="*/ 944925 w 1221001"/>
                <a:gd name="connsiteY317" fmla="*/ 377409 h 847860"/>
                <a:gd name="connsiteX318" fmla="*/ 964558 w 1221001"/>
                <a:gd name="connsiteY318" fmla="*/ 379482 h 847860"/>
                <a:gd name="connsiteX319" fmla="*/ 965777 w 1221001"/>
                <a:gd name="connsiteY319" fmla="*/ 394359 h 847860"/>
                <a:gd name="connsiteX320" fmla="*/ 965777 w 1221001"/>
                <a:gd name="connsiteY320" fmla="*/ 394359 h 847860"/>
                <a:gd name="connsiteX321" fmla="*/ 951754 w 1221001"/>
                <a:gd name="connsiteY321" fmla="*/ 411919 h 847860"/>
                <a:gd name="connsiteX322" fmla="*/ 960168 w 1221001"/>
                <a:gd name="connsiteY322" fmla="*/ 416187 h 847860"/>
                <a:gd name="connsiteX323" fmla="*/ 959437 w 1221001"/>
                <a:gd name="connsiteY323" fmla="*/ 423625 h 847860"/>
                <a:gd name="connsiteX324" fmla="*/ 970167 w 1221001"/>
                <a:gd name="connsiteY324" fmla="*/ 419235 h 847860"/>
                <a:gd name="connsiteX325" fmla="*/ 992361 w 1221001"/>
                <a:gd name="connsiteY325" fmla="*/ 405822 h 847860"/>
                <a:gd name="connsiteX326" fmla="*/ 1004189 w 1221001"/>
                <a:gd name="connsiteY326" fmla="*/ 402895 h 847860"/>
                <a:gd name="connsiteX327" fmla="*/ 1005286 w 1221001"/>
                <a:gd name="connsiteY327" fmla="*/ 400700 h 847860"/>
                <a:gd name="connsiteX328" fmla="*/ 1009676 w 1221001"/>
                <a:gd name="connsiteY328" fmla="*/ 391798 h 847860"/>
                <a:gd name="connsiteX329" fmla="*/ 1013334 w 1221001"/>
                <a:gd name="connsiteY329" fmla="*/ 384482 h 847860"/>
                <a:gd name="connsiteX330" fmla="*/ 1014432 w 1221001"/>
                <a:gd name="connsiteY330" fmla="*/ 382287 h 847860"/>
                <a:gd name="connsiteX331" fmla="*/ 1016749 w 1221001"/>
                <a:gd name="connsiteY331" fmla="*/ 381433 h 847860"/>
                <a:gd name="connsiteX332" fmla="*/ 1026748 w 1221001"/>
                <a:gd name="connsiteY332" fmla="*/ 377897 h 847860"/>
                <a:gd name="connsiteX333" fmla="*/ 1041137 w 1221001"/>
                <a:gd name="connsiteY333" fmla="*/ 372775 h 847860"/>
                <a:gd name="connsiteX334" fmla="*/ 1050283 w 1221001"/>
                <a:gd name="connsiteY334" fmla="*/ 357289 h 847860"/>
                <a:gd name="connsiteX335" fmla="*/ 1055892 w 1221001"/>
                <a:gd name="connsiteY335" fmla="*/ 347899 h 847860"/>
                <a:gd name="connsiteX336" fmla="*/ 1057844 w 1221001"/>
                <a:gd name="connsiteY336" fmla="*/ 344485 h 847860"/>
                <a:gd name="connsiteX337" fmla="*/ 1061867 w 1221001"/>
                <a:gd name="connsiteY337" fmla="*/ 344973 h 847860"/>
                <a:gd name="connsiteX338" fmla="*/ 1067111 w 1221001"/>
                <a:gd name="connsiteY338" fmla="*/ 345583 h 847860"/>
                <a:gd name="connsiteX339" fmla="*/ 1072476 w 1221001"/>
                <a:gd name="connsiteY339" fmla="*/ 346192 h 847860"/>
                <a:gd name="connsiteX340" fmla="*/ 1072476 w 1221001"/>
                <a:gd name="connsiteY340" fmla="*/ 351680 h 847860"/>
                <a:gd name="connsiteX341" fmla="*/ 1072476 w 1221001"/>
                <a:gd name="connsiteY341" fmla="*/ 358874 h 847860"/>
                <a:gd name="connsiteX342" fmla="*/ 1072476 w 1221001"/>
                <a:gd name="connsiteY342" fmla="*/ 359728 h 847860"/>
                <a:gd name="connsiteX343" fmla="*/ 1074793 w 1221001"/>
                <a:gd name="connsiteY343" fmla="*/ 359606 h 847860"/>
                <a:gd name="connsiteX344" fmla="*/ 1082841 w 1221001"/>
                <a:gd name="connsiteY344" fmla="*/ 359118 h 847860"/>
                <a:gd name="connsiteX345" fmla="*/ 1087719 w 1221001"/>
                <a:gd name="connsiteY345" fmla="*/ 354240 h 847860"/>
                <a:gd name="connsiteX346" fmla="*/ 1085158 w 1221001"/>
                <a:gd name="connsiteY346" fmla="*/ 343022 h 847860"/>
                <a:gd name="connsiteX347" fmla="*/ 1083329 w 1221001"/>
                <a:gd name="connsiteY347" fmla="*/ 335096 h 847860"/>
                <a:gd name="connsiteX348" fmla="*/ 1091499 w 1221001"/>
                <a:gd name="connsiteY348" fmla="*/ 335583 h 847860"/>
                <a:gd name="connsiteX349" fmla="*/ 1094548 w 1221001"/>
                <a:gd name="connsiteY349" fmla="*/ 335827 h 847860"/>
                <a:gd name="connsiteX350" fmla="*/ 1101986 w 1221001"/>
                <a:gd name="connsiteY350" fmla="*/ 336315 h 847860"/>
                <a:gd name="connsiteX351" fmla="*/ 1117229 w 1221001"/>
                <a:gd name="connsiteY351" fmla="*/ 320341 h 847860"/>
                <a:gd name="connsiteX352" fmla="*/ 1114180 w 1221001"/>
                <a:gd name="connsiteY352" fmla="*/ 318268 h 847860"/>
                <a:gd name="connsiteX353" fmla="*/ 1121253 w 1221001"/>
                <a:gd name="connsiteY353" fmla="*/ 316195 h 847860"/>
                <a:gd name="connsiteX354" fmla="*/ 1122838 w 1221001"/>
                <a:gd name="connsiteY354" fmla="*/ 314487 h 847860"/>
                <a:gd name="connsiteX355" fmla="*/ 1124058 w 1221001"/>
                <a:gd name="connsiteY355" fmla="*/ 315341 h 847860"/>
                <a:gd name="connsiteX356" fmla="*/ 1126618 w 1221001"/>
                <a:gd name="connsiteY356" fmla="*/ 314609 h 847860"/>
                <a:gd name="connsiteX357" fmla="*/ 1145275 w 1221001"/>
                <a:gd name="connsiteY357" fmla="*/ 308878 h 847860"/>
                <a:gd name="connsiteX358" fmla="*/ 1147714 w 1221001"/>
                <a:gd name="connsiteY358" fmla="*/ 289733 h 847860"/>
                <a:gd name="connsiteX359" fmla="*/ 1143324 w 1221001"/>
                <a:gd name="connsiteY359" fmla="*/ 276807 h 847860"/>
                <a:gd name="connsiteX360" fmla="*/ 1140032 w 1221001"/>
                <a:gd name="connsiteY360" fmla="*/ 266930 h 847860"/>
                <a:gd name="connsiteX361" fmla="*/ 1138203 w 1221001"/>
                <a:gd name="connsiteY361" fmla="*/ 261565 h 847860"/>
                <a:gd name="connsiteX362" fmla="*/ 1143446 w 1221001"/>
                <a:gd name="connsiteY362" fmla="*/ 259370 h 847860"/>
                <a:gd name="connsiteX363" fmla="*/ 1158080 w 1221001"/>
                <a:gd name="connsiteY363" fmla="*/ 253273 h 847860"/>
                <a:gd name="connsiteX364" fmla="*/ 1160030 w 1221001"/>
                <a:gd name="connsiteY364" fmla="*/ 252541 h 847860"/>
                <a:gd name="connsiteX365" fmla="*/ 1161981 w 1221001"/>
                <a:gd name="connsiteY365" fmla="*/ 253029 h 847860"/>
                <a:gd name="connsiteX366" fmla="*/ 1175517 w 1221001"/>
                <a:gd name="connsiteY366" fmla="*/ 256809 h 847860"/>
                <a:gd name="connsiteX367" fmla="*/ 1189418 w 1221001"/>
                <a:gd name="connsiteY367" fmla="*/ 250956 h 847860"/>
                <a:gd name="connsiteX368" fmla="*/ 1194906 w 1221001"/>
                <a:gd name="connsiteY368" fmla="*/ 226446 h 847860"/>
                <a:gd name="connsiteX369" fmla="*/ 1198686 w 1221001"/>
                <a:gd name="connsiteY369" fmla="*/ 209862 h 847860"/>
                <a:gd name="connsiteX370" fmla="*/ 1199174 w 1221001"/>
                <a:gd name="connsiteY370" fmla="*/ 207667 h 847860"/>
                <a:gd name="connsiteX371" fmla="*/ 1201125 w 1221001"/>
                <a:gd name="connsiteY371" fmla="*/ 206203 h 847860"/>
                <a:gd name="connsiteX372" fmla="*/ 1214782 w 1221001"/>
                <a:gd name="connsiteY372" fmla="*/ 196326 h 847860"/>
                <a:gd name="connsiteX373" fmla="*/ 1221001 w 1221001"/>
                <a:gd name="connsiteY373" fmla="*/ 163036 h 847860"/>
                <a:gd name="connsiteX374" fmla="*/ 1217465 w 1221001"/>
                <a:gd name="connsiteY374" fmla="*/ 161817 h 847860"/>
                <a:gd name="connsiteX375" fmla="*/ 1196857 w 1221001"/>
                <a:gd name="connsiteY375" fmla="*/ 174742 h 847860"/>
                <a:gd name="connsiteX376" fmla="*/ 1195515 w 1221001"/>
                <a:gd name="connsiteY376" fmla="*/ 175596 h 847860"/>
                <a:gd name="connsiteX377" fmla="*/ 1194052 w 1221001"/>
                <a:gd name="connsiteY377" fmla="*/ 175596 h 847860"/>
                <a:gd name="connsiteX378" fmla="*/ 1186492 w 1221001"/>
                <a:gd name="connsiteY378" fmla="*/ 176206 h 847860"/>
                <a:gd name="connsiteX379" fmla="*/ 1175639 w 1221001"/>
                <a:gd name="connsiteY379" fmla="*/ 176937 h 847860"/>
                <a:gd name="connsiteX380" fmla="*/ 1166859 w 1221001"/>
                <a:gd name="connsiteY380" fmla="*/ 181937 h 847860"/>
                <a:gd name="connsiteX381" fmla="*/ 1165762 w 1221001"/>
                <a:gd name="connsiteY381" fmla="*/ 182669 h 847860"/>
                <a:gd name="connsiteX382" fmla="*/ 1164420 w 1221001"/>
                <a:gd name="connsiteY382" fmla="*/ 182790 h 847860"/>
                <a:gd name="connsiteX383" fmla="*/ 1151007 w 1221001"/>
                <a:gd name="connsiteY383" fmla="*/ 184010 h 847860"/>
                <a:gd name="connsiteX384" fmla="*/ 1146007 w 1221001"/>
                <a:gd name="connsiteY384" fmla="*/ 184376 h 847860"/>
                <a:gd name="connsiteX385" fmla="*/ 1144544 w 1221001"/>
                <a:gd name="connsiteY385" fmla="*/ 179620 h 847860"/>
                <a:gd name="connsiteX386" fmla="*/ 1140520 w 1221001"/>
                <a:gd name="connsiteY386" fmla="*/ 166084 h 847860"/>
                <a:gd name="connsiteX387" fmla="*/ 1136861 w 1221001"/>
                <a:gd name="connsiteY387" fmla="*/ 153890 h 847860"/>
                <a:gd name="connsiteX388" fmla="*/ 1125765 w 1221001"/>
                <a:gd name="connsiteY388" fmla="*/ 142916 h 847860"/>
                <a:gd name="connsiteX389" fmla="*/ 1114058 w 1221001"/>
                <a:gd name="connsiteY389" fmla="*/ 131087 h 847860"/>
                <a:gd name="connsiteX390" fmla="*/ 1097230 w 1221001"/>
                <a:gd name="connsiteY390" fmla="*/ 124624 h 847860"/>
                <a:gd name="connsiteX391" fmla="*/ 1080768 w 1221001"/>
                <a:gd name="connsiteY391" fmla="*/ 123283 h 847860"/>
                <a:gd name="connsiteX392" fmla="*/ 1075891 w 1221001"/>
                <a:gd name="connsiteY392" fmla="*/ 122917 h 847860"/>
                <a:gd name="connsiteX393" fmla="*/ 1075159 w 1221001"/>
                <a:gd name="connsiteY393" fmla="*/ 118161 h 847860"/>
                <a:gd name="connsiteX394" fmla="*/ 1071379 w 1221001"/>
                <a:gd name="connsiteY394" fmla="*/ 92310 h 847860"/>
                <a:gd name="connsiteX395" fmla="*/ 1066257 w 1221001"/>
                <a:gd name="connsiteY395" fmla="*/ 81701 h 847860"/>
                <a:gd name="connsiteX396" fmla="*/ 1057478 w 1221001"/>
                <a:gd name="connsiteY396" fmla="*/ 63166 h 847860"/>
                <a:gd name="connsiteX397" fmla="*/ 1057112 w 1221001"/>
                <a:gd name="connsiteY397" fmla="*/ 62190 h 847860"/>
                <a:gd name="connsiteX398" fmla="*/ 1056990 w 1221001"/>
                <a:gd name="connsiteY398" fmla="*/ 61093 h 847860"/>
                <a:gd name="connsiteX399" fmla="*/ 1055648 w 1221001"/>
                <a:gd name="connsiteY399" fmla="*/ 46582 h 847860"/>
                <a:gd name="connsiteX400" fmla="*/ 1049430 w 1221001"/>
                <a:gd name="connsiteY400" fmla="*/ 34631 h 847860"/>
                <a:gd name="connsiteX401" fmla="*/ 1038454 w 1221001"/>
                <a:gd name="connsiteY401" fmla="*/ 13535 h 847860"/>
                <a:gd name="connsiteX402" fmla="*/ 1032114 w 1221001"/>
                <a:gd name="connsiteY402" fmla="*/ 12316 h 847860"/>
                <a:gd name="connsiteX403" fmla="*/ 1019188 w 1221001"/>
                <a:gd name="connsiteY403" fmla="*/ 9755 h 847860"/>
                <a:gd name="connsiteX404" fmla="*/ 1018822 w 1221001"/>
                <a:gd name="connsiteY404" fmla="*/ 9633 h 847860"/>
                <a:gd name="connsiteX405" fmla="*/ 1018456 w 1221001"/>
                <a:gd name="connsiteY405" fmla="*/ 9511 h 847860"/>
                <a:gd name="connsiteX406" fmla="*/ 989434 w 1221001"/>
                <a:gd name="connsiteY406" fmla="*/ 366 h 847860"/>
                <a:gd name="connsiteX407" fmla="*/ 988215 w 1221001"/>
                <a:gd name="connsiteY407" fmla="*/ 0 h 847860"/>
                <a:gd name="connsiteX408" fmla="*/ 963095 w 1221001"/>
                <a:gd name="connsiteY408" fmla="*/ 3049 h 847860"/>
                <a:gd name="connsiteX409" fmla="*/ 945657 w 1221001"/>
                <a:gd name="connsiteY409" fmla="*/ 5243 h 847860"/>
                <a:gd name="connsiteX410" fmla="*/ 940657 w 1221001"/>
                <a:gd name="connsiteY410" fmla="*/ 13414 h 847860"/>
                <a:gd name="connsiteX411" fmla="*/ 930902 w 1221001"/>
                <a:gd name="connsiteY411" fmla="*/ 29388 h 847860"/>
                <a:gd name="connsiteX412" fmla="*/ 934560 w 1221001"/>
                <a:gd name="connsiteY412" fmla="*/ 29022 h 847860"/>
                <a:gd name="connsiteX413" fmla="*/ 941999 w 1221001"/>
                <a:gd name="connsiteY413" fmla="*/ 28290 h 847860"/>
                <a:gd name="connsiteX414" fmla="*/ 941267 w 1221001"/>
                <a:gd name="connsiteY414" fmla="*/ 35607 h 847860"/>
                <a:gd name="connsiteX415" fmla="*/ 940170 w 1221001"/>
                <a:gd name="connsiteY415" fmla="*/ 47801 h 847860"/>
                <a:gd name="connsiteX416" fmla="*/ 939926 w 1221001"/>
                <a:gd name="connsiteY416" fmla="*/ 50362 h 847860"/>
                <a:gd name="connsiteX417" fmla="*/ 937975 w 1221001"/>
                <a:gd name="connsiteY417" fmla="*/ 51947 h 847860"/>
                <a:gd name="connsiteX418" fmla="*/ 933585 w 1221001"/>
                <a:gd name="connsiteY418" fmla="*/ 55483 h 847860"/>
                <a:gd name="connsiteX419" fmla="*/ 925415 w 1221001"/>
                <a:gd name="connsiteY419" fmla="*/ 61946 h 847860"/>
                <a:gd name="connsiteX420" fmla="*/ 918708 w 1221001"/>
                <a:gd name="connsiteY420" fmla="*/ 84262 h 847860"/>
                <a:gd name="connsiteX421" fmla="*/ 917489 w 1221001"/>
                <a:gd name="connsiteY421" fmla="*/ 88408 h 847860"/>
                <a:gd name="connsiteX422" fmla="*/ 916879 w 1221001"/>
                <a:gd name="connsiteY422" fmla="*/ 90725 h 847860"/>
                <a:gd name="connsiteX423" fmla="*/ 914684 w 1221001"/>
                <a:gd name="connsiteY423" fmla="*/ 91822 h 847860"/>
                <a:gd name="connsiteX424" fmla="*/ 907733 w 1221001"/>
                <a:gd name="connsiteY424" fmla="*/ 95846 h 847860"/>
                <a:gd name="connsiteX425" fmla="*/ 908099 w 1221001"/>
                <a:gd name="connsiteY425" fmla="*/ 101333 h 847860"/>
                <a:gd name="connsiteX426" fmla="*/ 908831 w 1221001"/>
                <a:gd name="connsiteY426" fmla="*/ 109138 h 847860"/>
                <a:gd name="connsiteX427" fmla="*/ 909075 w 1221001"/>
                <a:gd name="connsiteY427" fmla="*/ 112674 h 847860"/>
                <a:gd name="connsiteX428" fmla="*/ 906148 w 1221001"/>
                <a:gd name="connsiteY428" fmla="*/ 114625 h 847860"/>
                <a:gd name="connsiteX429" fmla="*/ 892247 w 1221001"/>
                <a:gd name="connsiteY429" fmla="*/ 124136 h 847860"/>
                <a:gd name="connsiteX430" fmla="*/ 877492 w 1221001"/>
                <a:gd name="connsiteY430" fmla="*/ 134258 h 847860"/>
                <a:gd name="connsiteX431" fmla="*/ 873102 w 1221001"/>
                <a:gd name="connsiteY431" fmla="*/ 137184 h 847860"/>
                <a:gd name="connsiteX432" fmla="*/ 869566 w 1221001"/>
                <a:gd name="connsiteY432" fmla="*/ 133404 h 847860"/>
                <a:gd name="connsiteX433" fmla="*/ 864078 w 1221001"/>
                <a:gd name="connsiteY433" fmla="*/ 127551 h 847860"/>
                <a:gd name="connsiteX434" fmla="*/ 863224 w 1221001"/>
                <a:gd name="connsiteY434" fmla="*/ 129258 h 847860"/>
                <a:gd name="connsiteX435" fmla="*/ 854932 w 1221001"/>
                <a:gd name="connsiteY435" fmla="*/ 148647 h 847860"/>
                <a:gd name="connsiteX436" fmla="*/ 850543 w 1221001"/>
                <a:gd name="connsiteY436" fmla="*/ 158768 h 847860"/>
                <a:gd name="connsiteX437" fmla="*/ 850177 w 1221001"/>
                <a:gd name="connsiteY437" fmla="*/ 159622 h 847860"/>
                <a:gd name="connsiteX438" fmla="*/ 849567 w 1221001"/>
                <a:gd name="connsiteY438" fmla="*/ 160353 h 847860"/>
                <a:gd name="connsiteX439" fmla="*/ 840665 w 1221001"/>
                <a:gd name="connsiteY439" fmla="*/ 170474 h 847860"/>
                <a:gd name="connsiteX440" fmla="*/ 839690 w 1221001"/>
                <a:gd name="connsiteY440" fmla="*/ 179498 h 847860"/>
                <a:gd name="connsiteX441" fmla="*/ 845909 w 1221001"/>
                <a:gd name="connsiteY441" fmla="*/ 183400 h 847860"/>
                <a:gd name="connsiteX442" fmla="*/ 847494 w 1221001"/>
                <a:gd name="connsiteY442" fmla="*/ 181571 h 847860"/>
                <a:gd name="connsiteX443" fmla="*/ 849689 w 1221001"/>
                <a:gd name="connsiteY443" fmla="*/ 178888 h 847860"/>
                <a:gd name="connsiteX444" fmla="*/ 852859 w 1221001"/>
                <a:gd name="connsiteY444" fmla="*/ 175108 h 847860"/>
                <a:gd name="connsiteX445" fmla="*/ 857249 w 1221001"/>
                <a:gd name="connsiteY445" fmla="*/ 177547 h 847860"/>
                <a:gd name="connsiteX446" fmla="*/ 868224 w 1221001"/>
                <a:gd name="connsiteY446" fmla="*/ 183400 h 847860"/>
                <a:gd name="connsiteX447" fmla="*/ 873833 w 1221001"/>
                <a:gd name="connsiteY447" fmla="*/ 174986 h 847860"/>
                <a:gd name="connsiteX448" fmla="*/ 876272 w 1221001"/>
                <a:gd name="connsiteY448" fmla="*/ 171206 h 847860"/>
                <a:gd name="connsiteX449" fmla="*/ 880662 w 1221001"/>
                <a:gd name="connsiteY449" fmla="*/ 172547 h 847860"/>
                <a:gd name="connsiteX450" fmla="*/ 910782 w 1221001"/>
                <a:gd name="connsiteY450" fmla="*/ 181693 h 847860"/>
                <a:gd name="connsiteX451" fmla="*/ 913708 w 1221001"/>
                <a:gd name="connsiteY451" fmla="*/ 182547 h 847860"/>
                <a:gd name="connsiteX452" fmla="*/ 914684 w 1221001"/>
                <a:gd name="connsiteY452" fmla="*/ 185351 h 847860"/>
                <a:gd name="connsiteX453" fmla="*/ 922244 w 1221001"/>
                <a:gd name="connsiteY453" fmla="*/ 205594 h 847860"/>
                <a:gd name="connsiteX454" fmla="*/ 923951 w 1221001"/>
                <a:gd name="connsiteY454" fmla="*/ 210105 h 847860"/>
                <a:gd name="connsiteX455" fmla="*/ 919927 w 1221001"/>
                <a:gd name="connsiteY455" fmla="*/ 212788 h 847860"/>
                <a:gd name="connsiteX456" fmla="*/ 913708 w 1221001"/>
                <a:gd name="connsiteY456" fmla="*/ 216934 h 847860"/>
                <a:gd name="connsiteX457" fmla="*/ 911148 w 1221001"/>
                <a:gd name="connsiteY457" fmla="*/ 218519 h 847860"/>
                <a:gd name="connsiteX458" fmla="*/ 908343 w 1221001"/>
                <a:gd name="connsiteY458" fmla="*/ 217666 h 847860"/>
                <a:gd name="connsiteX459" fmla="*/ 897368 w 1221001"/>
                <a:gd name="connsiteY459" fmla="*/ 214008 h 847860"/>
                <a:gd name="connsiteX460" fmla="*/ 885296 w 1221001"/>
                <a:gd name="connsiteY460" fmla="*/ 214983 h 847860"/>
                <a:gd name="connsiteX461" fmla="*/ 886027 w 1221001"/>
                <a:gd name="connsiteY461" fmla="*/ 220470 h 847860"/>
                <a:gd name="connsiteX462" fmla="*/ 886637 w 1221001"/>
                <a:gd name="connsiteY462" fmla="*/ 225470 h 847860"/>
                <a:gd name="connsiteX463" fmla="*/ 881881 w 1221001"/>
                <a:gd name="connsiteY463" fmla="*/ 227055 h 847860"/>
                <a:gd name="connsiteX464" fmla="*/ 872248 w 1221001"/>
                <a:gd name="connsiteY464" fmla="*/ 230226 h 847860"/>
                <a:gd name="connsiteX465" fmla="*/ 867980 w 1221001"/>
                <a:gd name="connsiteY465" fmla="*/ 231689 h 847860"/>
                <a:gd name="connsiteX466" fmla="*/ 865298 w 1221001"/>
                <a:gd name="connsiteY466" fmla="*/ 228031 h 847860"/>
                <a:gd name="connsiteX467" fmla="*/ 863103 w 1221001"/>
                <a:gd name="connsiteY467" fmla="*/ 224860 h 847860"/>
                <a:gd name="connsiteX468" fmla="*/ 860907 w 1221001"/>
                <a:gd name="connsiteY468" fmla="*/ 221812 h 847860"/>
                <a:gd name="connsiteX469" fmla="*/ 857615 w 1221001"/>
                <a:gd name="connsiteY469" fmla="*/ 223031 h 847860"/>
                <a:gd name="connsiteX470" fmla="*/ 854323 w 1221001"/>
                <a:gd name="connsiteY470" fmla="*/ 224251 h 847860"/>
                <a:gd name="connsiteX471" fmla="*/ 848104 w 1221001"/>
                <a:gd name="connsiteY471" fmla="*/ 248029 h 847860"/>
                <a:gd name="connsiteX472" fmla="*/ 847128 w 1221001"/>
                <a:gd name="connsiteY472" fmla="*/ 251566 h 847860"/>
                <a:gd name="connsiteX473" fmla="*/ 843592 w 1221001"/>
                <a:gd name="connsiteY473" fmla="*/ 252419 h 847860"/>
                <a:gd name="connsiteX474" fmla="*/ 833227 w 1221001"/>
                <a:gd name="connsiteY474" fmla="*/ 254736 h 847860"/>
                <a:gd name="connsiteX475" fmla="*/ 829935 w 1221001"/>
                <a:gd name="connsiteY475" fmla="*/ 255346 h 847860"/>
                <a:gd name="connsiteX476" fmla="*/ 827618 w 1221001"/>
                <a:gd name="connsiteY476" fmla="*/ 253029 h 847860"/>
                <a:gd name="connsiteX477" fmla="*/ 823472 w 1221001"/>
                <a:gd name="connsiteY477" fmla="*/ 249005 h 847860"/>
                <a:gd name="connsiteX478" fmla="*/ 821276 w 1221001"/>
                <a:gd name="connsiteY478" fmla="*/ 246688 h 847860"/>
                <a:gd name="connsiteX479" fmla="*/ 800790 w 1221001"/>
                <a:gd name="connsiteY479" fmla="*/ 267174 h 847860"/>
                <a:gd name="connsiteX480" fmla="*/ 798352 w 1221001"/>
                <a:gd name="connsiteY480" fmla="*/ 269735 h 847860"/>
                <a:gd name="connsiteX481" fmla="*/ 794815 w 1221001"/>
                <a:gd name="connsiteY481" fmla="*/ 268637 h 847860"/>
                <a:gd name="connsiteX482" fmla="*/ 769208 w 1221001"/>
                <a:gd name="connsiteY482" fmla="*/ 261321 h 847860"/>
                <a:gd name="connsiteX483" fmla="*/ 758477 w 1221001"/>
                <a:gd name="connsiteY483" fmla="*/ 278515 h 847860"/>
                <a:gd name="connsiteX484" fmla="*/ 760671 w 1221001"/>
                <a:gd name="connsiteY484" fmla="*/ 280222 h 847860"/>
                <a:gd name="connsiteX485" fmla="*/ 767013 w 1221001"/>
                <a:gd name="connsiteY485" fmla="*/ 285100 h 847860"/>
                <a:gd name="connsiteX486" fmla="*/ 770915 w 1221001"/>
                <a:gd name="connsiteY486" fmla="*/ 288148 h 847860"/>
                <a:gd name="connsiteX487" fmla="*/ 768720 w 1221001"/>
                <a:gd name="connsiteY487" fmla="*/ 292660 h 847860"/>
                <a:gd name="connsiteX488" fmla="*/ 765793 w 1221001"/>
                <a:gd name="connsiteY488" fmla="*/ 298513 h 847860"/>
                <a:gd name="connsiteX489" fmla="*/ 762867 w 1221001"/>
                <a:gd name="connsiteY489" fmla="*/ 304366 h 847860"/>
                <a:gd name="connsiteX490" fmla="*/ 761525 w 1221001"/>
                <a:gd name="connsiteY490" fmla="*/ 306927 h 847860"/>
                <a:gd name="connsiteX491" fmla="*/ 758721 w 1221001"/>
                <a:gd name="connsiteY491" fmla="*/ 307537 h 847860"/>
                <a:gd name="connsiteX492" fmla="*/ 742624 w 1221001"/>
                <a:gd name="connsiteY492" fmla="*/ 311317 h 847860"/>
                <a:gd name="connsiteX493" fmla="*/ 728113 w 1221001"/>
                <a:gd name="connsiteY493" fmla="*/ 328389 h 847860"/>
                <a:gd name="connsiteX494" fmla="*/ 727260 w 1221001"/>
                <a:gd name="connsiteY494" fmla="*/ 329486 h 847860"/>
                <a:gd name="connsiteX495" fmla="*/ 726040 w 1221001"/>
                <a:gd name="connsiteY495" fmla="*/ 329974 h 847860"/>
                <a:gd name="connsiteX496" fmla="*/ 701164 w 1221001"/>
                <a:gd name="connsiteY496" fmla="*/ 341071 h 847860"/>
                <a:gd name="connsiteX497" fmla="*/ 700432 w 1221001"/>
                <a:gd name="connsiteY497" fmla="*/ 341315 h 847860"/>
                <a:gd name="connsiteX498" fmla="*/ 699579 w 1221001"/>
                <a:gd name="connsiteY498" fmla="*/ 341437 h 847860"/>
                <a:gd name="connsiteX499" fmla="*/ 682019 w 1221001"/>
                <a:gd name="connsiteY499" fmla="*/ 344241 h 847860"/>
                <a:gd name="connsiteX500" fmla="*/ 680312 w 1221001"/>
                <a:gd name="connsiteY500" fmla="*/ 344485 h 847860"/>
                <a:gd name="connsiteX501" fmla="*/ 678727 w 1221001"/>
                <a:gd name="connsiteY501" fmla="*/ 343753 h 847860"/>
                <a:gd name="connsiteX502" fmla="*/ 664094 w 1221001"/>
                <a:gd name="connsiteY502" fmla="*/ 337656 h 847860"/>
                <a:gd name="connsiteX503" fmla="*/ 634706 w 1221001"/>
                <a:gd name="connsiteY503" fmla="*/ 353631 h 847860"/>
                <a:gd name="connsiteX504" fmla="*/ 634218 w 1221001"/>
                <a:gd name="connsiteY504" fmla="*/ 353874 h 847860"/>
                <a:gd name="connsiteX505" fmla="*/ 633731 w 1221001"/>
                <a:gd name="connsiteY505" fmla="*/ 354118 h 847860"/>
                <a:gd name="connsiteX506" fmla="*/ 621902 w 1221001"/>
                <a:gd name="connsiteY506" fmla="*/ 358021 h 847860"/>
                <a:gd name="connsiteX507" fmla="*/ 619097 w 1221001"/>
                <a:gd name="connsiteY507" fmla="*/ 358508 h 847860"/>
                <a:gd name="connsiteX508" fmla="*/ 616781 w 1221001"/>
                <a:gd name="connsiteY508" fmla="*/ 357411 h 847860"/>
                <a:gd name="connsiteX509" fmla="*/ 601782 w 1221001"/>
                <a:gd name="connsiteY509" fmla="*/ 349972 h 847860"/>
                <a:gd name="connsiteX510" fmla="*/ 582881 w 1221001"/>
                <a:gd name="connsiteY510" fmla="*/ 348753 h 847860"/>
                <a:gd name="connsiteX511" fmla="*/ 580564 w 1221001"/>
                <a:gd name="connsiteY511" fmla="*/ 348631 h 847860"/>
                <a:gd name="connsiteX512" fmla="*/ 578613 w 1221001"/>
                <a:gd name="connsiteY512" fmla="*/ 348509 h 847860"/>
                <a:gd name="connsiteX513" fmla="*/ 577027 w 1221001"/>
                <a:gd name="connsiteY513" fmla="*/ 347168 h 847860"/>
                <a:gd name="connsiteX514" fmla="*/ 566784 w 1221001"/>
                <a:gd name="connsiteY514" fmla="*/ 338266 h 847860"/>
                <a:gd name="connsiteX515" fmla="*/ 557273 w 1221001"/>
                <a:gd name="connsiteY515" fmla="*/ 329974 h 847860"/>
                <a:gd name="connsiteX516" fmla="*/ 525081 w 1221001"/>
                <a:gd name="connsiteY516" fmla="*/ 327291 h 847860"/>
                <a:gd name="connsiteX517" fmla="*/ 512276 w 1221001"/>
                <a:gd name="connsiteY517" fmla="*/ 330218 h 847860"/>
                <a:gd name="connsiteX518" fmla="*/ 500936 w 1221001"/>
                <a:gd name="connsiteY518" fmla="*/ 332657 h 847860"/>
                <a:gd name="connsiteX519" fmla="*/ 498741 w 1221001"/>
                <a:gd name="connsiteY519" fmla="*/ 333144 h 847860"/>
                <a:gd name="connsiteX520" fmla="*/ 496912 w 1221001"/>
                <a:gd name="connsiteY520" fmla="*/ 332169 h 847860"/>
                <a:gd name="connsiteX521" fmla="*/ 491425 w 1221001"/>
                <a:gd name="connsiteY521" fmla="*/ 329486 h 847860"/>
                <a:gd name="connsiteX522" fmla="*/ 488010 w 1221001"/>
                <a:gd name="connsiteY522" fmla="*/ 327779 h 847860"/>
                <a:gd name="connsiteX523" fmla="*/ 484718 w 1221001"/>
                <a:gd name="connsiteY523" fmla="*/ 329486 h 847860"/>
                <a:gd name="connsiteX524" fmla="*/ 483011 w 1221001"/>
                <a:gd name="connsiteY524" fmla="*/ 331071 h 847860"/>
                <a:gd name="connsiteX525" fmla="*/ 478743 w 1221001"/>
                <a:gd name="connsiteY525" fmla="*/ 335339 h 847860"/>
                <a:gd name="connsiteX526" fmla="*/ 476670 w 1221001"/>
                <a:gd name="connsiteY526" fmla="*/ 337291 h 847860"/>
                <a:gd name="connsiteX527" fmla="*/ 473987 w 1221001"/>
                <a:gd name="connsiteY527" fmla="*/ 337169 h 847860"/>
                <a:gd name="connsiteX528" fmla="*/ 455939 w 1221001"/>
                <a:gd name="connsiteY528" fmla="*/ 335827 h 847860"/>
                <a:gd name="connsiteX529" fmla="*/ 453379 w 1221001"/>
                <a:gd name="connsiteY529" fmla="*/ 335705 h 847860"/>
                <a:gd name="connsiteX530" fmla="*/ 451671 w 1221001"/>
                <a:gd name="connsiteY530" fmla="*/ 333632 h 847860"/>
                <a:gd name="connsiteX531" fmla="*/ 438746 w 1221001"/>
                <a:gd name="connsiteY531" fmla="*/ 318024 h 847860"/>
                <a:gd name="connsiteX532" fmla="*/ 437039 w 1221001"/>
                <a:gd name="connsiteY532" fmla="*/ 316073 h 847860"/>
                <a:gd name="connsiteX533" fmla="*/ 437282 w 1221001"/>
                <a:gd name="connsiteY533" fmla="*/ 313390 h 847860"/>
                <a:gd name="connsiteX534" fmla="*/ 439721 w 1221001"/>
                <a:gd name="connsiteY534" fmla="*/ 294611 h 847860"/>
                <a:gd name="connsiteX535" fmla="*/ 417528 w 1221001"/>
                <a:gd name="connsiteY535" fmla="*/ 284856 h 847860"/>
                <a:gd name="connsiteX536" fmla="*/ 374848 w 1221001"/>
                <a:gd name="connsiteY536" fmla="*/ 266199 h 847860"/>
                <a:gd name="connsiteX537" fmla="*/ 369849 w 1221001"/>
                <a:gd name="connsiteY537" fmla="*/ 265101 h 847860"/>
                <a:gd name="connsiteX538" fmla="*/ 351558 w 1221001"/>
                <a:gd name="connsiteY538" fmla="*/ 260711 h 847860"/>
                <a:gd name="connsiteX539" fmla="*/ 349484 w 1221001"/>
                <a:gd name="connsiteY539" fmla="*/ 260223 h 847860"/>
                <a:gd name="connsiteX540" fmla="*/ 348143 w 1221001"/>
                <a:gd name="connsiteY540" fmla="*/ 258516 h 847860"/>
                <a:gd name="connsiteX541" fmla="*/ 339241 w 1221001"/>
                <a:gd name="connsiteY541" fmla="*/ 246932 h 847860"/>
                <a:gd name="connsiteX542" fmla="*/ 335461 w 1221001"/>
                <a:gd name="connsiteY542" fmla="*/ 242054 h 847860"/>
                <a:gd name="connsiteX543" fmla="*/ 332535 w 1221001"/>
                <a:gd name="connsiteY543" fmla="*/ 238152 h 847860"/>
                <a:gd name="connsiteX544" fmla="*/ 335583 w 1221001"/>
                <a:gd name="connsiteY544" fmla="*/ 234494 h 847860"/>
                <a:gd name="connsiteX545" fmla="*/ 345460 w 1221001"/>
                <a:gd name="connsiteY545" fmla="*/ 222422 h 847860"/>
                <a:gd name="connsiteX546" fmla="*/ 317048 w 1221001"/>
                <a:gd name="connsiteY546" fmla="*/ 181327 h 847860"/>
                <a:gd name="connsiteX547" fmla="*/ 294367 w 1221001"/>
                <a:gd name="connsiteY547" fmla="*/ 181327 h 847860"/>
                <a:gd name="connsiteX548" fmla="*/ 292538 w 1221001"/>
                <a:gd name="connsiteY548" fmla="*/ 178644 h 847860"/>
                <a:gd name="connsiteX549" fmla="*/ 271686 w 1221001"/>
                <a:gd name="connsiteY549" fmla="*/ 148647 h 847860"/>
                <a:gd name="connsiteX550" fmla="*/ 269491 w 1221001"/>
                <a:gd name="connsiteY550" fmla="*/ 148647 h 847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</a:cxnLst>
              <a:rect l="l" t="t" r="r" b="b"/>
              <a:pathLst>
                <a:path w="1221001" h="847860">
                  <a:moveTo>
                    <a:pt x="269491" y="148647"/>
                  </a:moveTo>
                  <a:lnTo>
                    <a:pt x="244615" y="168767"/>
                  </a:lnTo>
                  <a:lnTo>
                    <a:pt x="235713" y="175962"/>
                  </a:lnTo>
                  <a:lnTo>
                    <a:pt x="241932" y="199253"/>
                  </a:lnTo>
                  <a:lnTo>
                    <a:pt x="242785" y="202667"/>
                  </a:lnTo>
                  <a:lnTo>
                    <a:pt x="240347" y="205106"/>
                  </a:lnTo>
                  <a:lnTo>
                    <a:pt x="230835" y="214495"/>
                  </a:lnTo>
                  <a:lnTo>
                    <a:pt x="227909" y="217544"/>
                  </a:lnTo>
                  <a:lnTo>
                    <a:pt x="224007" y="215837"/>
                  </a:lnTo>
                  <a:lnTo>
                    <a:pt x="210593" y="209740"/>
                  </a:lnTo>
                  <a:lnTo>
                    <a:pt x="189985" y="210959"/>
                  </a:lnTo>
                  <a:lnTo>
                    <a:pt x="181815" y="230104"/>
                  </a:lnTo>
                  <a:lnTo>
                    <a:pt x="175840" y="244493"/>
                  </a:lnTo>
                  <a:lnTo>
                    <a:pt x="176205" y="247541"/>
                  </a:lnTo>
                  <a:lnTo>
                    <a:pt x="177181" y="254126"/>
                  </a:lnTo>
                  <a:lnTo>
                    <a:pt x="177669" y="257053"/>
                  </a:lnTo>
                  <a:lnTo>
                    <a:pt x="175596" y="259126"/>
                  </a:lnTo>
                  <a:lnTo>
                    <a:pt x="169255" y="266077"/>
                  </a:lnTo>
                  <a:lnTo>
                    <a:pt x="164377" y="271320"/>
                  </a:lnTo>
                  <a:lnTo>
                    <a:pt x="159987" y="265711"/>
                  </a:lnTo>
                  <a:lnTo>
                    <a:pt x="153280" y="257175"/>
                  </a:lnTo>
                  <a:lnTo>
                    <a:pt x="121942" y="268393"/>
                  </a:lnTo>
                  <a:lnTo>
                    <a:pt x="130234" y="277539"/>
                  </a:lnTo>
                  <a:lnTo>
                    <a:pt x="131575" y="279124"/>
                  </a:lnTo>
                  <a:lnTo>
                    <a:pt x="131697" y="281197"/>
                  </a:lnTo>
                  <a:lnTo>
                    <a:pt x="133038" y="301074"/>
                  </a:lnTo>
                  <a:lnTo>
                    <a:pt x="136940" y="312902"/>
                  </a:lnTo>
                  <a:lnTo>
                    <a:pt x="137550" y="314853"/>
                  </a:lnTo>
                  <a:lnTo>
                    <a:pt x="136940" y="316804"/>
                  </a:lnTo>
                  <a:lnTo>
                    <a:pt x="132672" y="328755"/>
                  </a:lnTo>
                  <a:lnTo>
                    <a:pt x="131087" y="333144"/>
                  </a:lnTo>
                  <a:lnTo>
                    <a:pt x="130965" y="333388"/>
                  </a:lnTo>
                  <a:lnTo>
                    <a:pt x="131941" y="334120"/>
                  </a:lnTo>
                  <a:lnTo>
                    <a:pt x="129868" y="336681"/>
                  </a:lnTo>
                  <a:lnTo>
                    <a:pt x="128160" y="341315"/>
                  </a:lnTo>
                  <a:lnTo>
                    <a:pt x="126819" y="340217"/>
                  </a:lnTo>
                  <a:lnTo>
                    <a:pt x="124746" y="342656"/>
                  </a:lnTo>
                  <a:lnTo>
                    <a:pt x="114259" y="355094"/>
                  </a:lnTo>
                  <a:lnTo>
                    <a:pt x="112796" y="356679"/>
                  </a:lnTo>
                  <a:lnTo>
                    <a:pt x="110723" y="357167"/>
                  </a:lnTo>
                  <a:lnTo>
                    <a:pt x="94626" y="360216"/>
                  </a:lnTo>
                  <a:lnTo>
                    <a:pt x="89627" y="361069"/>
                  </a:lnTo>
                  <a:lnTo>
                    <a:pt x="87676" y="362532"/>
                  </a:lnTo>
                  <a:lnTo>
                    <a:pt x="73775" y="372898"/>
                  </a:lnTo>
                  <a:lnTo>
                    <a:pt x="72555" y="373995"/>
                  </a:lnTo>
                  <a:lnTo>
                    <a:pt x="70848" y="374117"/>
                  </a:lnTo>
                  <a:lnTo>
                    <a:pt x="64995" y="374727"/>
                  </a:lnTo>
                  <a:lnTo>
                    <a:pt x="61702" y="375092"/>
                  </a:lnTo>
                  <a:lnTo>
                    <a:pt x="61458" y="376068"/>
                  </a:lnTo>
                  <a:lnTo>
                    <a:pt x="59629" y="387652"/>
                  </a:lnTo>
                  <a:lnTo>
                    <a:pt x="58776" y="392164"/>
                  </a:lnTo>
                  <a:lnTo>
                    <a:pt x="54264" y="392652"/>
                  </a:lnTo>
                  <a:lnTo>
                    <a:pt x="44021" y="393749"/>
                  </a:lnTo>
                  <a:lnTo>
                    <a:pt x="41338" y="394115"/>
                  </a:lnTo>
                  <a:lnTo>
                    <a:pt x="39265" y="392286"/>
                  </a:lnTo>
                  <a:lnTo>
                    <a:pt x="31461" y="385458"/>
                  </a:lnTo>
                  <a:lnTo>
                    <a:pt x="30729" y="384848"/>
                  </a:lnTo>
                  <a:lnTo>
                    <a:pt x="4633" y="399847"/>
                  </a:lnTo>
                  <a:lnTo>
                    <a:pt x="244" y="409480"/>
                  </a:lnTo>
                  <a:lnTo>
                    <a:pt x="0" y="410212"/>
                  </a:lnTo>
                  <a:lnTo>
                    <a:pt x="244" y="411187"/>
                  </a:lnTo>
                  <a:lnTo>
                    <a:pt x="3414" y="426064"/>
                  </a:lnTo>
                  <a:lnTo>
                    <a:pt x="10243" y="427162"/>
                  </a:lnTo>
                  <a:lnTo>
                    <a:pt x="17803" y="428381"/>
                  </a:lnTo>
                  <a:lnTo>
                    <a:pt x="21584" y="428991"/>
                  </a:lnTo>
                  <a:lnTo>
                    <a:pt x="22681" y="432649"/>
                  </a:lnTo>
                  <a:lnTo>
                    <a:pt x="26339" y="444721"/>
                  </a:lnTo>
                  <a:lnTo>
                    <a:pt x="27071" y="447038"/>
                  </a:lnTo>
                  <a:lnTo>
                    <a:pt x="25973" y="449233"/>
                  </a:lnTo>
                  <a:lnTo>
                    <a:pt x="17438" y="466305"/>
                  </a:lnTo>
                  <a:lnTo>
                    <a:pt x="20242" y="471060"/>
                  </a:lnTo>
                  <a:lnTo>
                    <a:pt x="20974" y="470817"/>
                  </a:lnTo>
                  <a:lnTo>
                    <a:pt x="23169" y="471670"/>
                  </a:lnTo>
                  <a:lnTo>
                    <a:pt x="29510" y="474231"/>
                  </a:lnTo>
                  <a:lnTo>
                    <a:pt x="30973" y="474841"/>
                  </a:lnTo>
                  <a:lnTo>
                    <a:pt x="31949" y="476060"/>
                  </a:lnTo>
                  <a:lnTo>
                    <a:pt x="35973" y="480938"/>
                  </a:lnTo>
                  <a:lnTo>
                    <a:pt x="44996" y="487401"/>
                  </a:lnTo>
                  <a:lnTo>
                    <a:pt x="45240" y="487644"/>
                  </a:lnTo>
                  <a:lnTo>
                    <a:pt x="45484" y="487767"/>
                  </a:lnTo>
                  <a:lnTo>
                    <a:pt x="51581" y="493254"/>
                  </a:lnTo>
                  <a:lnTo>
                    <a:pt x="58044" y="497034"/>
                  </a:lnTo>
                  <a:lnTo>
                    <a:pt x="59629" y="498010"/>
                  </a:lnTo>
                  <a:lnTo>
                    <a:pt x="60483" y="499717"/>
                  </a:lnTo>
                  <a:lnTo>
                    <a:pt x="63287" y="505814"/>
                  </a:lnTo>
                  <a:lnTo>
                    <a:pt x="69263" y="509228"/>
                  </a:lnTo>
                  <a:lnTo>
                    <a:pt x="72067" y="510813"/>
                  </a:lnTo>
                  <a:lnTo>
                    <a:pt x="72189" y="512155"/>
                  </a:lnTo>
                  <a:lnTo>
                    <a:pt x="72555" y="512277"/>
                  </a:lnTo>
                  <a:lnTo>
                    <a:pt x="72311" y="513252"/>
                  </a:lnTo>
                  <a:lnTo>
                    <a:pt x="72433" y="514106"/>
                  </a:lnTo>
                  <a:lnTo>
                    <a:pt x="72555" y="516057"/>
                  </a:lnTo>
                  <a:lnTo>
                    <a:pt x="81457" y="517032"/>
                  </a:lnTo>
                  <a:lnTo>
                    <a:pt x="96090" y="509106"/>
                  </a:lnTo>
                  <a:lnTo>
                    <a:pt x="98529" y="507887"/>
                  </a:lnTo>
                  <a:lnTo>
                    <a:pt x="100968" y="508741"/>
                  </a:lnTo>
                  <a:lnTo>
                    <a:pt x="104626" y="510082"/>
                  </a:lnTo>
                  <a:lnTo>
                    <a:pt x="106577" y="508497"/>
                  </a:lnTo>
                  <a:lnTo>
                    <a:pt x="109747" y="506058"/>
                  </a:lnTo>
                  <a:lnTo>
                    <a:pt x="113162" y="508009"/>
                  </a:lnTo>
                  <a:lnTo>
                    <a:pt x="125843" y="514838"/>
                  </a:lnTo>
                  <a:lnTo>
                    <a:pt x="130477" y="517276"/>
                  </a:lnTo>
                  <a:lnTo>
                    <a:pt x="128648" y="522276"/>
                  </a:lnTo>
                  <a:lnTo>
                    <a:pt x="122551" y="538982"/>
                  </a:lnTo>
                  <a:lnTo>
                    <a:pt x="121820" y="540689"/>
                  </a:lnTo>
                  <a:lnTo>
                    <a:pt x="120356" y="541787"/>
                  </a:lnTo>
                  <a:lnTo>
                    <a:pt x="105967" y="552030"/>
                  </a:lnTo>
                  <a:lnTo>
                    <a:pt x="104504" y="557273"/>
                  </a:lnTo>
                  <a:lnTo>
                    <a:pt x="114137" y="575564"/>
                  </a:lnTo>
                  <a:lnTo>
                    <a:pt x="116942" y="580930"/>
                  </a:lnTo>
                  <a:lnTo>
                    <a:pt x="111698" y="583735"/>
                  </a:lnTo>
                  <a:lnTo>
                    <a:pt x="106699" y="586539"/>
                  </a:lnTo>
                  <a:lnTo>
                    <a:pt x="103772" y="588734"/>
                  </a:lnTo>
                  <a:lnTo>
                    <a:pt x="103285" y="589100"/>
                  </a:lnTo>
                  <a:lnTo>
                    <a:pt x="100602" y="591051"/>
                  </a:lnTo>
                  <a:lnTo>
                    <a:pt x="102065" y="592392"/>
                  </a:lnTo>
                  <a:lnTo>
                    <a:pt x="101821" y="595441"/>
                  </a:lnTo>
                  <a:lnTo>
                    <a:pt x="100724" y="610318"/>
                  </a:lnTo>
                  <a:lnTo>
                    <a:pt x="107552" y="614220"/>
                  </a:lnTo>
                  <a:lnTo>
                    <a:pt x="123649" y="614220"/>
                  </a:lnTo>
                  <a:lnTo>
                    <a:pt x="125478" y="615927"/>
                  </a:lnTo>
                  <a:lnTo>
                    <a:pt x="139135" y="629585"/>
                  </a:lnTo>
                  <a:lnTo>
                    <a:pt x="160475" y="627146"/>
                  </a:lnTo>
                  <a:lnTo>
                    <a:pt x="162914" y="626780"/>
                  </a:lnTo>
                  <a:lnTo>
                    <a:pt x="164865" y="628365"/>
                  </a:lnTo>
                  <a:lnTo>
                    <a:pt x="189010" y="647144"/>
                  </a:lnTo>
                  <a:lnTo>
                    <a:pt x="200228" y="651534"/>
                  </a:lnTo>
                  <a:lnTo>
                    <a:pt x="214007" y="656900"/>
                  </a:lnTo>
                  <a:lnTo>
                    <a:pt x="214739" y="657265"/>
                  </a:lnTo>
                  <a:lnTo>
                    <a:pt x="215471" y="657631"/>
                  </a:lnTo>
                  <a:lnTo>
                    <a:pt x="237176" y="673971"/>
                  </a:lnTo>
                  <a:lnTo>
                    <a:pt x="281807" y="683483"/>
                  </a:lnTo>
                  <a:lnTo>
                    <a:pt x="282295" y="683605"/>
                  </a:lnTo>
                  <a:lnTo>
                    <a:pt x="294245" y="677508"/>
                  </a:lnTo>
                  <a:lnTo>
                    <a:pt x="297659" y="675679"/>
                  </a:lnTo>
                  <a:lnTo>
                    <a:pt x="300708" y="678117"/>
                  </a:lnTo>
                  <a:lnTo>
                    <a:pt x="306073" y="682385"/>
                  </a:lnTo>
                  <a:lnTo>
                    <a:pt x="316072" y="673728"/>
                  </a:lnTo>
                  <a:lnTo>
                    <a:pt x="317780" y="672264"/>
                  </a:lnTo>
                  <a:lnTo>
                    <a:pt x="333632" y="672264"/>
                  </a:lnTo>
                  <a:lnTo>
                    <a:pt x="335339" y="674093"/>
                  </a:lnTo>
                  <a:lnTo>
                    <a:pt x="336559" y="675191"/>
                  </a:lnTo>
                  <a:lnTo>
                    <a:pt x="342168" y="680922"/>
                  </a:lnTo>
                  <a:lnTo>
                    <a:pt x="353752" y="680556"/>
                  </a:lnTo>
                  <a:lnTo>
                    <a:pt x="360825" y="680312"/>
                  </a:lnTo>
                  <a:lnTo>
                    <a:pt x="360581" y="682019"/>
                  </a:lnTo>
                  <a:lnTo>
                    <a:pt x="362654" y="681776"/>
                  </a:lnTo>
                  <a:lnTo>
                    <a:pt x="363752" y="681288"/>
                  </a:lnTo>
                  <a:lnTo>
                    <a:pt x="390701" y="663241"/>
                  </a:lnTo>
                  <a:lnTo>
                    <a:pt x="399968" y="650924"/>
                  </a:lnTo>
                  <a:lnTo>
                    <a:pt x="404480" y="644340"/>
                  </a:lnTo>
                  <a:lnTo>
                    <a:pt x="407163" y="646047"/>
                  </a:lnTo>
                  <a:lnTo>
                    <a:pt x="410455" y="647998"/>
                  </a:lnTo>
                  <a:lnTo>
                    <a:pt x="419357" y="652875"/>
                  </a:lnTo>
                  <a:lnTo>
                    <a:pt x="428137" y="646291"/>
                  </a:lnTo>
                  <a:lnTo>
                    <a:pt x="431429" y="643730"/>
                  </a:lnTo>
                  <a:lnTo>
                    <a:pt x="434966" y="645803"/>
                  </a:lnTo>
                  <a:lnTo>
                    <a:pt x="447770" y="653485"/>
                  </a:lnTo>
                  <a:lnTo>
                    <a:pt x="451550" y="655680"/>
                  </a:lnTo>
                  <a:lnTo>
                    <a:pt x="450696" y="659948"/>
                  </a:lnTo>
                  <a:lnTo>
                    <a:pt x="450208" y="662143"/>
                  </a:lnTo>
                  <a:lnTo>
                    <a:pt x="457525" y="665435"/>
                  </a:lnTo>
                  <a:lnTo>
                    <a:pt x="459476" y="666289"/>
                  </a:lnTo>
                  <a:lnTo>
                    <a:pt x="460451" y="668118"/>
                  </a:lnTo>
                  <a:lnTo>
                    <a:pt x="462646" y="672630"/>
                  </a:lnTo>
                  <a:lnTo>
                    <a:pt x="463378" y="672996"/>
                  </a:lnTo>
                  <a:lnTo>
                    <a:pt x="464476" y="675435"/>
                  </a:lnTo>
                  <a:lnTo>
                    <a:pt x="475572" y="674337"/>
                  </a:lnTo>
                  <a:lnTo>
                    <a:pt x="480450" y="673971"/>
                  </a:lnTo>
                  <a:lnTo>
                    <a:pt x="484718" y="673484"/>
                  </a:lnTo>
                  <a:lnTo>
                    <a:pt x="486547" y="677386"/>
                  </a:lnTo>
                  <a:lnTo>
                    <a:pt x="497156" y="699823"/>
                  </a:lnTo>
                  <a:lnTo>
                    <a:pt x="497522" y="700677"/>
                  </a:lnTo>
                  <a:lnTo>
                    <a:pt x="497644" y="701530"/>
                  </a:lnTo>
                  <a:lnTo>
                    <a:pt x="501668" y="727138"/>
                  </a:lnTo>
                  <a:lnTo>
                    <a:pt x="502155" y="730065"/>
                  </a:lnTo>
                  <a:lnTo>
                    <a:pt x="500082" y="732260"/>
                  </a:lnTo>
                  <a:lnTo>
                    <a:pt x="483376" y="750185"/>
                  </a:lnTo>
                  <a:lnTo>
                    <a:pt x="483376" y="767744"/>
                  </a:lnTo>
                  <a:lnTo>
                    <a:pt x="488010" y="768232"/>
                  </a:lnTo>
                  <a:lnTo>
                    <a:pt x="491790" y="768598"/>
                  </a:lnTo>
                  <a:lnTo>
                    <a:pt x="494229" y="768964"/>
                  </a:lnTo>
                  <a:lnTo>
                    <a:pt x="495814" y="770671"/>
                  </a:lnTo>
                  <a:lnTo>
                    <a:pt x="511789" y="789328"/>
                  </a:lnTo>
                  <a:lnTo>
                    <a:pt x="513252" y="791035"/>
                  </a:lnTo>
                  <a:lnTo>
                    <a:pt x="513252" y="793352"/>
                  </a:lnTo>
                  <a:lnTo>
                    <a:pt x="513252" y="807010"/>
                  </a:lnTo>
                  <a:lnTo>
                    <a:pt x="529470" y="807010"/>
                  </a:lnTo>
                  <a:lnTo>
                    <a:pt x="530446" y="811887"/>
                  </a:lnTo>
                  <a:lnTo>
                    <a:pt x="531178" y="815058"/>
                  </a:lnTo>
                  <a:lnTo>
                    <a:pt x="536299" y="817009"/>
                  </a:lnTo>
                  <a:lnTo>
                    <a:pt x="543859" y="819692"/>
                  </a:lnTo>
                  <a:lnTo>
                    <a:pt x="546055" y="820545"/>
                  </a:lnTo>
                  <a:lnTo>
                    <a:pt x="547152" y="822740"/>
                  </a:lnTo>
                  <a:lnTo>
                    <a:pt x="548981" y="826276"/>
                  </a:lnTo>
                  <a:lnTo>
                    <a:pt x="549956" y="828349"/>
                  </a:lnTo>
                  <a:lnTo>
                    <a:pt x="550688" y="829203"/>
                  </a:lnTo>
                  <a:lnTo>
                    <a:pt x="551176" y="829935"/>
                  </a:lnTo>
                  <a:lnTo>
                    <a:pt x="551298" y="829935"/>
                  </a:lnTo>
                  <a:lnTo>
                    <a:pt x="551298" y="829935"/>
                  </a:lnTo>
                  <a:lnTo>
                    <a:pt x="555322" y="830422"/>
                  </a:lnTo>
                  <a:lnTo>
                    <a:pt x="552273" y="815180"/>
                  </a:lnTo>
                  <a:lnTo>
                    <a:pt x="551907" y="813351"/>
                  </a:lnTo>
                  <a:lnTo>
                    <a:pt x="552639" y="811522"/>
                  </a:lnTo>
                  <a:lnTo>
                    <a:pt x="557273" y="801278"/>
                  </a:lnTo>
                  <a:lnTo>
                    <a:pt x="559590" y="796035"/>
                  </a:lnTo>
                  <a:lnTo>
                    <a:pt x="564955" y="797986"/>
                  </a:lnTo>
                  <a:lnTo>
                    <a:pt x="566419" y="798596"/>
                  </a:lnTo>
                  <a:lnTo>
                    <a:pt x="572028" y="800669"/>
                  </a:lnTo>
                  <a:lnTo>
                    <a:pt x="577881" y="794815"/>
                  </a:lnTo>
                  <a:lnTo>
                    <a:pt x="580320" y="792377"/>
                  </a:lnTo>
                  <a:lnTo>
                    <a:pt x="583734" y="793230"/>
                  </a:lnTo>
                  <a:lnTo>
                    <a:pt x="593368" y="795669"/>
                  </a:lnTo>
                  <a:lnTo>
                    <a:pt x="614829" y="796888"/>
                  </a:lnTo>
                  <a:lnTo>
                    <a:pt x="622146" y="784207"/>
                  </a:lnTo>
                  <a:lnTo>
                    <a:pt x="625926" y="777866"/>
                  </a:lnTo>
                  <a:lnTo>
                    <a:pt x="631535" y="782743"/>
                  </a:lnTo>
                  <a:lnTo>
                    <a:pt x="637754" y="788231"/>
                  </a:lnTo>
                  <a:lnTo>
                    <a:pt x="639828" y="789938"/>
                  </a:lnTo>
                  <a:lnTo>
                    <a:pt x="662265" y="789938"/>
                  </a:lnTo>
                  <a:lnTo>
                    <a:pt x="663850" y="793840"/>
                  </a:lnTo>
                  <a:lnTo>
                    <a:pt x="665801" y="798961"/>
                  </a:lnTo>
                  <a:lnTo>
                    <a:pt x="666533" y="800669"/>
                  </a:lnTo>
                  <a:lnTo>
                    <a:pt x="666167" y="802498"/>
                  </a:lnTo>
                  <a:lnTo>
                    <a:pt x="665557" y="805425"/>
                  </a:lnTo>
                  <a:lnTo>
                    <a:pt x="663972" y="812375"/>
                  </a:lnTo>
                  <a:lnTo>
                    <a:pt x="672264" y="819570"/>
                  </a:lnTo>
                  <a:lnTo>
                    <a:pt x="682263" y="818472"/>
                  </a:lnTo>
                  <a:lnTo>
                    <a:pt x="685068" y="818106"/>
                  </a:lnTo>
                  <a:lnTo>
                    <a:pt x="687019" y="820057"/>
                  </a:lnTo>
                  <a:lnTo>
                    <a:pt x="690311" y="822984"/>
                  </a:lnTo>
                  <a:lnTo>
                    <a:pt x="693116" y="825667"/>
                  </a:lnTo>
                  <a:lnTo>
                    <a:pt x="707993" y="826520"/>
                  </a:lnTo>
                  <a:lnTo>
                    <a:pt x="719943" y="830788"/>
                  </a:lnTo>
                  <a:lnTo>
                    <a:pt x="719943" y="830788"/>
                  </a:lnTo>
                  <a:lnTo>
                    <a:pt x="718968" y="842982"/>
                  </a:lnTo>
                  <a:lnTo>
                    <a:pt x="721772" y="847250"/>
                  </a:lnTo>
                  <a:lnTo>
                    <a:pt x="725553" y="847860"/>
                  </a:lnTo>
                  <a:lnTo>
                    <a:pt x="727260" y="839080"/>
                  </a:lnTo>
                  <a:lnTo>
                    <a:pt x="741161" y="835056"/>
                  </a:lnTo>
                  <a:lnTo>
                    <a:pt x="747014" y="829325"/>
                  </a:lnTo>
                  <a:lnTo>
                    <a:pt x="754819" y="828349"/>
                  </a:lnTo>
                  <a:lnTo>
                    <a:pt x="762501" y="823472"/>
                  </a:lnTo>
                  <a:lnTo>
                    <a:pt x="772744" y="823472"/>
                  </a:lnTo>
                  <a:lnTo>
                    <a:pt x="784938" y="813960"/>
                  </a:lnTo>
                  <a:lnTo>
                    <a:pt x="789816" y="799449"/>
                  </a:lnTo>
                  <a:lnTo>
                    <a:pt x="799083" y="795913"/>
                  </a:lnTo>
                  <a:lnTo>
                    <a:pt x="806765" y="799693"/>
                  </a:lnTo>
                  <a:lnTo>
                    <a:pt x="806765" y="807375"/>
                  </a:lnTo>
                  <a:lnTo>
                    <a:pt x="813228" y="810912"/>
                  </a:lnTo>
                  <a:lnTo>
                    <a:pt x="827739" y="801766"/>
                  </a:lnTo>
                  <a:lnTo>
                    <a:pt x="837861" y="801766"/>
                  </a:lnTo>
                  <a:lnTo>
                    <a:pt x="847250" y="792377"/>
                  </a:lnTo>
                  <a:lnTo>
                    <a:pt x="858103" y="791523"/>
                  </a:lnTo>
                  <a:lnTo>
                    <a:pt x="861639" y="782499"/>
                  </a:lnTo>
                  <a:lnTo>
                    <a:pt x="882126" y="773110"/>
                  </a:lnTo>
                  <a:lnTo>
                    <a:pt x="883101" y="763111"/>
                  </a:lnTo>
                  <a:lnTo>
                    <a:pt x="894686" y="753721"/>
                  </a:lnTo>
                  <a:lnTo>
                    <a:pt x="901636" y="752746"/>
                  </a:lnTo>
                  <a:lnTo>
                    <a:pt x="905172" y="744697"/>
                  </a:lnTo>
                  <a:lnTo>
                    <a:pt x="916147" y="739210"/>
                  </a:lnTo>
                  <a:lnTo>
                    <a:pt x="917123" y="718236"/>
                  </a:lnTo>
                  <a:lnTo>
                    <a:pt x="925537" y="715432"/>
                  </a:lnTo>
                  <a:lnTo>
                    <a:pt x="925537" y="704701"/>
                  </a:lnTo>
                  <a:lnTo>
                    <a:pt x="938828" y="691409"/>
                  </a:lnTo>
                  <a:lnTo>
                    <a:pt x="939804" y="684580"/>
                  </a:lnTo>
                  <a:lnTo>
                    <a:pt x="949681" y="677752"/>
                  </a:lnTo>
                  <a:lnTo>
                    <a:pt x="951998" y="673118"/>
                  </a:lnTo>
                  <a:lnTo>
                    <a:pt x="951023" y="663362"/>
                  </a:lnTo>
                  <a:lnTo>
                    <a:pt x="959437" y="652997"/>
                  </a:lnTo>
                  <a:lnTo>
                    <a:pt x="957729" y="639706"/>
                  </a:lnTo>
                  <a:lnTo>
                    <a:pt x="952974" y="636291"/>
                  </a:lnTo>
                  <a:lnTo>
                    <a:pt x="943706" y="640925"/>
                  </a:lnTo>
                  <a:lnTo>
                    <a:pt x="937609" y="637877"/>
                  </a:lnTo>
                  <a:lnTo>
                    <a:pt x="938950" y="627877"/>
                  </a:lnTo>
                  <a:lnTo>
                    <a:pt x="951388" y="619585"/>
                  </a:lnTo>
                  <a:lnTo>
                    <a:pt x="958217" y="616537"/>
                  </a:lnTo>
                  <a:lnTo>
                    <a:pt x="956022" y="609342"/>
                  </a:lnTo>
                  <a:lnTo>
                    <a:pt x="945291" y="598611"/>
                  </a:lnTo>
                  <a:lnTo>
                    <a:pt x="945291" y="598611"/>
                  </a:lnTo>
                  <a:lnTo>
                    <a:pt x="945291" y="598611"/>
                  </a:lnTo>
                  <a:lnTo>
                    <a:pt x="957607" y="598611"/>
                  </a:lnTo>
                  <a:lnTo>
                    <a:pt x="957607" y="594831"/>
                  </a:lnTo>
                  <a:lnTo>
                    <a:pt x="950657" y="586051"/>
                  </a:lnTo>
                  <a:lnTo>
                    <a:pt x="940657" y="577150"/>
                  </a:lnTo>
                  <a:lnTo>
                    <a:pt x="939804" y="560078"/>
                  </a:lnTo>
                  <a:lnTo>
                    <a:pt x="933219" y="553493"/>
                  </a:lnTo>
                  <a:lnTo>
                    <a:pt x="931390" y="538982"/>
                  </a:lnTo>
                  <a:lnTo>
                    <a:pt x="918952" y="535446"/>
                  </a:lnTo>
                  <a:lnTo>
                    <a:pt x="905416" y="522886"/>
                  </a:lnTo>
                  <a:lnTo>
                    <a:pt x="908709" y="510691"/>
                  </a:lnTo>
                  <a:lnTo>
                    <a:pt x="919805" y="501424"/>
                  </a:lnTo>
                  <a:lnTo>
                    <a:pt x="919805" y="497766"/>
                  </a:lnTo>
                  <a:lnTo>
                    <a:pt x="930658" y="486913"/>
                  </a:lnTo>
                  <a:lnTo>
                    <a:pt x="935292" y="492766"/>
                  </a:lnTo>
                  <a:lnTo>
                    <a:pt x="941023" y="492766"/>
                  </a:lnTo>
                  <a:lnTo>
                    <a:pt x="950291" y="484352"/>
                  </a:lnTo>
                  <a:lnTo>
                    <a:pt x="951388" y="479109"/>
                  </a:lnTo>
                  <a:lnTo>
                    <a:pt x="961266" y="475694"/>
                  </a:lnTo>
                  <a:lnTo>
                    <a:pt x="970899" y="475694"/>
                  </a:lnTo>
                  <a:lnTo>
                    <a:pt x="973460" y="471792"/>
                  </a:lnTo>
                  <a:lnTo>
                    <a:pt x="971509" y="465695"/>
                  </a:lnTo>
                  <a:lnTo>
                    <a:pt x="946754" y="463866"/>
                  </a:lnTo>
                  <a:lnTo>
                    <a:pt x="940292" y="459232"/>
                  </a:lnTo>
                  <a:lnTo>
                    <a:pt x="934926" y="460086"/>
                  </a:lnTo>
                  <a:lnTo>
                    <a:pt x="913952" y="472402"/>
                  </a:lnTo>
                  <a:lnTo>
                    <a:pt x="899807" y="471304"/>
                  </a:lnTo>
                  <a:lnTo>
                    <a:pt x="900783" y="457037"/>
                  </a:lnTo>
                  <a:lnTo>
                    <a:pt x="886637" y="455208"/>
                  </a:lnTo>
                  <a:lnTo>
                    <a:pt x="875053" y="437283"/>
                  </a:lnTo>
                  <a:lnTo>
                    <a:pt x="881760" y="423869"/>
                  </a:lnTo>
                  <a:lnTo>
                    <a:pt x="896758" y="421918"/>
                  </a:lnTo>
                  <a:lnTo>
                    <a:pt x="900904" y="419845"/>
                  </a:lnTo>
                  <a:lnTo>
                    <a:pt x="900904" y="415577"/>
                  </a:lnTo>
                  <a:lnTo>
                    <a:pt x="908709" y="407773"/>
                  </a:lnTo>
                  <a:lnTo>
                    <a:pt x="911757" y="397774"/>
                  </a:lnTo>
                  <a:lnTo>
                    <a:pt x="927488" y="391920"/>
                  </a:lnTo>
                  <a:lnTo>
                    <a:pt x="944925" y="377409"/>
                  </a:lnTo>
                  <a:lnTo>
                    <a:pt x="964558" y="379482"/>
                  </a:lnTo>
                  <a:lnTo>
                    <a:pt x="965777" y="394359"/>
                  </a:lnTo>
                  <a:lnTo>
                    <a:pt x="965777" y="394359"/>
                  </a:lnTo>
                  <a:lnTo>
                    <a:pt x="951754" y="411919"/>
                  </a:lnTo>
                  <a:lnTo>
                    <a:pt x="960168" y="416187"/>
                  </a:lnTo>
                  <a:lnTo>
                    <a:pt x="959437" y="423625"/>
                  </a:lnTo>
                  <a:lnTo>
                    <a:pt x="970167" y="419235"/>
                  </a:lnTo>
                  <a:lnTo>
                    <a:pt x="992361" y="405822"/>
                  </a:lnTo>
                  <a:lnTo>
                    <a:pt x="1004189" y="402895"/>
                  </a:lnTo>
                  <a:lnTo>
                    <a:pt x="1005286" y="400700"/>
                  </a:lnTo>
                  <a:lnTo>
                    <a:pt x="1009676" y="391798"/>
                  </a:lnTo>
                  <a:lnTo>
                    <a:pt x="1013334" y="384482"/>
                  </a:lnTo>
                  <a:lnTo>
                    <a:pt x="1014432" y="382287"/>
                  </a:lnTo>
                  <a:lnTo>
                    <a:pt x="1016749" y="381433"/>
                  </a:lnTo>
                  <a:lnTo>
                    <a:pt x="1026748" y="377897"/>
                  </a:lnTo>
                  <a:lnTo>
                    <a:pt x="1041137" y="372775"/>
                  </a:lnTo>
                  <a:lnTo>
                    <a:pt x="1050283" y="357289"/>
                  </a:lnTo>
                  <a:lnTo>
                    <a:pt x="1055892" y="347899"/>
                  </a:lnTo>
                  <a:lnTo>
                    <a:pt x="1057844" y="344485"/>
                  </a:lnTo>
                  <a:lnTo>
                    <a:pt x="1061867" y="344973"/>
                  </a:lnTo>
                  <a:lnTo>
                    <a:pt x="1067111" y="345583"/>
                  </a:lnTo>
                  <a:lnTo>
                    <a:pt x="1072476" y="346192"/>
                  </a:lnTo>
                  <a:lnTo>
                    <a:pt x="1072476" y="351680"/>
                  </a:lnTo>
                  <a:lnTo>
                    <a:pt x="1072476" y="358874"/>
                  </a:lnTo>
                  <a:lnTo>
                    <a:pt x="1072476" y="359728"/>
                  </a:lnTo>
                  <a:lnTo>
                    <a:pt x="1074793" y="359606"/>
                  </a:lnTo>
                  <a:lnTo>
                    <a:pt x="1082841" y="359118"/>
                  </a:lnTo>
                  <a:lnTo>
                    <a:pt x="1087719" y="354240"/>
                  </a:lnTo>
                  <a:lnTo>
                    <a:pt x="1085158" y="343022"/>
                  </a:lnTo>
                  <a:lnTo>
                    <a:pt x="1083329" y="335096"/>
                  </a:lnTo>
                  <a:lnTo>
                    <a:pt x="1091499" y="335583"/>
                  </a:lnTo>
                  <a:lnTo>
                    <a:pt x="1094548" y="335827"/>
                  </a:lnTo>
                  <a:lnTo>
                    <a:pt x="1101986" y="336315"/>
                  </a:lnTo>
                  <a:lnTo>
                    <a:pt x="1117229" y="320341"/>
                  </a:lnTo>
                  <a:lnTo>
                    <a:pt x="1114180" y="318268"/>
                  </a:lnTo>
                  <a:lnTo>
                    <a:pt x="1121253" y="316195"/>
                  </a:lnTo>
                  <a:lnTo>
                    <a:pt x="1122838" y="314487"/>
                  </a:lnTo>
                  <a:lnTo>
                    <a:pt x="1124058" y="315341"/>
                  </a:lnTo>
                  <a:lnTo>
                    <a:pt x="1126618" y="314609"/>
                  </a:lnTo>
                  <a:lnTo>
                    <a:pt x="1145275" y="308878"/>
                  </a:lnTo>
                  <a:lnTo>
                    <a:pt x="1147714" y="289733"/>
                  </a:lnTo>
                  <a:lnTo>
                    <a:pt x="1143324" y="276807"/>
                  </a:lnTo>
                  <a:lnTo>
                    <a:pt x="1140032" y="266930"/>
                  </a:lnTo>
                  <a:lnTo>
                    <a:pt x="1138203" y="261565"/>
                  </a:lnTo>
                  <a:lnTo>
                    <a:pt x="1143446" y="259370"/>
                  </a:lnTo>
                  <a:lnTo>
                    <a:pt x="1158080" y="253273"/>
                  </a:lnTo>
                  <a:lnTo>
                    <a:pt x="1160030" y="252541"/>
                  </a:lnTo>
                  <a:lnTo>
                    <a:pt x="1161981" y="253029"/>
                  </a:lnTo>
                  <a:lnTo>
                    <a:pt x="1175517" y="256809"/>
                  </a:lnTo>
                  <a:lnTo>
                    <a:pt x="1189418" y="250956"/>
                  </a:lnTo>
                  <a:lnTo>
                    <a:pt x="1194906" y="226446"/>
                  </a:lnTo>
                  <a:lnTo>
                    <a:pt x="1198686" y="209862"/>
                  </a:lnTo>
                  <a:lnTo>
                    <a:pt x="1199174" y="207667"/>
                  </a:lnTo>
                  <a:lnTo>
                    <a:pt x="1201125" y="206203"/>
                  </a:lnTo>
                  <a:lnTo>
                    <a:pt x="1214782" y="196326"/>
                  </a:lnTo>
                  <a:lnTo>
                    <a:pt x="1221001" y="163036"/>
                  </a:lnTo>
                  <a:lnTo>
                    <a:pt x="1217465" y="161817"/>
                  </a:lnTo>
                  <a:lnTo>
                    <a:pt x="1196857" y="174742"/>
                  </a:lnTo>
                  <a:lnTo>
                    <a:pt x="1195515" y="175596"/>
                  </a:lnTo>
                  <a:lnTo>
                    <a:pt x="1194052" y="175596"/>
                  </a:lnTo>
                  <a:lnTo>
                    <a:pt x="1186492" y="176206"/>
                  </a:lnTo>
                  <a:lnTo>
                    <a:pt x="1175639" y="176937"/>
                  </a:lnTo>
                  <a:lnTo>
                    <a:pt x="1166859" y="181937"/>
                  </a:lnTo>
                  <a:lnTo>
                    <a:pt x="1165762" y="182669"/>
                  </a:lnTo>
                  <a:lnTo>
                    <a:pt x="1164420" y="182790"/>
                  </a:lnTo>
                  <a:lnTo>
                    <a:pt x="1151007" y="184010"/>
                  </a:lnTo>
                  <a:lnTo>
                    <a:pt x="1146007" y="184376"/>
                  </a:lnTo>
                  <a:lnTo>
                    <a:pt x="1144544" y="179620"/>
                  </a:lnTo>
                  <a:lnTo>
                    <a:pt x="1140520" y="166084"/>
                  </a:lnTo>
                  <a:lnTo>
                    <a:pt x="1136861" y="153890"/>
                  </a:lnTo>
                  <a:lnTo>
                    <a:pt x="1125765" y="142916"/>
                  </a:lnTo>
                  <a:lnTo>
                    <a:pt x="1114058" y="131087"/>
                  </a:lnTo>
                  <a:lnTo>
                    <a:pt x="1097230" y="124624"/>
                  </a:lnTo>
                  <a:lnTo>
                    <a:pt x="1080768" y="123283"/>
                  </a:lnTo>
                  <a:lnTo>
                    <a:pt x="1075891" y="122917"/>
                  </a:lnTo>
                  <a:lnTo>
                    <a:pt x="1075159" y="118161"/>
                  </a:lnTo>
                  <a:lnTo>
                    <a:pt x="1071379" y="92310"/>
                  </a:lnTo>
                  <a:lnTo>
                    <a:pt x="1066257" y="81701"/>
                  </a:lnTo>
                  <a:lnTo>
                    <a:pt x="1057478" y="63166"/>
                  </a:lnTo>
                  <a:lnTo>
                    <a:pt x="1057112" y="62190"/>
                  </a:lnTo>
                  <a:lnTo>
                    <a:pt x="1056990" y="61093"/>
                  </a:lnTo>
                  <a:lnTo>
                    <a:pt x="1055648" y="46582"/>
                  </a:lnTo>
                  <a:lnTo>
                    <a:pt x="1049430" y="34631"/>
                  </a:lnTo>
                  <a:lnTo>
                    <a:pt x="1038454" y="13535"/>
                  </a:lnTo>
                  <a:lnTo>
                    <a:pt x="1032114" y="12316"/>
                  </a:lnTo>
                  <a:lnTo>
                    <a:pt x="1019188" y="9755"/>
                  </a:lnTo>
                  <a:lnTo>
                    <a:pt x="1018822" y="9633"/>
                  </a:lnTo>
                  <a:lnTo>
                    <a:pt x="1018456" y="9511"/>
                  </a:lnTo>
                  <a:lnTo>
                    <a:pt x="989434" y="366"/>
                  </a:lnTo>
                  <a:lnTo>
                    <a:pt x="988215" y="0"/>
                  </a:lnTo>
                  <a:lnTo>
                    <a:pt x="963095" y="3049"/>
                  </a:lnTo>
                  <a:lnTo>
                    <a:pt x="945657" y="5243"/>
                  </a:lnTo>
                  <a:lnTo>
                    <a:pt x="940657" y="13414"/>
                  </a:lnTo>
                  <a:lnTo>
                    <a:pt x="930902" y="29388"/>
                  </a:lnTo>
                  <a:lnTo>
                    <a:pt x="934560" y="29022"/>
                  </a:lnTo>
                  <a:lnTo>
                    <a:pt x="941999" y="28290"/>
                  </a:lnTo>
                  <a:lnTo>
                    <a:pt x="941267" y="35607"/>
                  </a:lnTo>
                  <a:lnTo>
                    <a:pt x="940170" y="47801"/>
                  </a:lnTo>
                  <a:lnTo>
                    <a:pt x="939926" y="50362"/>
                  </a:lnTo>
                  <a:lnTo>
                    <a:pt x="937975" y="51947"/>
                  </a:lnTo>
                  <a:lnTo>
                    <a:pt x="933585" y="55483"/>
                  </a:lnTo>
                  <a:lnTo>
                    <a:pt x="925415" y="61946"/>
                  </a:lnTo>
                  <a:lnTo>
                    <a:pt x="918708" y="84262"/>
                  </a:lnTo>
                  <a:lnTo>
                    <a:pt x="917489" y="88408"/>
                  </a:lnTo>
                  <a:lnTo>
                    <a:pt x="916879" y="90725"/>
                  </a:lnTo>
                  <a:lnTo>
                    <a:pt x="914684" y="91822"/>
                  </a:lnTo>
                  <a:lnTo>
                    <a:pt x="907733" y="95846"/>
                  </a:lnTo>
                  <a:lnTo>
                    <a:pt x="908099" y="101333"/>
                  </a:lnTo>
                  <a:lnTo>
                    <a:pt x="908831" y="109138"/>
                  </a:lnTo>
                  <a:lnTo>
                    <a:pt x="909075" y="112674"/>
                  </a:lnTo>
                  <a:lnTo>
                    <a:pt x="906148" y="114625"/>
                  </a:lnTo>
                  <a:lnTo>
                    <a:pt x="892247" y="124136"/>
                  </a:lnTo>
                  <a:lnTo>
                    <a:pt x="877492" y="134258"/>
                  </a:lnTo>
                  <a:lnTo>
                    <a:pt x="873102" y="137184"/>
                  </a:lnTo>
                  <a:lnTo>
                    <a:pt x="869566" y="133404"/>
                  </a:lnTo>
                  <a:lnTo>
                    <a:pt x="864078" y="127551"/>
                  </a:lnTo>
                  <a:lnTo>
                    <a:pt x="863224" y="129258"/>
                  </a:lnTo>
                  <a:lnTo>
                    <a:pt x="854932" y="148647"/>
                  </a:lnTo>
                  <a:lnTo>
                    <a:pt x="850543" y="158768"/>
                  </a:lnTo>
                  <a:lnTo>
                    <a:pt x="850177" y="159622"/>
                  </a:lnTo>
                  <a:lnTo>
                    <a:pt x="849567" y="160353"/>
                  </a:lnTo>
                  <a:lnTo>
                    <a:pt x="840665" y="170474"/>
                  </a:lnTo>
                  <a:lnTo>
                    <a:pt x="839690" y="179498"/>
                  </a:lnTo>
                  <a:lnTo>
                    <a:pt x="845909" y="183400"/>
                  </a:lnTo>
                  <a:lnTo>
                    <a:pt x="847494" y="181571"/>
                  </a:lnTo>
                  <a:lnTo>
                    <a:pt x="849689" y="178888"/>
                  </a:lnTo>
                  <a:lnTo>
                    <a:pt x="852859" y="175108"/>
                  </a:lnTo>
                  <a:lnTo>
                    <a:pt x="857249" y="177547"/>
                  </a:lnTo>
                  <a:lnTo>
                    <a:pt x="868224" y="183400"/>
                  </a:lnTo>
                  <a:lnTo>
                    <a:pt x="873833" y="174986"/>
                  </a:lnTo>
                  <a:lnTo>
                    <a:pt x="876272" y="171206"/>
                  </a:lnTo>
                  <a:lnTo>
                    <a:pt x="880662" y="172547"/>
                  </a:lnTo>
                  <a:lnTo>
                    <a:pt x="910782" y="181693"/>
                  </a:lnTo>
                  <a:lnTo>
                    <a:pt x="913708" y="182547"/>
                  </a:lnTo>
                  <a:lnTo>
                    <a:pt x="914684" y="185351"/>
                  </a:lnTo>
                  <a:lnTo>
                    <a:pt x="922244" y="205594"/>
                  </a:lnTo>
                  <a:lnTo>
                    <a:pt x="923951" y="210105"/>
                  </a:lnTo>
                  <a:lnTo>
                    <a:pt x="919927" y="212788"/>
                  </a:lnTo>
                  <a:lnTo>
                    <a:pt x="913708" y="216934"/>
                  </a:lnTo>
                  <a:lnTo>
                    <a:pt x="911148" y="218519"/>
                  </a:lnTo>
                  <a:lnTo>
                    <a:pt x="908343" y="217666"/>
                  </a:lnTo>
                  <a:lnTo>
                    <a:pt x="897368" y="214008"/>
                  </a:lnTo>
                  <a:lnTo>
                    <a:pt x="885296" y="214983"/>
                  </a:lnTo>
                  <a:lnTo>
                    <a:pt x="886027" y="220470"/>
                  </a:lnTo>
                  <a:lnTo>
                    <a:pt x="886637" y="225470"/>
                  </a:lnTo>
                  <a:lnTo>
                    <a:pt x="881881" y="227055"/>
                  </a:lnTo>
                  <a:lnTo>
                    <a:pt x="872248" y="230226"/>
                  </a:lnTo>
                  <a:lnTo>
                    <a:pt x="867980" y="231689"/>
                  </a:lnTo>
                  <a:lnTo>
                    <a:pt x="865298" y="228031"/>
                  </a:lnTo>
                  <a:lnTo>
                    <a:pt x="863103" y="224860"/>
                  </a:lnTo>
                  <a:lnTo>
                    <a:pt x="860907" y="221812"/>
                  </a:lnTo>
                  <a:lnTo>
                    <a:pt x="857615" y="223031"/>
                  </a:lnTo>
                  <a:lnTo>
                    <a:pt x="854323" y="224251"/>
                  </a:lnTo>
                  <a:lnTo>
                    <a:pt x="848104" y="248029"/>
                  </a:lnTo>
                  <a:lnTo>
                    <a:pt x="847128" y="251566"/>
                  </a:lnTo>
                  <a:lnTo>
                    <a:pt x="843592" y="252419"/>
                  </a:lnTo>
                  <a:lnTo>
                    <a:pt x="833227" y="254736"/>
                  </a:lnTo>
                  <a:lnTo>
                    <a:pt x="829935" y="255346"/>
                  </a:lnTo>
                  <a:lnTo>
                    <a:pt x="827618" y="253029"/>
                  </a:lnTo>
                  <a:lnTo>
                    <a:pt x="823472" y="249005"/>
                  </a:lnTo>
                  <a:lnTo>
                    <a:pt x="821276" y="246688"/>
                  </a:lnTo>
                  <a:lnTo>
                    <a:pt x="800790" y="267174"/>
                  </a:lnTo>
                  <a:lnTo>
                    <a:pt x="798352" y="269735"/>
                  </a:lnTo>
                  <a:lnTo>
                    <a:pt x="794815" y="268637"/>
                  </a:lnTo>
                  <a:lnTo>
                    <a:pt x="769208" y="261321"/>
                  </a:lnTo>
                  <a:lnTo>
                    <a:pt x="758477" y="278515"/>
                  </a:lnTo>
                  <a:lnTo>
                    <a:pt x="760671" y="280222"/>
                  </a:lnTo>
                  <a:lnTo>
                    <a:pt x="767013" y="285100"/>
                  </a:lnTo>
                  <a:lnTo>
                    <a:pt x="770915" y="288148"/>
                  </a:lnTo>
                  <a:lnTo>
                    <a:pt x="768720" y="292660"/>
                  </a:lnTo>
                  <a:lnTo>
                    <a:pt x="765793" y="298513"/>
                  </a:lnTo>
                  <a:lnTo>
                    <a:pt x="762867" y="304366"/>
                  </a:lnTo>
                  <a:lnTo>
                    <a:pt x="761525" y="306927"/>
                  </a:lnTo>
                  <a:lnTo>
                    <a:pt x="758721" y="307537"/>
                  </a:lnTo>
                  <a:lnTo>
                    <a:pt x="742624" y="311317"/>
                  </a:lnTo>
                  <a:lnTo>
                    <a:pt x="728113" y="328389"/>
                  </a:lnTo>
                  <a:lnTo>
                    <a:pt x="727260" y="329486"/>
                  </a:lnTo>
                  <a:lnTo>
                    <a:pt x="726040" y="329974"/>
                  </a:lnTo>
                  <a:lnTo>
                    <a:pt x="701164" y="341071"/>
                  </a:lnTo>
                  <a:lnTo>
                    <a:pt x="700432" y="341315"/>
                  </a:lnTo>
                  <a:lnTo>
                    <a:pt x="699579" y="341437"/>
                  </a:lnTo>
                  <a:lnTo>
                    <a:pt x="682019" y="344241"/>
                  </a:lnTo>
                  <a:lnTo>
                    <a:pt x="680312" y="344485"/>
                  </a:lnTo>
                  <a:lnTo>
                    <a:pt x="678727" y="343753"/>
                  </a:lnTo>
                  <a:lnTo>
                    <a:pt x="664094" y="337656"/>
                  </a:lnTo>
                  <a:lnTo>
                    <a:pt x="634706" y="353631"/>
                  </a:lnTo>
                  <a:lnTo>
                    <a:pt x="634218" y="353874"/>
                  </a:lnTo>
                  <a:lnTo>
                    <a:pt x="633731" y="354118"/>
                  </a:lnTo>
                  <a:lnTo>
                    <a:pt x="621902" y="358021"/>
                  </a:lnTo>
                  <a:lnTo>
                    <a:pt x="619097" y="358508"/>
                  </a:lnTo>
                  <a:lnTo>
                    <a:pt x="616781" y="357411"/>
                  </a:lnTo>
                  <a:lnTo>
                    <a:pt x="601782" y="349972"/>
                  </a:lnTo>
                  <a:lnTo>
                    <a:pt x="582881" y="348753"/>
                  </a:lnTo>
                  <a:lnTo>
                    <a:pt x="580564" y="348631"/>
                  </a:lnTo>
                  <a:lnTo>
                    <a:pt x="578613" y="348509"/>
                  </a:lnTo>
                  <a:lnTo>
                    <a:pt x="577027" y="347168"/>
                  </a:lnTo>
                  <a:lnTo>
                    <a:pt x="566784" y="338266"/>
                  </a:lnTo>
                  <a:lnTo>
                    <a:pt x="557273" y="329974"/>
                  </a:lnTo>
                  <a:lnTo>
                    <a:pt x="525081" y="327291"/>
                  </a:lnTo>
                  <a:lnTo>
                    <a:pt x="512276" y="330218"/>
                  </a:lnTo>
                  <a:lnTo>
                    <a:pt x="500936" y="332657"/>
                  </a:lnTo>
                  <a:lnTo>
                    <a:pt x="498741" y="333144"/>
                  </a:lnTo>
                  <a:lnTo>
                    <a:pt x="496912" y="332169"/>
                  </a:lnTo>
                  <a:lnTo>
                    <a:pt x="491425" y="329486"/>
                  </a:lnTo>
                  <a:lnTo>
                    <a:pt x="488010" y="327779"/>
                  </a:lnTo>
                  <a:lnTo>
                    <a:pt x="484718" y="329486"/>
                  </a:lnTo>
                  <a:lnTo>
                    <a:pt x="483011" y="331071"/>
                  </a:lnTo>
                  <a:lnTo>
                    <a:pt x="478743" y="335339"/>
                  </a:lnTo>
                  <a:lnTo>
                    <a:pt x="476670" y="337291"/>
                  </a:lnTo>
                  <a:lnTo>
                    <a:pt x="473987" y="337169"/>
                  </a:lnTo>
                  <a:lnTo>
                    <a:pt x="455939" y="335827"/>
                  </a:lnTo>
                  <a:lnTo>
                    <a:pt x="453379" y="335705"/>
                  </a:lnTo>
                  <a:lnTo>
                    <a:pt x="451671" y="333632"/>
                  </a:lnTo>
                  <a:lnTo>
                    <a:pt x="438746" y="318024"/>
                  </a:lnTo>
                  <a:lnTo>
                    <a:pt x="437039" y="316073"/>
                  </a:lnTo>
                  <a:lnTo>
                    <a:pt x="437282" y="313390"/>
                  </a:lnTo>
                  <a:lnTo>
                    <a:pt x="439721" y="294611"/>
                  </a:lnTo>
                  <a:lnTo>
                    <a:pt x="417528" y="284856"/>
                  </a:lnTo>
                  <a:lnTo>
                    <a:pt x="374848" y="266199"/>
                  </a:lnTo>
                  <a:lnTo>
                    <a:pt x="369849" y="265101"/>
                  </a:lnTo>
                  <a:lnTo>
                    <a:pt x="351558" y="260711"/>
                  </a:lnTo>
                  <a:lnTo>
                    <a:pt x="349484" y="260223"/>
                  </a:lnTo>
                  <a:lnTo>
                    <a:pt x="348143" y="258516"/>
                  </a:lnTo>
                  <a:lnTo>
                    <a:pt x="339241" y="246932"/>
                  </a:lnTo>
                  <a:lnTo>
                    <a:pt x="335461" y="242054"/>
                  </a:lnTo>
                  <a:lnTo>
                    <a:pt x="332535" y="238152"/>
                  </a:lnTo>
                  <a:lnTo>
                    <a:pt x="335583" y="234494"/>
                  </a:lnTo>
                  <a:lnTo>
                    <a:pt x="345460" y="222422"/>
                  </a:lnTo>
                  <a:lnTo>
                    <a:pt x="317048" y="181327"/>
                  </a:lnTo>
                  <a:lnTo>
                    <a:pt x="294367" y="181327"/>
                  </a:lnTo>
                  <a:lnTo>
                    <a:pt x="292538" y="178644"/>
                  </a:lnTo>
                  <a:lnTo>
                    <a:pt x="271686" y="148647"/>
                  </a:lnTo>
                  <a:lnTo>
                    <a:pt x="269491" y="14864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6" name="Freihandform: Form 715">
              <a:extLst>
                <a:ext uri="{FF2B5EF4-FFF2-40B4-BE49-F238E27FC236}">
                  <a16:creationId xmlns:a16="http://schemas.microsoft.com/office/drawing/2014/main" id="{94ED0913-DCF6-4606-A5FF-4CDF2A7AE96F}"/>
                </a:ext>
              </a:extLst>
            </p:cNvPr>
            <p:cNvSpPr/>
            <p:nvPr/>
          </p:nvSpPr>
          <p:spPr>
            <a:xfrm>
              <a:off x="4928435" y="2646159"/>
              <a:ext cx="2682" cy="975"/>
            </a:xfrm>
            <a:custGeom>
              <a:avLst/>
              <a:gdLst>
                <a:gd name="connsiteX0" fmla="*/ 0 w 2682"/>
                <a:gd name="connsiteY0" fmla="*/ 610 h 975"/>
                <a:gd name="connsiteX1" fmla="*/ 366 w 2682"/>
                <a:gd name="connsiteY1" fmla="*/ 976 h 975"/>
                <a:gd name="connsiteX2" fmla="*/ 2683 w 2682"/>
                <a:gd name="connsiteY2" fmla="*/ 488 h 975"/>
                <a:gd name="connsiteX3" fmla="*/ 853 w 2682"/>
                <a:gd name="connsiteY3" fmla="*/ 0 h 975"/>
                <a:gd name="connsiteX4" fmla="*/ 0 w 2682"/>
                <a:gd name="connsiteY4" fmla="*/ 610 h 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2" h="975">
                  <a:moveTo>
                    <a:pt x="0" y="610"/>
                  </a:moveTo>
                  <a:lnTo>
                    <a:pt x="366" y="976"/>
                  </a:lnTo>
                  <a:lnTo>
                    <a:pt x="2683" y="488"/>
                  </a:lnTo>
                  <a:lnTo>
                    <a:pt x="853" y="0"/>
                  </a:lnTo>
                  <a:lnTo>
                    <a:pt x="0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7" name="Freihandform: Form 716">
              <a:extLst>
                <a:ext uri="{FF2B5EF4-FFF2-40B4-BE49-F238E27FC236}">
                  <a16:creationId xmlns:a16="http://schemas.microsoft.com/office/drawing/2014/main" id="{F3BE731B-4805-472E-BBCC-2A6E0464414F}"/>
                </a:ext>
              </a:extLst>
            </p:cNvPr>
            <p:cNvSpPr/>
            <p:nvPr/>
          </p:nvSpPr>
          <p:spPr>
            <a:xfrm>
              <a:off x="6882061" y="3591085"/>
              <a:ext cx="8291" cy="4999"/>
            </a:xfrm>
            <a:custGeom>
              <a:avLst/>
              <a:gdLst>
                <a:gd name="connsiteX0" fmla="*/ 3049 w 8291"/>
                <a:gd name="connsiteY0" fmla="*/ 1097 h 4999"/>
                <a:gd name="connsiteX1" fmla="*/ 0 w 8291"/>
                <a:gd name="connsiteY1" fmla="*/ 4756 h 4999"/>
                <a:gd name="connsiteX2" fmla="*/ 244 w 8291"/>
                <a:gd name="connsiteY2" fmla="*/ 5000 h 4999"/>
                <a:gd name="connsiteX3" fmla="*/ 8292 w 8291"/>
                <a:gd name="connsiteY3" fmla="*/ 0 h 4999"/>
                <a:gd name="connsiteX4" fmla="*/ 3049 w 8291"/>
                <a:gd name="connsiteY4" fmla="*/ 1097 h 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91" h="4999">
                  <a:moveTo>
                    <a:pt x="3049" y="1097"/>
                  </a:moveTo>
                  <a:lnTo>
                    <a:pt x="0" y="4756"/>
                  </a:lnTo>
                  <a:lnTo>
                    <a:pt x="244" y="5000"/>
                  </a:lnTo>
                  <a:lnTo>
                    <a:pt x="8292" y="0"/>
                  </a:lnTo>
                  <a:lnTo>
                    <a:pt x="3049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8" name="Freihandform: Form 717">
              <a:extLst>
                <a:ext uri="{FF2B5EF4-FFF2-40B4-BE49-F238E27FC236}">
                  <a16:creationId xmlns:a16="http://schemas.microsoft.com/office/drawing/2014/main" id="{5D227CCB-1892-4A63-B25D-E26E68B0148F}"/>
                </a:ext>
              </a:extLst>
            </p:cNvPr>
            <p:cNvSpPr/>
            <p:nvPr/>
          </p:nvSpPr>
          <p:spPr>
            <a:xfrm>
              <a:off x="5485098" y="1269926"/>
              <a:ext cx="304000" cy="144135"/>
            </a:xfrm>
            <a:custGeom>
              <a:avLst/>
              <a:gdLst>
                <a:gd name="connsiteX0" fmla="*/ 32680 w 304000"/>
                <a:gd name="connsiteY0" fmla="*/ 122064 h 144135"/>
                <a:gd name="connsiteX1" fmla="*/ 36217 w 304000"/>
                <a:gd name="connsiteY1" fmla="*/ 128405 h 144135"/>
                <a:gd name="connsiteX2" fmla="*/ 22437 w 304000"/>
                <a:gd name="connsiteY2" fmla="*/ 131453 h 144135"/>
                <a:gd name="connsiteX3" fmla="*/ 15852 w 304000"/>
                <a:gd name="connsiteY3" fmla="*/ 135355 h 144135"/>
                <a:gd name="connsiteX4" fmla="*/ 17316 w 304000"/>
                <a:gd name="connsiteY4" fmla="*/ 138404 h 144135"/>
                <a:gd name="connsiteX5" fmla="*/ 39265 w 304000"/>
                <a:gd name="connsiteY5" fmla="*/ 137550 h 144135"/>
                <a:gd name="connsiteX6" fmla="*/ 43777 w 304000"/>
                <a:gd name="connsiteY6" fmla="*/ 140233 h 144135"/>
                <a:gd name="connsiteX7" fmla="*/ 57800 w 304000"/>
                <a:gd name="connsiteY7" fmla="*/ 144135 h 144135"/>
                <a:gd name="connsiteX8" fmla="*/ 76336 w 304000"/>
                <a:gd name="connsiteY8" fmla="*/ 122673 h 144135"/>
                <a:gd name="connsiteX9" fmla="*/ 77920 w 304000"/>
                <a:gd name="connsiteY9" fmla="*/ 108040 h 144135"/>
                <a:gd name="connsiteX10" fmla="*/ 87432 w 304000"/>
                <a:gd name="connsiteY10" fmla="*/ 107065 h 144135"/>
                <a:gd name="connsiteX11" fmla="*/ 93285 w 304000"/>
                <a:gd name="connsiteY11" fmla="*/ 102065 h 144135"/>
                <a:gd name="connsiteX12" fmla="*/ 93285 w 304000"/>
                <a:gd name="connsiteY12" fmla="*/ 91700 h 144135"/>
                <a:gd name="connsiteX13" fmla="*/ 102553 w 304000"/>
                <a:gd name="connsiteY13" fmla="*/ 91700 h 144135"/>
                <a:gd name="connsiteX14" fmla="*/ 105114 w 304000"/>
                <a:gd name="connsiteY14" fmla="*/ 84628 h 144135"/>
                <a:gd name="connsiteX15" fmla="*/ 123283 w 304000"/>
                <a:gd name="connsiteY15" fmla="*/ 84628 h 144135"/>
                <a:gd name="connsiteX16" fmla="*/ 124624 w 304000"/>
                <a:gd name="connsiteY16" fmla="*/ 78043 h 144135"/>
                <a:gd name="connsiteX17" fmla="*/ 132794 w 304000"/>
                <a:gd name="connsiteY17" fmla="*/ 76457 h 144135"/>
                <a:gd name="connsiteX18" fmla="*/ 132794 w 304000"/>
                <a:gd name="connsiteY18" fmla="*/ 69019 h 144135"/>
                <a:gd name="connsiteX19" fmla="*/ 158036 w 304000"/>
                <a:gd name="connsiteY19" fmla="*/ 60483 h 144135"/>
                <a:gd name="connsiteX20" fmla="*/ 166572 w 304000"/>
                <a:gd name="connsiteY20" fmla="*/ 54264 h 144135"/>
                <a:gd name="connsiteX21" fmla="*/ 176815 w 304000"/>
                <a:gd name="connsiteY21" fmla="*/ 51094 h 144135"/>
                <a:gd name="connsiteX22" fmla="*/ 193155 w 304000"/>
                <a:gd name="connsiteY22" fmla="*/ 46948 h 144135"/>
                <a:gd name="connsiteX23" fmla="*/ 196082 w 304000"/>
                <a:gd name="connsiteY23" fmla="*/ 42558 h 144135"/>
                <a:gd name="connsiteX24" fmla="*/ 218032 w 304000"/>
                <a:gd name="connsiteY24" fmla="*/ 39997 h 144135"/>
                <a:gd name="connsiteX25" fmla="*/ 226811 w 304000"/>
                <a:gd name="connsiteY25" fmla="*/ 36948 h 144135"/>
                <a:gd name="connsiteX26" fmla="*/ 253517 w 304000"/>
                <a:gd name="connsiteY26" fmla="*/ 33900 h 144135"/>
                <a:gd name="connsiteX27" fmla="*/ 279368 w 304000"/>
                <a:gd name="connsiteY27" fmla="*/ 24632 h 144135"/>
                <a:gd name="connsiteX28" fmla="*/ 296928 w 304000"/>
                <a:gd name="connsiteY28" fmla="*/ 22437 h 144135"/>
                <a:gd name="connsiteX29" fmla="*/ 295586 w 304000"/>
                <a:gd name="connsiteY29" fmla="*/ 16462 h 144135"/>
                <a:gd name="connsiteX30" fmla="*/ 304000 w 304000"/>
                <a:gd name="connsiteY30" fmla="*/ 11097 h 144135"/>
                <a:gd name="connsiteX31" fmla="*/ 302049 w 304000"/>
                <a:gd name="connsiteY31" fmla="*/ 4634 h 144135"/>
                <a:gd name="connsiteX32" fmla="*/ 277661 w 304000"/>
                <a:gd name="connsiteY32" fmla="*/ 0 h 144135"/>
                <a:gd name="connsiteX33" fmla="*/ 260833 w 304000"/>
                <a:gd name="connsiteY33" fmla="*/ 4268 h 144135"/>
                <a:gd name="connsiteX34" fmla="*/ 246688 w 304000"/>
                <a:gd name="connsiteY34" fmla="*/ 5975 h 144135"/>
                <a:gd name="connsiteX35" fmla="*/ 243883 w 304000"/>
                <a:gd name="connsiteY35" fmla="*/ 14999 h 144135"/>
                <a:gd name="connsiteX36" fmla="*/ 192912 w 304000"/>
                <a:gd name="connsiteY36" fmla="*/ 24510 h 144135"/>
                <a:gd name="connsiteX37" fmla="*/ 169987 w 304000"/>
                <a:gd name="connsiteY37" fmla="*/ 29754 h 144135"/>
                <a:gd name="connsiteX38" fmla="*/ 168401 w 304000"/>
                <a:gd name="connsiteY38" fmla="*/ 25852 h 144135"/>
                <a:gd name="connsiteX39" fmla="*/ 148037 w 304000"/>
                <a:gd name="connsiteY39" fmla="*/ 25852 h 144135"/>
                <a:gd name="connsiteX40" fmla="*/ 145476 w 304000"/>
                <a:gd name="connsiteY40" fmla="*/ 28047 h 144135"/>
                <a:gd name="connsiteX41" fmla="*/ 157670 w 304000"/>
                <a:gd name="connsiteY41" fmla="*/ 33412 h 144135"/>
                <a:gd name="connsiteX42" fmla="*/ 135111 w 304000"/>
                <a:gd name="connsiteY42" fmla="*/ 36704 h 144135"/>
                <a:gd name="connsiteX43" fmla="*/ 135111 w 304000"/>
                <a:gd name="connsiteY43" fmla="*/ 32802 h 144135"/>
                <a:gd name="connsiteX44" fmla="*/ 126575 w 304000"/>
                <a:gd name="connsiteY44" fmla="*/ 32802 h 144135"/>
                <a:gd name="connsiteX45" fmla="*/ 115235 w 304000"/>
                <a:gd name="connsiteY45" fmla="*/ 40241 h 144135"/>
                <a:gd name="connsiteX46" fmla="*/ 98285 w 304000"/>
                <a:gd name="connsiteY46" fmla="*/ 41948 h 144135"/>
                <a:gd name="connsiteX47" fmla="*/ 98285 w 304000"/>
                <a:gd name="connsiteY47" fmla="*/ 48045 h 144135"/>
                <a:gd name="connsiteX48" fmla="*/ 90359 w 304000"/>
                <a:gd name="connsiteY48" fmla="*/ 48045 h 144135"/>
                <a:gd name="connsiteX49" fmla="*/ 84628 w 304000"/>
                <a:gd name="connsiteY49" fmla="*/ 59020 h 144135"/>
                <a:gd name="connsiteX50" fmla="*/ 67068 w 304000"/>
                <a:gd name="connsiteY50" fmla="*/ 59020 h 144135"/>
                <a:gd name="connsiteX51" fmla="*/ 67068 w 304000"/>
                <a:gd name="connsiteY51" fmla="*/ 62800 h 144135"/>
                <a:gd name="connsiteX52" fmla="*/ 52313 w 304000"/>
                <a:gd name="connsiteY52" fmla="*/ 67800 h 144135"/>
                <a:gd name="connsiteX53" fmla="*/ 40851 w 304000"/>
                <a:gd name="connsiteY53" fmla="*/ 65239 h 144135"/>
                <a:gd name="connsiteX54" fmla="*/ 37436 w 304000"/>
                <a:gd name="connsiteY54" fmla="*/ 66214 h 144135"/>
                <a:gd name="connsiteX55" fmla="*/ 39875 w 304000"/>
                <a:gd name="connsiteY55" fmla="*/ 67678 h 144135"/>
                <a:gd name="connsiteX56" fmla="*/ 41216 w 304000"/>
                <a:gd name="connsiteY56" fmla="*/ 75848 h 144135"/>
                <a:gd name="connsiteX57" fmla="*/ 56825 w 304000"/>
                <a:gd name="connsiteY57" fmla="*/ 80481 h 144135"/>
                <a:gd name="connsiteX58" fmla="*/ 46094 w 304000"/>
                <a:gd name="connsiteY58" fmla="*/ 85359 h 144135"/>
                <a:gd name="connsiteX59" fmla="*/ 43533 w 304000"/>
                <a:gd name="connsiteY59" fmla="*/ 86822 h 144135"/>
                <a:gd name="connsiteX60" fmla="*/ 54142 w 304000"/>
                <a:gd name="connsiteY60" fmla="*/ 93285 h 144135"/>
                <a:gd name="connsiteX61" fmla="*/ 36582 w 304000"/>
                <a:gd name="connsiteY61" fmla="*/ 95602 h 144135"/>
                <a:gd name="connsiteX62" fmla="*/ 34875 w 304000"/>
                <a:gd name="connsiteY62" fmla="*/ 99626 h 144135"/>
                <a:gd name="connsiteX63" fmla="*/ 45728 w 304000"/>
                <a:gd name="connsiteY63" fmla="*/ 107065 h 144135"/>
                <a:gd name="connsiteX64" fmla="*/ 44143 w 304000"/>
                <a:gd name="connsiteY64" fmla="*/ 109016 h 144135"/>
                <a:gd name="connsiteX65" fmla="*/ 43289 w 304000"/>
                <a:gd name="connsiteY65" fmla="*/ 109016 h 144135"/>
                <a:gd name="connsiteX66" fmla="*/ 43289 w 304000"/>
                <a:gd name="connsiteY66" fmla="*/ 109016 h 144135"/>
                <a:gd name="connsiteX67" fmla="*/ 41826 w 304000"/>
                <a:gd name="connsiteY67" fmla="*/ 109747 h 144135"/>
                <a:gd name="connsiteX68" fmla="*/ 40851 w 304000"/>
                <a:gd name="connsiteY68" fmla="*/ 109747 h 144135"/>
                <a:gd name="connsiteX69" fmla="*/ 38655 w 304000"/>
                <a:gd name="connsiteY69" fmla="*/ 109747 h 144135"/>
                <a:gd name="connsiteX70" fmla="*/ 37314 w 304000"/>
                <a:gd name="connsiteY70" fmla="*/ 109747 h 144135"/>
                <a:gd name="connsiteX71" fmla="*/ 34022 w 304000"/>
                <a:gd name="connsiteY71" fmla="*/ 109016 h 144135"/>
                <a:gd name="connsiteX72" fmla="*/ 34022 w 304000"/>
                <a:gd name="connsiteY72" fmla="*/ 109016 h 144135"/>
                <a:gd name="connsiteX73" fmla="*/ 28291 w 304000"/>
                <a:gd name="connsiteY73" fmla="*/ 107553 h 144135"/>
                <a:gd name="connsiteX74" fmla="*/ 23413 w 304000"/>
                <a:gd name="connsiteY74" fmla="*/ 109016 h 144135"/>
                <a:gd name="connsiteX75" fmla="*/ 18901 w 304000"/>
                <a:gd name="connsiteY75" fmla="*/ 111089 h 144135"/>
                <a:gd name="connsiteX76" fmla="*/ 14511 w 304000"/>
                <a:gd name="connsiteY76" fmla="*/ 119137 h 144135"/>
                <a:gd name="connsiteX77" fmla="*/ 2317 w 304000"/>
                <a:gd name="connsiteY77" fmla="*/ 119991 h 144135"/>
                <a:gd name="connsiteX78" fmla="*/ 0 w 304000"/>
                <a:gd name="connsiteY78" fmla="*/ 121820 h 144135"/>
                <a:gd name="connsiteX79" fmla="*/ 9024 w 304000"/>
                <a:gd name="connsiteY79" fmla="*/ 125966 h 144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304000" h="144135">
                  <a:moveTo>
                    <a:pt x="32680" y="122064"/>
                  </a:moveTo>
                  <a:lnTo>
                    <a:pt x="36217" y="128405"/>
                  </a:lnTo>
                  <a:lnTo>
                    <a:pt x="22437" y="131453"/>
                  </a:lnTo>
                  <a:lnTo>
                    <a:pt x="15852" y="135355"/>
                  </a:lnTo>
                  <a:lnTo>
                    <a:pt x="17316" y="138404"/>
                  </a:lnTo>
                  <a:lnTo>
                    <a:pt x="39265" y="137550"/>
                  </a:lnTo>
                  <a:lnTo>
                    <a:pt x="43777" y="140233"/>
                  </a:lnTo>
                  <a:lnTo>
                    <a:pt x="57800" y="144135"/>
                  </a:lnTo>
                  <a:lnTo>
                    <a:pt x="76336" y="122673"/>
                  </a:lnTo>
                  <a:lnTo>
                    <a:pt x="77920" y="108040"/>
                  </a:lnTo>
                  <a:lnTo>
                    <a:pt x="87432" y="107065"/>
                  </a:lnTo>
                  <a:lnTo>
                    <a:pt x="93285" y="102065"/>
                  </a:lnTo>
                  <a:lnTo>
                    <a:pt x="93285" y="91700"/>
                  </a:lnTo>
                  <a:lnTo>
                    <a:pt x="102553" y="91700"/>
                  </a:lnTo>
                  <a:lnTo>
                    <a:pt x="105114" y="84628"/>
                  </a:lnTo>
                  <a:lnTo>
                    <a:pt x="123283" y="84628"/>
                  </a:lnTo>
                  <a:lnTo>
                    <a:pt x="124624" y="78043"/>
                  </a:lnTo>
                  <a:lnTo>
                    <a:pt x="132794" y="76457"/>
                  </a:lnTo>
                  <a:lnTo>
                    <a:pt x="132794" y="69019"/>
                  </a:lnTo>
                  <a:lnTo>
                    <a:pt x="158036" y="60483"/>
                  </a:lnTo>
                  <a:lnTo>
                    <a:pt x="166572" y="54264"/>
                  </a:lnTo>
                  <a:lnTo>
                    <a:pt x="176815" y="51094"/>
                  </a:lnTo>
                  <a:lnTo>
                    <a:pt x="193155" y="46948"/>
                  </a:lnTo>
                  <a:lnTo>
                    <a:pt x="196082" y="42558"/>
                  </a:lnTo>
                  <a:lnTo>
                    <a:pt x="218032" y="39997"/>
                  </a:lnTo>
                  <a:lnTo>
                    <a:pt x="226811" y="36948"/>
                  </a:lnTo>
                  <a:lnTo>
                    <a:pt x="253517" y="33900"/>
                  </a:lnTo>
                  <a:lnTo>
                    <a:pt x="279368" y="24632"/>
                  </a:lnTo>
                  <a:lnTo>
                    <a:pt x="296928" y="22437"/>
                  </a:lnTo>
                  <a:lnTo>
                    <a:pt x="295586" y="16462"/>
                  </a:lnTo>
                  <a:lnTo>
                    <a:pt x="304000" y="11097"/>
                  </a:lnTo>
                  <a:lnTo>
                    <a:pt x="302049" y="4634"/>
                  </a:lnTo>
                  <a:lnTo>
                    <a:pt x="277661" y="0"/>
                  </a:lnTo>
                  <a:lnTo>
                    <a:pt x="260833" y="4268"/>
                  </a:lnTo>
                  <a:lnTo>
                    <a:pt x="246688" y="5975"/>
                  </a:lnTo>
                  <a:lnTo>
                    <a:pt x="243883" y="14999"/>
                  </a:lnTo>
                  <a:lnTo>
                    <a:pt x="192912" y="24510"/>
                  </a:lnTo>
                  <a:lnTo>
                    <a:pt x="169987" y="29754"/>
                  </a:lnTo>
                  <a:lnTo>
                    <a:pt x="168401" y="25852"/>
                  </a:lnTo>
                  <a:lnTo>
                    <a:pt x="148037" y="25852"/>
                  </a:lnTo>
                  <a:lnTo>
                    <a:pt x="145476" y="28047"/>
                  </a:lnTo>
                  <a:lnTo>
                    <a:pt x="157670" y="33412"/>
                  </a:lnTo>
                  <a:lnTo>
                    <a:pt x="135111" y="36704"/>
                  </a:lnTo>
                  <a:lnTo>
                    <a:pt x="135111" y="32802"/>
                  </a:lnTo>
                  <a:lnTo>
                    <a:pt x="126575" y="32802"/>
                  </a:lnTo>
                  <a:lnTo>
                    <a:pt x="115235" y="40241"/>
                  </a:lnTo>
                  <a:lnTo>
                    <a:pt x="98285" y="41948"/>
                  </a:lnTo>
                  <a:lnTo>
                    <a:pt x="98285" y="48045"/>
                  </a:lnTo>
                  <a:lnTo>
                    <a:pt x="90359" y="48045"/>
                  </a:lnTo>
                  <a:lnTo>
                    <a:pt x="84628" y="59020"/>
                  </a:lnTo>
                  <a:lnTo>
                    <a:pt x="67068" y="59020"/>
                  </a:lnTo>
                  <a:lnTo>
                    <a:pt x="67068" y="62800"/>
                  </a:lnTo>
                  <a:lnTo>
                    <a:pt x="52313" y="67800"/>
                  </a:lnTo>
                  <a:lnTo>
                    <a:pt x="40851" y="65239"/>
                  </a:lnTo>
                  <a:lnTo>
                    <a:pt x="37436" y="66214"/>
                  </a:lnTo>
                  <a:lnTo>
                    <a:pt x="39875" y="67678"/>
                  </a:lnTo>
                  <a:lnTo>
                    <a:pt x="41216" y="75848"/>
                  </a:lnTo>
                  <a:lnTo>
                    <a:pt x="56825" y="80481"/>
                  </a:lnTo>
                  <a:lnTo>
                    <a:pt x="46094" y="85359"/>
                  </a:lnTo>
                  <a:lnTo>
                    <a:pt x="43533" y="86822"/>
                  </a:lnTo>
                  <a:lnTo>
                    <a:pt x="54142" y="93285"/>
                  </a:lnTo>
                  <a:lnTo>
                    <a:pt x="36582" y="95602"/>
                  </a:lnTo>
                  <a:lnTo>
                    <a:pt x="34875" y="99626"/>
                  </a:lnTo>
                  <a:lnTo>
                    <a:pt x="45728" y="107065"/>
                  </a:lnTo>
                  <a:lnTo>
                    <a:pt x="44143" y="109016"/>
                  </a:lnTo>
                  <a:lnTo>
                    <a:pt x="43289" y="109016"/>
                  </a:lnTo>
                  <a:lnTo>
                    <a:pt x="43289" y="109016"/>
                  </a:lnTo>
                  <a:lnTo>
                    <a:pt x="41826" y="109747"/>
                  </a:lnTo>
                  <a:lnTo>
                    <a:pt x="40851" y="109747"/>
                  </a:lnTo>
                  <a:lnTo>
                    <a:pt x="38655" y="109747"/>
                  </a:lnTo>
                  <a:lnTo>
                    <a:pt x="37314" y="109747"/>
                  </a:lnTo>
                  <a:cubicBezTo>
                    <a:pt x="36177" y="109739"/>
                    <a:pt x="35055" y="109490"/>
                    <a:pt x="34022" y="109016"/>
                  </a:cubicBezTo>
                  <a:lnTo>
                    <a:pt x="34022" y="109016"/>
                  </a:lnTo>
                  <a:cubicBezTo>
                    <a:pt x="32151" y="108385"/>
                    <a:pt x="30235" y="107896"/>
                    <a:pt x="28291" y="107553"/>
                  </a:cubicBezTo>
                  <a:lnTo>
                    <a:pt x="23413" y="109016"/>
                  </a:lnTo>
                  <a:lnTo>
                    <a:pt x="18901" y="111089"/>
                  </a:lnTo>
                  <a:lnTo>
                    <a:pt x="14511" y="119137"/>
                  </a:lnTo>
                  <a:lnTo>
                    <a:pt x="2317" y="119991"/>
                  </a:lnTo>
                  <a:lnTo>
                    <a:pt x="0" y="121820"/>
                  </a:lnTo>
                  <a:lnTo>
                    <a:pt x="9024" y="1259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19" name="Freihandform: Form 718">
              <a:extLst>
                <a:ext uri="{FF2B5EF4-FFF2-40B4-BE49-F238E27FC236}">
                  <a16:creationId xmlns:a16="http://schemas.microsoft.com/office/drawing/2014/main" id="{D6AE19DE-2A07-469C-AB6C-1428F15C1E89}"/>
                </a:ext>
              </a:extLst>
            </p:cNvPr>
            <p:cNvSpPr/>
            <p:nvPr/>
          </p:nvSpPr>
          <p:spPr>
            <a:xfrm>
              <a:off x="6969250" y="3455486"/>
              <a:ext cx="5731" cy="1097"/>
            </a:xfrm>
            <a:custGeom>
              <a:avLst/>
              <a:gdLst>
                <a:gd name="connsiteX0" fmla="*/ 0 w 5731"/>
                <a:gd name="connsiteY0" fmla="*/ 244 h 1097"/>
                <a:gd name="connsiteX1" fmla="*/ 366 w 5731"/>
                <a:gd name="connsiteY1" fmla="*/ 488 h 1097"/>
                <a:gd name="connsiteX2" fmla="*/ 5609 w 5731"/>
                <a:gd name="connsiteY2" fmla="*/ 1098 h 1097"/>
                <a:gd name="connsiteX3" fmla="*/ 5731 w 5731"/>
                <a:gd name="connsiteY3" fmla="*/ 610 h 1097"/>
                <a:gd name="connsiteX4" fmla="*/ 366 w 5731"/>
                <a:gd name="connsiteY4" fmla="*/ 0 h 1097"/>
                <a:gd name="connsiteX5" fmla="*/ 0 w 5731"/>
                <a:gd name="connsiteY5" fmla="*/ 244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1" h="1097">
                  <a:moveTo>
                    <a:pt x="0" y="244"/>
                  </a:moveTo>
                  <a:lnTo>
                    <a:pt x="366" y="488"/>
                  </a:lnTo>
                  <a:lnTo>
                    <a:pt x="5609" y="1098"/>
                  </a:lnTo>
                  <a:lnTo>
                    <a:pt x="5731" y="610"/>
                  </a:lnTo>
                  <a:lnTo>
                    <a:pt x="366" y="0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0" name="Freihandform: Form 719">
              <a:extLst>
                <a:ext uri="{FF2B5EF4-FFF2-40B4-BE49-F238E27FC236}">
                  <a16:creationId xmlns:a16="http://schemas.microsoft.com/office/drawing/2014/main" id="{5FDC66E2-78AF-4E21-AEB0-99D3C989F13A}"/>
                </a:ext>
              </a:extLst>
            </p:cNvPr>
            <p:cNvSpPr/>
            <p:nvPr/>
          </p:nvSpPr>
          <p:spPr>
            <a:xfrm>
              <a:off x="6861819" y="3201115"/>
              <a:ext cx="11950" cy="14755"/>
            </a:xfrm>
            <a:custGeom>
              <a:avLst/>
              <a:gdLst>
                <a:gd name="connsiteX0" fmla="*/ 11950 w 11950"/>
                <a:gd name="connsiteY0" fmla="*/ 1951 h 14755"/>
                <a:gd name="connsiteX1" fmla="*/ 7439 w 11950"/>
                <a:gd name="connsiteY1" fmla="*/ 0 h 14755"/>
                <a:gd name="connsiteX2" fmla="*/ 1342 w 11950"/>
                <a:gd name="connsiteY2" fmla="*/ 0 h 14755"/>
                <a:gd name="connsiteX3" fmla="*/ 0 w 11950"/>
                <a:gd name="connsiteY3" fmla="*/ 14755 h 14755"/>
                <a:gd name="connsiteX4" fmla="*/ 9877 w 11950"/>
                <a:gd name="connsiteY4" fmla="*/ 8902 h 14755"/>
                <a:gd name="connsiteX5" fmla="*/ 11950 w 11950"/>
                <a:gd name="connsiteY5" fmla="*/ 1951 h 14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50" h="14755">
                  <a:moveTo>
                    <a:pt x="11950" y="1951"/>
                  </a:moveTo>
                  <a:lnTo>
                    <a:pt x="7439" y="0"/>
                  </a:lnTo>
                  <a:lnTo>
                    <a:pt x="1342" y="0"/>
                  </a:lnTo>
                  <a:lnTo>
                    <a:pt x="0" y="14755"/>
                  </a:lnTo>
                  <a:lnTo>
                    <a:pt x="9877" y="8902"/>
                  </a:lnTo>
                  <a:lnTo>
                    <a:pt x="11950" y="19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1" name="Freihandform: Form 720">
              <a:extLst>
                <a:ext uri="{FF2B5EF4-FFF2-40B4-BE49-F238E27FC236}">
                  <a16:creationId xmlns:a16="http://schemas.microsoft.com/office/drawing/2014/main" id="{B2EEBEC0-A984-439C-AC83-04D7F8DA367F}"/>
                </a:ext>
              </a:extLst>
            </p:cNvPr>
            <p:cNvSpPr/>
            <p:nvPr/>
          </p:nvSpPr>
          <p:spPr>
            <a:xfrm>
              <a:off x="4926362" y="2573848"/>
              <a:ext cx="3170" cy="1463"/>
            </a:xfrm>
            <a:custGeom>
              <a:avLst/>
              <a:gdLst>
                <a:gd name="connsiteX0" fmla="*/ 3171 w 3170"/>
                <a:gd name="connsiteY0" fmla="*/ 244 h 1463"/>
                <a:gd name="connsiteX1" fmla="*/ 732 w 3170"/>
                <a:gd name="connsiteY1" fmla="*/ 0 h 1463"/>
                <a:gd name="connsiteX2" fmla="*/ 0 w 3170"/>
                <a:gd name="connsiteY2" fmla="*/ 1097 h 1463"/>
                <a:gd name="connsiteX3" fmla="*/ 366 w 3170"/>
                <a:gd name="connsiteY3" fmla="*/ 1463 h 1463"/>
                <a:gd name="connsiteX4" fmla="*/ 3171 w 3170"/>
                <a:gd name="connsiteY4" fmla="*/ 488 h 1463"/>
                <a:gd name="connsiteX5" fmla="*/ 3171 w 3170"/>
                <a:gd name="connsiteY5" fmla="*/ 244 h 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0" h="1463">
                  <a:moveTo>
                    <a:pt x="3171" y="244"/>
                  </a:moveTo>
                  <a:lnTo>
                    <a:pt x="732" y="0"/>
                  </a:lnTo>
                  <a:lnTo>
                    <a:pt x="0" y="1097"/>
                  </a:lnTo>
                  <a:lnTo>
                    <a:pt x="366" y="1463"/>
                  </a:lnTo>
                  <a:lnTo>
                    <a:pt x="3171" y="488"/>
                  </a:lnTo>
                  <a:lnTo>
                    <a:pt x="3171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2" name="Freihandform: Form 721">
              <a:extLst>
                <a:ext uri="{FF2B5EF4-FFF2-40B4-BE49-F238E27FC236}">
                  <a16:creationId xmlns:a16="http://schemas.microsoft.com/office/drawing/2014/main" id="{5A108640-CAEC-4400-9261-3C00E9F3316A}"/>
                </a:ext>
              </a:extLst>
            </p:cNvPr>
            <p:cNvSpPr/>
            <p:nvPr/>
          </p:nvSpPr>
          <p:spPr>
            <a:xfrm>
              <a:off x="6898524" y="3148681"/>
              <a:ext cx="4023" cy="3658"/>
            </a:xfrm>
            <a:custGeom>
              <a:avLst/>
              <a:gdLst>
                <a:gd name="connsiteX0" fmla="*/ 0 w 4023"/>
                <a:gd name="connsiteY0" fmla="*/ 2805 h 3658"/>
                <a:gd name="connsiteX1" fmla="*/ 610 w 4023"/>
                <a:gd name="connsiteY1" fmla="*/ 3658 h 3658"/>
                <a:gd name="connsiteX2" fmla="*/ 4024 w 4023"/>
                <a:gd name="connsiteY2" fmla="*/ 3170 h 3658"/>
                <a:gd name="connsiteX3" fmla="*/ 4024 w 4023"/>
                <a:gd name="connsiteY3" fmla="*/ 976 h 3658"/>
                <a:gd name="connsiteX4" fmla="*/ 975 w 4023"/>
                <a:gd name="connsiteY4" fmla="*/ 0 h 3658"/>
                <a:gd name="connsiteX5" fmla="*/ 0 w 4023"/>
                <a:gd name="connsiteY5" fmla="*/ 2805 h 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23" h="3658">
                  <a:moveTo>
                    <a:pt x="0" y="2805"/>
                  </a:moveTo>
                  <a:lnTo>
                    <a:pt x="610" y="3658"/>
                  </a:lnTo>
                  <a:lnTo>
                    <a:pt x="4024" y="3170"/>
                  </a:lnTo>
                  <a:lnTo>
                    <a:pt x="4024" y="976"/>
                  </a:lnTo>
                  <a:lnTo>
                    <a:pt x="975" y="0"/>
                  </a:lnTo>
                  <a:lnTo>
                    <a:pt x="0" y="28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3" name="Freihandform: Form 722">
              <a:extLst>
                <a:ext uri="{FF2B5EF4-FFF2-40B4-BE49-F238E27FC236}">
                  <a16:creationId xmlns:a16="http://schemas.microsoft.com/office/drawing/2014/main" id="{D28872D0-7FBC-44E3-B787-ED06CC2CAD45}"/>
                </a:ext>
              </a:extLst>
            </p:cNvPr>
            <p:cNvSpPr/>
            <p:nvPr/>
          </p:nvSpPr>
          <p:spPr>
            <a:xfrm>
              <a:off x="6919375" y="2919796"/>
              <a:ext cx="3780" cy="1951"/>
            </a:xfrm>
            <a:custGeom>
              <a:avLst/>
              <a:gdLst>
                <a:gd name="connsiteX0" fmla="*/ 3780 w 3780"/>
                <a:gd name="connsiteY0" fmla="*/ 853 h 1951"/>
                <a:gd name="connsiteX1" fmla="*/ 3780 w 3780"/>
                <a:gd name="connsiteY1" fmla="*/ 853 h 1951"/>
                <a:gd name="connsiteX2" fmla="*/ 732 w 3780"/>
                <a:gd name="connsiteY2" fmla="*/ 0 h 1951"/>
                <a:gd name="connsiteX3" fmla="*/ 0 w 3780"/>
                <a:gd name="connsiteY3" fmla="*/ 1219 h 1951"/>
                <a:gd name="connsiteX4" fmla="*/ 1463 w 3780"/>
                <a:gd name="connsiteY4" fmla="*/ 1951 h 1951"/>
                <a:gd name="connsiteX5" fmla="*/ 3780 w 3780"/>
                <a:gd name="connsiteY5" fmla="*/ 853 h 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0" h="1951">
                  <a:moveTo>
                    <a:pt x="3780" y="853"/>
                  </a:moveTo>
                  <a:lnTo>
                    <a:pt x="3780" y="853"/>
                  </a:lnTo>
                  <a:lnTo>
                    <a:pt x="732" y="0"/>
                  </a:lnTo>
                  <a:lnTo>
                    <a:pt x="0" y="1219"/>
                  </a:lnTo>
                  <a:lnTo>
                    <a:pt x="1463" y="1951"/>
                  </a:lnTo>
                  <a:lnTo>
                    <a:pt x="3780" y="8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4" name="Freihandform: Form 723">
              <a:extLst>
                <a:ext uri="{FF2B5EF4-FFF2-40B4-BE49-F238E27FC236}">
                  <a16:creationId xmlns:a16="http://schemas.microsoft.com/office/drawing/2014/main" id="{F4681118-36FB-43D1-9C6A-DAFC99FBCEBA}"/>
                </a:ext>
              </a:extLst>
            </p:cNvPr>
            <p:cNvSpPr/>
            <p:nvPr/>
          </p:nvSpPr>
          <p:spPr>
            <a:xfrm>
              <a:off x="6825359" y="3158802"/>
              <a:ext cx="19388" cy="20851"/>
            </a:xfrm>
            <a:custGeom>
              <a:avLst/>
              <a:gdLst>
                <a:gd name="connsiteX0" fmla="*/ 853 w 19388"/>
                <a:gd name="connsiteY0" fmla="*/ 0 h 20851"/>
                <a:gd name="connsiteX1" fmla="*/ 0 w 19388"/>
                <a:gd name="connsiteY1" fmla="*/ 1097 h 20851"/>
                <a:gd name="connsiteX2" fmla="*/ 7438 w 19388"/>
                <a:gd name="connsiteY2" fmla="*/ 6829 h 20851"/>
                <a:gd name="connsiteX3" fmla="*/ 11097 w 19388"/>
                <a:gd name="connsiteY3" fmla="*/ 19511 h 20851"/>
                <a:gd name="connsiteX4" fmla="*/ 17072 w 19388"/>
                <a:gd name="connsiteY4" fmla="*/ 20852 h 20851"/>
                <a:gd name="connsiteX5" fmla="*/ 19389 w 19388"/>
                <a:gd name="connsiteY5" fmla="*/ 17925 h 20851"/>
                <a:gd name="connsiteX6" fmla="*/ 17803 w 19388"/>
                <a:gd name="connsiteY6" fmla="*/ 8292 h 20851"/>
                <a:gd name="connsiteX7" fmla="*/ 8536 w 19388"/>
                <a:gd name="connsiteY7" fmla="*/ 732 h 20851"/>
                <a:gd name="connsiteX8" fmla="*/ 853 w 19388"/>
                <a:gd name="connsiteY8" fmla="*/ 0 h 20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88" h="20851">
                  <a:moveTo>
                    <a:pt x="853" y="0"/>
                  </a:moveTo>
                  <a:lnTo>
                    <a:pt x="0" y="1097"/>
                  </a:lnTo>
                  <a:lnTo>
                    <a:pt x="7438" y="6829"/>
                  </a:lnTo>
                  <a:lnTo>
                    <a:pt x="11097" y="19511"/>
                  </a:lnTo>
                  <a:lnTo>
                    <a:pt x="17072" y="20852"/>
                  </a:lnTo>
                  <a:lnTo>
                    <a:pt x="19389" y="17925"/>
                  </a:lnTo>
                  <a:lnTo>
                    <a:pt x="17803" y="8292"/>
                  </a:lnTo>
                  <a:lnTo>
                    <a:pt x="8536" y="73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5" name="Freihandform: Form 724">
              <a:extLst>
                <a:ext uri="{FF2B5EF4-FFF2-40B4-BE49-F238E27FC236}">
                  <a16:creationId xmlns:a16="http://schemas.microsoft.com/office/drawing/2014/main" id="{67C8034B-FF9A-47C1-B6C4-D855A851B3F1}"/>
                </a:ext>
              </a:extLst>
            </p:cNvPr>
            <p:cNvSpPr/>
            <p:nvPr/>
          </p:nvSpPr>
          <p:spPr>
            <a:xfrm>
              <a:off x="6985834" y="3380979"/>
              <a:ext cx="3048" cy="3780"/>
            </a:xfrm>
            <a:custGeom>
              <a:avLst/>
              <a:gdLst>
                <a:gd name="connsiteX0" fmla="*/ 1219 w 3048"/>
                <a:gd name="connsiteY0" fmla="*/ 3780 h 3780"/>
                <a:gd name="connsiteX1" fmla="*/ 3049 w 3048"/>
                <a:gd name="connsiteY1" fmla="*/ 1585 h 3780"/>
                <a:gd name="connsiteX2" fmla="*/ 1463 w 3048"/>
                <a:gd name="connsiteY2" fmla="*/ 0 h 3780"/>
                <a:gd name="connsiteX3" fmla="*/ 0 w 3048"/>
                <a:gd name="connsiteY3" fmla="*/ 2195 h 3780"/>
                <a:gd name="connsiteX4" fmla="*/ 1219 w 3048"/>
                <a:gd name="connsiteY4" fmla="*/ 378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" h="3780">
                  <a:moveTo>
                    <a:pt x="1219" y="3780"/>
                  </a:moveTo>
                  <a:lnTo>
                    <a:pt x="3049" y="1585"/>
                  </a:lnTo>
                  <a:lnTo>
                    <a:pt x="1463" y="0"/>
                  </a:lnTo>
                  <a:lnTo>
                    <a:pt x="0" y="2195"/>
                  </a:lnTo>
                  <a:lnTo>
                    <a:pt x="1219" y="378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6" name="Freihandform: Form 725">
              <a:extLst>
                <a:ext uri="{FF2B5EF4-FFF2-40B4-BE49-F238E27FC236}">
                  <a16:creationId xmlns:a16="http://schemas.microsoft.com/office/drawing/2014/main" id="{DE7028FB-4598-4D5F-B533-74963B8084BB}"/>
                </a:ext>
              </a:extLst>
            </p:cNvPr>
            <p:cNvSpPr/>
            <p:nvPr/>
          </p:nvSpPr>
          <p:spPr>
            <a:xfrm>
              <a:off x="6970835" y="2882848"/>
              <a:ext cx="8048" cy="7926"/>
            </a:xfrm>
            <a:custGeom>
              <a:avLst/>
              <a:gdLst>
                <a:gd name="connsiteX0" fmla="*/ 8048 w 8048"/>
                <a:gd name="connsiteY0" fmla="*/ 366 h 7926"/>
                <a:gd name="connsiteX1" fmla="*/ 5853 w 8048"/>
                <a:gd name="connsiteY1" fmla="*/ 0 h 7926"/>
                <a:gd name="connsiteX2" fmla="*/ 2439 w 8048"/>
                <a:gd name="connsiteY2" fmla="*/ 6097 h 7926"/>
                <a:gd name="connsiteX3" fmla="*/ 0 w 8048"/>
                <a:gd name="connsiteY3" fmla="*/ 6951 h 7926"/>
                <a:gd name="connsiteX4" fmla="*/ 488 w 8048"/>
                <a:gd name="connsiteY4" fmla="*/ 7926 h 7926"/>
                <a:gd name="connsiteX5" fmla="*/ 6463 w 8048"/>
                <a:gd name="connsiteY5" fmla="*/ 2927 h 7926"/>
                <a:gd name="connsiteX6" fmla="*/ 8048 w 8048"/>
                <a:gd name="connsiteY6" fmla="*/ 366 h 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8" h="7926">
                  <a:moveTo>
                    <a:pt x="8048" y="366"/>
                  </a:moveTo>
                  <a:lnTo>
                    <a:pt x="5853" y="0"/>
                  </a:lnTo>
                  <a:lnTo>
                    <a:pt x="2439" y="6097"/>
                  </a:lnTo>
                  <a:lnTo>
                    <a:pt x="0" y="6951"/>
                  </a:lnTo>
                  <a:lnTo>
                    <a:pt x="488" y="7926"/>
                  </a:lnTo>
                  <a:lnTo>
                    <a:pt x="6463" y="2927"/>
                  </a:lnTo>
                  <a:lnTo>
                    <a:pt x="8048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7" name="Freihandform: Form 726">
              <a:extLst>
                <a:ext uri="{FF2B5EF4-FFF2-40B4-BE49-F238E27FC236}">
                  <a16:creationId xmlns:a16="http://schemas.microsoft.com/office/drawing/2014/main" id="{6F1B7152-D2A7-448A-95A5-E55597A34228}"/>
                </a:ext>
              </a:extLst>
            </p:cNvPr>
            <p:cNvSpPr/>
            <p:nvPr/>
          </p:nvSpPr>
          <p:spPr>
            <a:xfrm>
              <a:off x="6926814" y="3221236"/>
              <a:ext cx="4755" cy="5609"/>
            </a:xfrm>
            <a:custGeom>
              <a:avLst/>
              <a:gdLst>
                <a:gd name="connsiteX0" fmla="*/ 4268 w 4755"/>
                <a:gd name="connsiteY0" fmla="*/ 4756 h 5609"/>
                <a:gd name="connsiteX1" fmla="*/ 4756 w 4755"/>
                <a:gd name="connsiteY1" fmla="*/ 0 h 5609"/>
                <a:gd name="connsiteX2" fmla="*/ 610 w 4755"/>
                <a:gd name="connsiteY2" fmla="*/ 488 h 5609"/>
                <a:gd name="connsiteX3" fmla="*/ 0 w 4755"/>
                <a:gd name="connsiteY3" fmla="*/ 4146 h 5609"/>
                <a:gd name="connsiteX4" fmla="*/ 2561 w 4755"/>
                <a:gd name="connsiteY4" fmla="*/ 5609 h 5609"/>
                <a:gd name="connsiteX5" fmla="*/ 4268 w 4755"/>
                <a:gd name="connsiteY5" fmla="*/ 4756 h 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55" h="5609">
                  <a:moveTo>
                    <a:pt x="4268" y="4756"/>
                  </a:moveTo>
                  <a:lnTo>
                    <a:pt x="4756" y="0"/>
                  </a:lnTo>
                  <a:lnTo>
                    <a:pt x="610" y="488"/>
                  </a:lnTo>
                  <a:lnTo>
                    <a:pt x="0" y="4146"/>
                  </a:lnTo>
                  <a:lnTo>
                    <a:pt x="2561" y="5609"/>
                  </a:lnTo>
                  <a:lnTo>
                    <a:pt x="4268" y="475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8" name="Freihandform: Form 727">
              <a:extLst>
                <a:ext uri="{FF2B5EF4-FFF2-40B4-BE49-F238E27FC236}">
                  <a16:creationId xmlns:a16="http://schemas.microsoft.com/office/drawing/2014/main" id="{E9CB85FD-5147-40E5-B654-2BFD9BA19E8F}"/>
                </a:ext>
              </a:extLst>
            </p:cNvPr>
            <p:cNvSpPr/>
            <p:nvPr/>
          </p:nvSpPr>
          <p:spPr>
            <a:xfrm>
              <a:off x="6882671" y="3183556"/>
              <a:ext cx="5975" cy="3048"/>
            </a:xfrm>
            <a:custGeom>
              <a:avLst/>
              <a:gdLst>
                <a:gd name="connsiteX0" fmla="*/ 3293 w 5975"/>
                <a:gd name="connsiteY0" fmla="*/ 488 h 3048"/>
                <a:gd name="connsiteX1" fmla="*/ 244 w 5975"/>
                <a:gd name="connsiteY1" fmla="*/ 0 h 3048"/>
                <a:gd name="connsiteX2" fmla="*/ 0 w 5975"/>
                <a:gd name="connsiteY2" fmla="*/ 3049 h 3048"/>
                <a:gd name="connsiteX3" fmla="*/ 2805 w 5975"/>
                <a:gd name="connsiteY3" fmla="*/ 732 h 3048"/>
                <a:gd name="connsiteX4" fmla="*/ 5975 w 5975"/>
                <a:gd name="connsiteY4" fmla="*/ 2195 h 3048"/>
                <a:gd name="connsiteX5" fmla="*/ 3293 w 5975"/>
                <a:gd name="connsiteY5" fmla="*/ 488 h 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75" h="3048">
                  <a:moveTo>
                    <a:pt x="3293" y="488"/>
                  </a:moveTo>
                  <a:lnTo>
                    <a:pt x="244" y="0"/>
                  </a:lnTo>
                  <a:lnTo>
                    <a:pt x="0" y="3049"/>
                  </a:lnTo>
                  <a:lnTo>
                    <a:pt x="2805" y="732"/>
                  </a:lnTo>
                  <a:lnTo>
                    <a:pt x="5975" y="2195"/>
                  </a:lnTo>
                  <a:lnTo>
                    <a:pt x="3293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29" name="Freihandform: Form 728">
              <a:extLst>
                <a:ext uri="{FF2B5EF4-FFF2-40B4-BE49-F238E27FC236}">
                  <a16:creationId xmlns:a16="http://schemas.microsoft.com/office/drawing/2014/main" id="{7525E4FC-AB23-4A61-A4A4-4FF7B2E67C69}"/>
                </a:ext>
              </a:extLst>
            </p:cNvPr>
            <p:cNvSpPr/>
            <p:nvPr/>
          </p:nvSpPr>
          <p:spPr>
            <a:xfrm>
              <a:off x="6866453" y="3214895"/>
              <a:ext cx="19876" cy="27071"/>
            </a:xfrm>
            <a:custGeom>
              <a:avLst/>
              <a:gdLst>
                <a:gd name="connsiteX0" fmla="*/ 13048 w 19876"/>
                <a:gd name="connsiteY0" fmla="*/ 24144 h 27071"/>
                <a:gd name="connsiteX1" fmla="*/ 18291 w 19876"/>
                <a:gd name="connsiteY1" fmla="*/ 15609 h 27071"/>
                <a:gd name="connsiteX2" fmla="*/ 19877 w 19876"/>
                <a:gd name="connsiteY2" fmla="*/ 1829 h 27071"/>
                <a:gd name="connsiteX3" fmla="*/ 13170 w 19876"/>
                <a:gd name="connsiteY3" fmla="*/ 0 h 27071"/>
                <a:gd name="connsiteX4" fmla="*/ 11340 w 19876"/>
                <a:gd name="connsiteY4" fmla="*/ 6219 h 27071"/>
                <a:gd name="connsiteX5" fmla="*/ 17803 w 19876"/>
                <a:gd name="connsiteY5" fmla="*/ 12682 h 27071"/>
                <a:gd name="connsiteX6" fmla="*/ 17803 w 19876"/>
                <a:gd name="connsiteY6" fmla="*/ 12682 h 27071"/>
                <a:gd name="connsiteX7" fmla="*/ 17803 w 19876"/>
                <a:gd name="connsiteY7" fmla="*/ 12682 h 27071"/>
                <a:gd name="connsiteX8" fmla="*/ 1219 w 19876"/>
                <a:gd name="connsiteY8" fmla="*/ 17072 h 27071"/>
                <a:gd name="connsiteX9" fmla="*/ 0 w 19876"/>
                <a:gd name="connsiteY9" fmla="*/ 21950 h 27071"/>
                <a:gd name="connsiteX10" fmla="*/ 8048 w 19876"/>
                <a:gd name="connsiteY10" fmla="*/ 27071 h 27071"/>
                <a:gd name="connsiteX11" fmla="*/ 13048 w 19876"/>
                <a:gd name="connsiteY11" fmla="*/ 24144 h 2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76" h="27071">
                  <a:moveTo>
                    <a:pt x="13048" y="24144"/>
                  </a:moveTo>
                  <a:lnTo>
                    <a:pt x="18291" y="15609"/>
                  </a:lnTo>
                  <a:lnTo>
                    <a:pt x="19877" y="1829"/>
                  </a:lnTo>
                  <a:lnTo>
                    <a:pt x="13170" y="0"/>
                  </a:lnTo>
                  <a:lnTo>
                    <a:pt x="11340" y="6219"/>
                  </a:lnTo>
                  <a:lnTo>
                    <a:pt x="17803" y="12682"/>
                  </a:lnTo>
                  <a:lnTo>
                    <a:pt x="17803" y="12682"/>
                  </a:lnTo>
                  <a:lnTo>
                    <a:pt x="17803" y="12682"/>
                  </a:lnTo>
                  <a:lnTo>
                    <a:pt x="1219" y="17072"/>
                  </a:lnTo>
                  <a:lnTo>
                    <a:pt x="0" y="21950"/>
                  </a:lnTo>
                  <a:lnTo>
                    <a:pt x="8048" y="27071"/>
                  </a:lnTo>
                  <a:lnTo>
                    <a:pt x="13048" y="241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0" name="Freihandform: Form 729">
              <a:extLst>
                <a:ext uri="{FF2B5EF4-FFF2-40B4-BE49-F238E27FC236}">
                  <a16:creationId xmlns:a16="http://schemas.microsoft.com/office/drawing/2014/main" id="{749DC22B-ADFE-48C1-8D65-125BBACAB1C3}"/>
                </a:ext>
              </a:extLst>
            </p:cNvPr>
            <p:cNvSpPr/>
            <p:nvPr/>
          </p:nvSpPr>
          <p:spPr>
            <a:xfrm>
              <a:off x="6902670" y="3229528"/>
              <a:ext cx="6828" cy="5975"/>
            </a:xfrm>
            <a:custGeom>
              <a:avLst/>
              <a:gdLst>
                <a:gd name="connsiteX0" fmla="*/ 2926 w 6828"/>
                <a:gd name="connsiteY0" fmla="*/ 5975 h 5975"/>
                <a:gd name="connsiteX1" fmla="*/ 6829 w 6828"/>
                <a:gd name="connsiteY1" fmla="*/ 366 h 5975"/>
                <a:gd name="connsiteX2" fmla="*/ 5000 w 6828"/>
                <a:gd name="connsiteY2" fmla="*/ 0 h 5975"/>
                <a:gd name="connsiteX3" fmla="*/ 3414 w 6828"/>
                <a:gd name="connsiteY3" fmla="*/ 610 h 5975"/>
                <a:gd name="connsiteX4" fmla="*/ 0 w 6828"/>
                <a:gd name="connsiteY4" fmla="*/ 5609 h 5975"/>
                <a:gd name="connsiteX5" fmla="*/ 2926 w 6828"/>
                <a:gd name="connsiteY5" fmla="*/ 5975 h 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28" h="5975">
                  <a:moveTo>
                    <a:pt x="2926" y="5975"/>
                  </a:moveTo>
                  <a:lnTo>
                    <a:pt x="6829" y="366"/>
                  </a:lnTo>
                  <a:lnTo>
                    <a:pt x="5000" y="0"/>
                  </a:lnTo>
                  <a:lnTo>
                    <a:pt x="3414" y="610"/>
                  </a:lnTo>
                  <a:lnTo>
                    <a:pt x="0" y="5609"/>
                  </a:lnTo>
                  <a:lnTo>
                    <a:pt x="2926" y="5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1" name="Freihandform: Form 730">
              <a:extLst>
                <a:ext uri="{FF2B5EF4-FFF2-40B4-BE49-F238E27FC236}">
                  <a16:creationId xmlns:a16="http://schemas.microsoft.com/office/drawing/2014/main" id="{B0B81760-2B44-4E31-B357-E58A9EF52282}"/>
                </a:ext>
              </a:extLst>
            </p:cNvPr>
            <p:cNvSpPr/>
            <p:nvPr/>
          </p:nvSpPr>
          <p:spPr>
            <a:xfrm>
              <a:off x="6901450" y="2927235"/>
              <a:ext cx="1097" cy="3292"/>
            </a:xfrm>
            <a:custGeom>
              <a:avLst/>
              <a:gdLst>
                <a:gd name="connsiteX0" fmla="*/ 0 w 1097"/>
                <a:gd name="connsiteY0" fmla="*/ 1707 h 3292"/>
                <a:gd name="connsiteX1" fmla="*/ 854 w 1097"/>
                <a:gd name="connsiteY1" fmla="*/ 3292 h 3292"/>
                <a:gd name="connsiteX2" fmla="*/ 1097 w 1097"/>
                <a:gd name="connsiteY2" fmla="*/ 0 h 3292"/>
                <a:gd name="connsiteX3" fmla="*/ 0 w 1097"/>
                <a:gd name="connsiteY3" fmla="*/ 1707 h 3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7" h="3292">
                  <a:moveTo>
                    <a:pt x="0" y="1707"/>
                  </a:moveTo>
                  <a:lnTo>
                    <a:pt x="854" y="3292"/>
                  </a:lnTo>
                  <a:lnTo>
                    <a:pt x="1097" y="0"/>
                  </a:lnTo>
                  <a:lnTo>
                    <a:pt x="0" y="1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2" name="Freihandform: Form 731">
              <a:extLst>
                <a:ext uri="{FF2B5EF4-FFF2-40B4-BE49-F238E27FC236}">
                  <a16:creationId xmlns:a16="http://schemas.microsoft.com/office/drawing/2014/main" id="{02073205-EDB1-469E-BFD6-84023D22D12F}"/>
                </a:ext>
              </a:extLst>
            </p:cNvPr>
            <p:cNvSpPr/>
            <p:nvPr/>
          </p:nvSpPr>
          <p:spPr>
            <a:xfrm>
              <a:off x="6904864" y="3459266"/>
              <a:ext cx="17681" cy="5121"/>
            </a:xfrm>
            <a:custGeom>
              <a:avLst/>
              <a:gdLst>
                <a:gd name="connsiteX0" fmla="*/ 16462 w 17681"/>
                <a:gd name="connsiteY0" fmla="*/ 4634 h 5121"/>
                <a:gd name="connsiteX1" fmla="*/ 10243 w 17681"/>
                <a:gd name="connsiteY1" fmla="*/ 2561 h 5121"/>
                <a:gd name="connsiteX2" fmla="*/ 5243 w 17681"/>
                <a:gd name="connsiteY2" fmla="*/ 0 h 5121"/>
                <a:gd name="connsiteX3" fmla="*/ 0 w 17681"/>
                <a:gd name="connsiteY3" fmla="*/ 1341 h 5121"/>
                <a:gd name="connsiteX4" fmla="*/ 0 w 17681"/>
                <a:gd name="connsiteY4" fmla="*/ 2195 h 5121"/>
                <a:gd name="connsiteX5" fmla="*/ 5122 w 17681"/>
                <a:gd name="connsiteY5" fmla="*/ 5122 h 5121"/>
                <a:gd name="connsiteX6" fmla="*/ 17682 w 17681"/>
                <a:gd name="connsiteY6" fmla="*/ 4634 h 5121"/>
                <a:gd name="connsiteX7" fmla="*/ 16462 w 17681"/>
                <a:gd name="connsiteY7" fmla="*/ 4634 h 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81" h="5121">
                  <a:moveTo>
                    <a:pt x="16462" y="4634"/>
                  </a:moveTo>
                  <a:lnTo>
                    <a:pt x="10243" y="2561"/>
                  </a:lnTo>
                  <a:lnTo>
                    <a:pt x="5243" y="0"/>
                  </a:lnTo>
                  <a:lnTo>
                    <a:pt x="0" y="1341"/>
                  </a:lnTo>
                  <a:lnTo>
                    <a:pt x="0" y="2195"/>
                  </a:lnTo>
                  <a:lnTo>
                    <a:pt x="5122" y="5122"/>
                  </a:lnTo>
                  <a:lnTo>
                    <a:pt x="17682" y="4634"/>
                  </a:lnTo>
                  <a:lnTo>
                    <a:pt x="16462" y="463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3" name="Freihandform: Form 732">
              <a:extLst>
                <a:ext uri="{FF2B5EF4-FFF2-40B4-BE49-F238E27FC236}">
                  <a16:creationId xmlns:a16="http://schemas.microsoft.com/office/drawing/2014/main" id="{2925D5D4-B009-4B13-B666-30B96D1EC664}"/>
                </a:ext>
              </a:extLst>
            </p:cNvPr>
            <p:cNvSpPr/>
            <p:nvPr/>
          </p:nvSpPr>
          <p:spPr>
            <a:xfrm>
              <a:off x="6467338" y="3138194"/>
              <a:ext cx="98529" cy="88041"/>
            </a:xfrm>
            <a:custGeom>
              <a:avLst/>
              <a:gdLst>
                <a:gd name="connsiteX0" fmla="*/ 34997 w 98529"/>
                <a:gd name="connsiteY0" fmla="*/ 87554 h 88041"/>
                <a:gd name="connsiteX1" fmla="*/ 35363 w 98529"/>
                <a:gd name="connsiteY1" fmla="*/ 86335 h 88041"/>
                <a:gd name="connsiteX2" fmla="*/ 36217 w 98529"/>
                <a:gd name="connsiteY2" fmla="*/ 84140 h 88041"/>
                <a:gd name="connsiteX3" fmla="*/ 36948 w 98529"/>
                <a:gd name="connsiteY3" fmla="*/ 81579 h 88041"/>
                <a:gd name="connsiteX4" fmla="*/ 39509 w 98529"/>
                <a:gd name="connsiteY4" fmla="*/ 80481 h 88041"/>
                <a:gd name="connsiteX5" fmla="*/ 46826 w 98529"/>
                <a:gd name="connsiteY5" fmla="*/ 77189 h 88041"/>
                <a:gd name="connsiteX6" fmla="*/ 61459 w 98529"/>
                <a:gd name="connsiteY6" fmla="*/ 69141 h 88041"/>
                <a:gd name="connsiteX7" fmla="*/ 60117 w 98529"/>
                <a:gd name="connsiteY7" fmla="*/ 59751 h 88041"/>
                <a:gd name="connsiteX8" fmla="*/ 59630 w 98529"/>
                <a:gd name="connsiteY8" fmla="*/ 56459 h 88041"/>
                <a:gd name="connsiteX9" fmla="*/ 62190 w 98529"/>
                <a:gd name="connsiteY9" fmla="*/ 54264 h 88041"/>
                <a:gd name="connsiteX10" fmla="*/ 67312 w 98529"/>
                <a:gd name="connsiteY10" fmla="*/ 49874 h 88041"/>
                <a:gd name="connsiteX11" fmla="*/ 69019 w 98529"/>
                <a:gd name="connsiteY11" fmla="*/ 48411 h 88041"/>
                <a:gd name="connsiteX12" fmla="*/ 91335 w 98529"/>
                <a:gd name="connsiteY12" fmla="*/ 48411 h 88041"/>
                <a:gd name="connsiteX13" fmla="*/ 96822 w 98529"/>
                <a:gd name="connsiteY13" fmla="*/ 34022 h 88041"/>
                <a:gd name="connsiteX14" fmla="*/ 98529 w 98529"/>
                <a:gd name="connsiteY14" fmla="*/ 29388 h 88041"/>
                <a:gd name="connsiteX15" fmla="*/ 96578 w 98529"/>
                <a:gd name="connsiteY15" fmla="*/ 20242 h 88041"/>
                <a:gd name="connsiteX16" fmla="*/ 94627 w 98529"/>
                <a:gd name="connsiteY16" fmla="*/ 11584 h 88041"/>
                <a:gd name="connsiteX17" fmla="*/ 90725 w 98529"/>
                <a:gd name="connsiteY17" fmla="*/ 11097 h 88041"/>
                <a:gd name="connsiteX18" fmla="*/ 88164 w 98529"/>
                <a:gd name="connsiteY18" fmla="*/ 10731 h 88041"/>
                <a:gd name="connsiteX19" fmla="*/ 86701 w 98529"/>
                <a:gd name="connsiteY19" fmla="*/ 8658 h 88041"/>
                <a:gd name="connsiteX20" fmla="*/ 81213 w 98529"/>
                <a:gd name="connsiteY20" fmla="*/ 1585 h 88041"/>
                <a:gd name="connsiteX21" fmla="*/ 79994 w 98529"/>
                <a:gd name="connsiteY21" fmla="*/ 0 h 88041"/>
                <a:gd name="connsiteX22" fmla="*/ 76823 w 98529"/>
                <a:gd name="connsiteY22" fmla="*/ 1951 h 88041"/>
                <a:gd name="connsiteX23" fmla="*/ 74872 w 98529"/>
                <a:gd name="connsiteY23" fmla="*/ 9024 h 88041"/>
                <a:gd name="connsiteX24" fmla="*/ 73409 w 98529"/>
                <a:gd name="connsiteY24" fmla="*/ 14267 h 88041"/>
                <a:gd name="connsiteX25" fmla="*/ 68165 w 98529"/>
                <a:gd name="connsiteY25" fmla="*/ 13536 h 88041"/>
                <a:gd name="connsiteX26" fmla="*/ 55605 w 98529"/>
                <a:gd name="connsiteY26" fmla="*/ 11828 h 88041"/>
                <a:gd name="connsiteX27" fmla="*/ 52557 w 98529"/>
                <a:gd name="connsiteY27" fmla="*/ 11463 h 88041"/>
                <a:gd name="connsiteX28" fmla="*/ 52435 w 98529"/>
                <a:gd name="connsiteY28" fmla="*/ 11950 h 88041"/>
                <a:gd name="connsiteX29" fmla="*/ 48777 w 98529"/>
                <a:gd name="connsiteY29" fmla="*/ 10853 h 88041"/>
                <a:gd name="connsiteX30" fmla="*/ 44631 w 98529"/>
                <a:gd name="connsiteY30" fmla="*/ 10365 h 88041"/>
                <a:gd name="connsiteX31" fmla="*/ 44753 w 98529"/>
                <a:gd name="connsiteY31" fmla="*/ 9633 h 88041"/>
                <a:gd name="connsiteX32" fmla="*/ 21340 w 98529"/>
                <a:gd name="connsiteY32" fmla="*/ 2683 h 88041"/>
                <a:gd name="connsiteX33" fmla="*/ 11219 w 98529"/>
                <a:gd name="connsiteY33" fmla="*/ 5487 h 88041"/>
                <a:gd name="connsiteX34" fmla="*/ 8292 w 98529"/>
                <a:gd name="connsiteY34" fmla="*/ 14267 h 88041"/>
                <a:gd name="connsiteX35" fmla="*/ 7804 w 98529"/>
                <a:gd name="connsiteY35" fmla="*/ 15852 h 88041"/>
                <a:gd name="connsiteX36" fmla="*/ 6463 w 98529"/>
                <a:gd name="connsiteY36" fmla="*/ 16950 h 88041"/>
                <a:gd name="connsiteX37" fmla="*/ 4390 w 98529"/>
                <a:gd name="connsiteY37" fmla="*/ 18779 h 88041"/>
                <a:gd name="connsiteX38" fmla="*/ 610 w 98529"/>
                <a:gd name="connsiteY38" fmla="*/ 22193 h 88041"/>
                <a:gd name="connsiteX39" fmla="*/ 0 w 98529"/>
                <a:gd name="connsiteY39" fmla="*/ 27803 h 88041"/>
                <a:gd name="connsiteX40" fmla="*/ 2317 w 98529"/>
                <a:gd name="connsiteY40" fmla="*/ 29632 h 88041"/>
                <a:gd name="connsiteX41" fmla="*/ 4634 w 98529"/>
                <a:gd name="connsiteY41" fmla="*/ 31339 h 88041"/>
                <a:gd name="connsiteX42" fmla="*/ 7804 w 98529"/>
                <a:gd name="connsiteY42" fmla="*/ 33656 h 88041"/>
                <a:gd name="connsiteX43" fmla="*/ 6951 w 98529"/>
                <a:gd name="connsiteY43" fmla="*/ 37436 h 88041"/>
                <a:gd name="connsiteX44" fmla="*/ 4146 w 98529"/>
                <a:gd name="connsiteY44" fmla="*/ 51825 h 88041"/>
                <a:gd name="connsiteX45" fmla="*/ 3171 w 98529"/>
                <a:gd name="connsiteY45" fmla="*/ 56703 h 88041"/>
                <a:gd name="connsiteX46" fmla="*/ 8048 w 98529"/>
                <a:gd name="connsiteY46" fmla="*/ 66580 h 88041"/>
                <a:gd name="connsiteX47" fmla="*/ 13657 w 98529"/>
                <a:gd name="connsiteY47" fmla="*/ 80238 h 88041"/>
                <a:gd name="connsiteX48" fmla="*/ 25730 w 98529"/>
                <a:gd name="connsiteY48" fmla="*/ 88042 h 88041"/>
                <a:gd name="connsiteX49" fmla="*/ 34875 w 98529"/>
                <a:gd name="connsiteY49" fmla="*/ 88042 h 88041"/>
                <a:gd name="connsiteX50" fmla="*/ 34997 w 98529"/>
                <a:gd name="connsiteY50" fmla="*/ 87554 h 8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98529" h="88041">
                  <a:moveTo>
                    <a:pt x="34997" y="87554"/>
                  </a:moveTo>
                  <a:lnTo>
                    <a:pt x="35363" y="86335"/>
                  </a:lnTo>
                  <a:lnTo>
                    <a:pt x="36217" y="84140"/>
                  </a:lnTo>
                  <a:lnTo>
                    <a:pt x="36948" y="81579"/>
                  </a:lnTo>
                  <a:lnTo>
                    <a:pt x="39509" y="80481"/>
                  </a:lnTo>
                  <a:lnTo>
                    <a:pt x="46826" y="77189"/>
                  </a:lnTo>
                  <a:lnTo>
                    <a:pt x="61459" y="69141"/>
                  </a:lnTo>
                  <a:lnTo>
                    <a:pt x="60117" y="59751"/>
                  </a:lnTo>
                  <a:lnTo>
                    <a:pt x="59630" y="56459"/>
                  </a:lnTo>
                  <a:lnTo>
                    <a:pt x="62190" y="54264"/>
                  </a:lnTo>
                  <a:lnTo>
                    <a:pt x="67312" y="49874"/>
                  </a:lnTo>
                  <a:lnTo>
                    <a:pt x="69019" y="48411"/>
                  </a:lnTo>
                  <a:lnTo>
                    <a:pt x="91335" y="48411"/>
                  </a:lnTo>
                  <a:lnTo>
                    <a:pt x="96822" y="34022"/>
                  </a:lnTo>
                  <a:lnTo>
                    <a:pt x="98529" y="29388"/>
                  </a:lnTo>
                  <a:lnTo>
                    <a:pt x="96578" y="20242"/>
                  </a:lnTo>
                  <a:lnTo>
                    <a:pt x="94627" y="11584"/>
                  </a:lnTo>
                  <a:lnTo>
                    <a:pt x="90725" y="11097"/>
                  </a:lnTo>
                  <a:lnTo>
                    <a:pt x="88164" y="10731"/>
                  </a:lnTo>
                  <a:lnTo>
                    <a:pt x="86701" y="8658"/>
                  </a:lnTo>
                  <a:lnTo>
                    <a:pt x="81213" y="1585"/>
                  </a:lnTo>
                  <a:lnTo>
                    <a:pt x="79994" y="0"/>
                  </a:lnTo>
                  <a:lnTo>
                    <a:pt x="76823" y="1951"/>
                  </a:lnTo>
                  <a:lnTo>
                    <a:pt x="74872" y="9024"/>
                  </a:lnTo>
                  <a:lnTo>
                    <a:pt x="73409" y="14267"/>
                  </a:lnTo>
                  <a:lnTo>
                    <a:pt x="68165" y="13536"/>
                  </a:lnTo>
                  <a:lnTo>
                    <a:pt x="55605" y="11828"/>
                  </a:lnTo>
                  <a:lnTo>
                    <a:pt x="52557" y="11463"/>
                  </a:lnTo>
                  <a:lnTo>
                    <a:pt x="52435" y="11950"/>
                  </a:lnTo>
                  <a:lnTo>
                    <a:pt x="48777" y="10853"/>
                  </a:lnTo>
                  <a:lnTo>
                    <a:pt x="44631" y="10365"/>
                  </a:lnTo>
                  <a:lnTo>
                    <a:pt x="44753" y="9633"/>
                  </a:lnTo>
                  <a:lnTo>
                    <a:pt x="21340" y="2683"/>
                  </a:lnTo>
                  <a:lnTo>
                    <a:pt x="11219" y="5487"/>
                  </a:lnTo>
                  <a:lnTo>
                    <a:pt x="8292" y="14267"/>
                  </a:lnTo>
                  <a:lnTo>
                    <a:pt x="7804" y="15852"/>
                  </a:lnTo>
                  <a:lnTo>
                    <a:pt x="6463" y="16950"/>
                  </a:lnTo>
                  <a:lnTo>
                    <a:pt x="4390" y="18779"/>
                  </a:lnTo>
                  <a:lnTo>
                    <a:pt x="610" y="22193"/>
                  </a:lnTo>
                  <a:lnTo>
                    <a:pt x="0" y="27803"/>
                  </a:lnTo>
                  <a:lnTo>
                    <a:pt x="2317" y="29632"/>
                  </a:lnTo>
                  <a:lnTo>
                    <a:pt x="4634" y="31339"/>
                  </a:lnTo>
                  <a:lnTo>
                    <a:pt x="7804" y="33656"/>
                  </a:lnTo>
                  <a:lnTo>
                    <a:pt x="6951" y="37436"/>
                  </a:lnTo>
                  <a:lnTo>
                    <a:pt x="4146" y="51825"/>
                  </a:lnTo>
                  <a:lnTo>
                    <a:pt x="3171" y="56703"/>
                  </a:lnTo>
                  <a:lnTo>
                    <a:pt x="8048" y="66580"/>
                  </a:lnTo>
                  <a:lnTo>
                    <a:pt x="13657" y="80238"/>
                  </a:lnTo>
                  <a:lnTo>
                    <a:pt x="25730" y="88042"/>
                  </a:lnTo>
                  <a:lnTo>
                    <a:pt x="34875" y="88042"/>
                  </a:lnTo>
                  <a:lnTo>
                    <a:pt x="34997" y="875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4" name="Freihandform: Form 733">
              <a:extLst>
                <a:ext uri="{FF2B5EF4-FFF2-40B4-BE49-F238E27FC236}">
                  <a16:creationId xmlns:a16="http://schemas.microsoft.com/office/drawing/2014/main" id="{C23B6B2C-51A5-4F0A-82DA-8CD41CF64DBB}"/>
                </a:ext>
              </a:extLst>
            </p:cNvPr>
            <p:cNvSpPr/>
            <p:nvPr/>
          </p:nvSpPr>
          <p:spPr>
            <a:xfrm>
              <a:off x="6422220" y="3310131"/>
              <a:ext cx="77920" cy="102309"/>
            </a:xfrm>
            <a:custGeom>
              <a:avLst/>
              <a:gdLst>
                <a:gd name="connsiteX0" fmla="*/ 14633 w 77920"/>
                <a:gd name="connsiteY0" fmla="*/ 45362 h 102309"/>
                <a:gd name="connsiteX1" fmla="*/ 17316 w 77920"/>
                <a:gd name="connsiteY1" fmla="*/ 59142 h 102309"/>
                <a:gd name="connsiteX2" fmla="*/ 26339 w 77920"/>
                <a:gd name="connsiteY2" fmla="*/ 71702 h 102309"/>
                <a:gd name="connsiteX3" fmla="*/ 37070 w 77920"/>
                <a:gd name="connsiteY3" fmla="*/ 78774 h 102309"/>
                <a:gd name="connsiteX4" fmla="*/ 42070 w 77920"/>
                <a:gd name="connsiteY4" fmla="*/ 79750 h 102309"/>
                <a:gd name="connsiteX5" fmla="*/ 56337 w 77920"/>
                <a:gd name="connsiteY5" fmla="*/ 94993 h 102309"/>
                <a:gd name="connsiteX6" fmla="*/ 69019 w 77920"/>
                <a:gd name="connsiteY6" fmla="*/ 99504 h 102309"/>
                <a:gd name="connsiteX7" fmla="*/ 77920 w 77920"/>
                <a:gd name="connsiteY7" fmla="*/ 102309 h 102309"/>
                <a:gd name="connsiteX8" fmla="*/ 74872 w 77920"/>
                <a:gd name="connsiteY8" fmla="*/ 86213 h 102309"/>
                <a:gd name="connsiteX9" fmla="*/ 66580 w 77920"/>
                <a:gd name="connsiteY9" fmla="*/ 71580 h 102309"/>
                <a:gd name="connsiteX10" fmla="*/ 58776 w 77920"/>
                <a:gd name="connsiteY10" fmla="*/ 62678 h 102309"/>
                <a:gd name="connsiteX11" fmla="*/ 56825 w 77920"/>
                <a:gd name="connsiteY11" fmla="*/ 34144 h 102309"/>
                <a:gd name="connsiteX12" fmla="*/ 45362 w 77920"/>
                <a:gd name="connsiteY12" fmla="*/ 12926 h 102309"/>
                <a:gd name="connsiteX13" fmla="*/ 40850 w 77920"/>
                <a:gd name="connsiteY13" fmla="*/ 13414 h 102309"/>
                <a:gd name="connsiteX14" fmla="*/ 28656 w 77920"/>
                <a:gd name="connsiteY14" fmla="*/ 14755 h 102309"/>
                <a:gd name="connsiteX15" fmla="*/ 27193 w 77920"/>
                <a:gd name="connsiteY15" fmla="*/ 14877 h 102309"/>
                <a:gd name="connsiteX16" fmla="*/ 25852 w 77920"/>
                <a:gd name="connsiteY16" fmla="*/ 14389 h 102309"/>
                <a:gd name="connsiteX17" fmla="*/ 14511 w 77920"/>
                <a:gd name="connsiteY17" fmla="*/ 9999 h 102309"/>
                <a:gd name="connsiteX18" fmla="*/ 12926 w 77920"/>
                <a:gd name="connsiteY18" fmla="*/ 9390 h 102309"/>
                <a:gd name="connsiteX19" fmla="*/ 11828 w 77920"/>
                <a:gd name="connsiteY19" fmla="*/ 7926 h 102309"/>
                <a:gd name="connsiteX20" fmla="*/ 6829 w 77920"/>
                <a:gd name="connsiteY20" fmla="*/ 1098 h 102309"/>
                <a:gd name="connsiteX21" fmla="*/ 6097 w 77920"/>
                <a:gd name="connsiteY21" fmla="*/ 0 h 102309"/>
                <a:gd name="connsiteX22" fmla="*/ 0 w 77920"/>
                <a:gd name="connsiteY22" fmla="*/ 976 h 102309"/>
                <a:gd name="connsiteX23" fmla="*/ 2439 w 77920"/>
                <a:gd name="connsiteY23" fmla="*/ 7561 h 102309"/>
                <a:gd name="connsiteX24" fmla="*/ 2439 w 77920"/>
                <a:gd name="connsiteY24" fmla="*/ 23535 h 102309"/>
                <a:gd name="connsiteX25" fmla="*/ 14633 w 77920"/>
                <a:gd name="connsiteY25" fmla="*/ 45362 h 10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7920" h="102309">
                  <a:moveTo>
                    <a:pt x="14633" y="45362"/>
                  </a:moveTo>
                  <a:lnTo>
                    <a:pt x="17316" y="59142"/>
                  </a:lnTo>
                  <a:lnTo>
                    <a:pt x="26339" y="71702"/>
                  </a:lnTo>
                  <a:lnTo>
                    <a:pt x="37070" y="78774"/>
                  </a:lnTo>
                  <a:lnTo>
                    <a:pt x="42070" y="79750"/>
                  </a:lnTo>
                  <a:lnTo>
                    <a:pt x="56337" y="94993"/>
                  </a:lnTo>
                  <a:lnTo>
                    <a:pt x="69019" y="99504"/>
                  </a:lnTo>
                  <a:lnTo>
                    <a:pt x="77920" y="102309"/>
                  </a:lnTo>
                  <a:lnTo>
                    <a:pt x="74872" y="86213"/>
                  </a:lnTo>
                  <a:lnTo>
                    <a:pt x="66580" y="71580"/>
                  </a:lnTo>
                  <a:lnTo>
                    <a:pt x="58776" y="62678"/>
                  </a:lnTo>
                  <a:lnTo>
                    <a:pt x="56825" y="34144"/>
                  </a:lnTo>
                  <a:lnTo>
                    <a:pt x="45362" y="12926"/>
                  </a:lnTo>
                  <a:lnTo>
                    <a:pt x="40850" y="13414"/>
                  </a:lnTo>
                  <a:lnTo>
                    <a:pt x="28656" y="14755"/>
                  </a:lnTo>
                  <a:lnTo>
                    <a:pt x="27193" y="14877"/>
                  </a:lnTo>
                  <a:lnTo>
                    <a:pt x="25852" y="14389"/>
                  </a:lnTo>
                  <a:lnTo>
                    <a:pt x="14511" y="9999"/>
                  </a:lnTo>
                  <a:lnTo>
                    <a:pt x="12926" y="9390"/>
                  </a:lnTo>
                  <a:lnTo>
                    <a:pt x="11828" y="7926"/>
                  </a:lnTo>
                  <a:lnTo>
                    <a:pt x="6829" y="1098"/>
                  </a:lnTo>
                  <a:lnTo>
                    <a:pt x="6097" y="0"/>
                  </a:lnTo>
                  <a:lnTo>
                    <a:pt x="0" y="976"/>
                  </a:lnTo>
                  <a:lnTo>
                    <a:pt x="2439" y="7561"/>
                  </a:lnTo>
                  <a:lnTo>
                    <a:pt x="2439" y="23535"/>
                  </a:lnTo>
                  <a:lnTo>
                    <a:pt x="14633" y="4536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5" name="Freihandform: Form 734">
              <a:extLst>
                <a:ext uri="{FF2B5EF4-FFF2-40B4-BE49-F238E27FC236}">
                  <a16:creationId xmlns:a16="http://schemas.microsoft.com/office/drawing/2014/main" id="{69061808-A9FE-41DC-B06E-61D366860773}"/>
                </a:ext>
              </a:extLst>
            </p:cNvPr>
            <p:cNvSpPr/>
            <p:nvPr/>
          </p:nvSpPr>
          <p:spPr>
            <a:xfrm>
              <a:off x="6568793" y="3478533"/>
              <a:ext cx="12925" cy="11950"/>
            </a:xfrm>
            <a:custGeom>
              <a:avLst/>
              <a:gdLst>
                <a:gd name="connsiteX0" fmla="*/ 0 w 12925"/>
                <a:gd name="connsiteY0" fmla="*/ 6829 h 11950"/>
                <a:gd name="connsiteX1" fmla="*/ 3780 w 12925"/>
                <a:gd name="connsiteY1" fmla="*/ 11950 h 11950"/>
                <a:gd name="connsiteX2" fmla="*/ 11828 w 12925"/>
                <a:gd name="connsiteY2" fmla="*/ 9024 h 11950"/>
                <a:gd name="connsiteX3" fmla="*/ 12926 w 12925"/>
                <a:gd name="connsiteY3" fmla="*/ 6341 h 11950"/>
                <a:gd name="connsiteX4" fmla="*/ 9389 w 12925"/>
                <a:gd name="connsiteY4" fmla="*/ 1951 h 11950"/>
                <a:gd name="connsiteX5" fmla="*/ 4756 w 12925"/>
                <a:gd name="connsiteY5" fmla="*/ 0 h 11950"/>
                <a:gd name="connsiteX6" fmla="*/ 0 w 12925"/>
                <a:gd name="connsiteY6" fmla="*/ 6829 h 1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25" h="11950">
                  <a:moveTo>
                    <a:pt x="0" y="6829"/>
                  </a:moveTo>
                  <a:lnTo>
                    <a:pt x="3780" y="11950"/>
                  </a:lnTo>
                  <a:lnTo>
                    <a:pt x="11828" y="9024"/>
                  </a:lnTo>
                  <a:lnTo>
                    <a:pt x="12926" y="6341"/>
                  </a:lnTo>
                  <a:lnTo>
                    <a:pt x="9389" y="1951"/>
                  </a:lnTo>
                  <a:lnTo>
                    <a:pt x="4756" y="0"/>
                  </a:lnTo>
                  <a:lnTo>
                    <a:pt x="0" y="682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4117A2ED-BA6E-4200-97F6-DEBD72FDDB5D}"/>
                </a:ext>
              </a:extLst>
            </p:cNvPr>
            <p:cNvSpPr/>
            <p:nvPr/>
          </p:nvSpPr>
          <p:spPr>
            <a:xfrm>
              <a:off x="6423073" y="2973450"/>
              <a:ext cx="139135" cy="170108"/>
            </a:xfrm>
            <a:custGeom>
              <a:avLst/>
              <a:gdLst>
                <a:gd name="connsiteX0" fmla="*/ 17438 w 139135"/>
                <a:gd name="connsiteY0" fmla="*/ 31705 h 170108"/>
                <a:gd name="connsiteX1" fmla="*/ 14511 w 139135"/>
                <a:gd name="connsiteY1" fmla="*/ 31339 h 170108"/>
                <a:gd name="connsiteX2" fmla="*/ 13048 w 139135"/>
                <a:gd name="connsiteY2" fmla="*/ 28900 h 170108"/>
                <a:gd name="connsiteX3" fmla="*/ 10243 w 139135"/>
                <a:gd name="connsiteY3" fmla="*/ 29632 h 170108"/>
                <a:gd name="connsiteX4" fmla="*/ 732 w 139135"/>
                <a:gd name="connsiteY4" fmla="*/ 41338 h 170108"/>
                <a:gd name="connsiteX5" fmla="*/ 0 w 139135"/>
                <a:gd name="connsiteY5" fmla="*/ 42314 h 170108"/>
                <a:gd name="connsiteX6" fmla="*/ 0 w 139135"/>
                <a:gd name="connsiteY6" fmla="*/ 42558 h 170108"/>
                <a:gd name="connsiteX7" fmla="*/ 2805 w 139135"/>
                <a:gd name="connsiteY7" fmla="*/ 54508 h 170108"/>
                <a:gd name="connsiteX8" fmla="*/ 12682 w 139135"/>
                <a:gd name="connsiteY8" fmla="*/ 58776 h 170108"/>
                <a:gd name="connsiteX9" fmla="*/ 17072 w 139135"/>
                <a:gd name="connsiteY9" fmla="*/ 60605 h 170108"/>
                <a:gd name="connsiteX10" fmla="*/ 16341 w 139135"/>
                <a:gd name="connsiteY10" fmla="*/ 65361 h 170108"/>
                <a:gd name="connsiteX11" fmla="*/ 12804 w 139135"/>
                <a:gd name="connsiteY11" fmla="*/ 87676 h 170108"/>
                <a:gd name="connsiteX12" fmla="*/ 11341 w 139135"/>
                <a:gd name="connsiteY12" fmla="*/ 93163 h 170108"/>
                <a:gd name="connsiteX13" fmla="*/ 12926 w 139135"/>
                <a:gd name="connsiteY13" fmla="*/ 94993 h 170108"/>
                <a:gd name="connsiteX14" fmla="*/ 13779 w 139135"/>
                <a:gd name="connsiteY14" fmla="*/ 95968 h 170108"/>
                <a:gd name="connsiteX15" fmla="*/ 24388 w 139135"/>
                <a:gd name="connsiteY15" fmla="*/ 85359 h 170108"/>
                <a:gd name="connsiteX16" fmla="*/ 26096 w 139135"/>
                <a:gd name="connsiteY16" fmla="*/ 83652 h 170108"/>
                <a:gd name="connsiteX17" fmla="*/ 39875 w 139135"/>
                <a:gd name="connsiteY17" fmla="*/ 83652 h 170108"/>
                <a:gd name="connsiteX18" fmla="*/ 41582 w 139135"/>
                <a:gd name="connsiteY18" fmla="*/ 85359 h 170108"/>
                <a:gd name="connsiteX19" fmla="*/ 44143 w 139135"/>
                <a:gd name="connsiteY19" fmla="*/ 87920 h 170108"/>
                <a:gd name="connsiteX20" fmla="*/ 46460 w 139135"/>
                <a:gd name="connsiteY20" fmla="*/ 90237 h 170108"/>
                <a:gd name="connsiteX21" fmla="*/ 52679 w 139135"/>
                <a:gd name="connsiteY21" fmla="*/ 90237 h 170108"/>
                <a:gd name="connsiteX22" fmla="*/ 55484 w 139135"/>
                <a:gd name="connsiteY22" fmla="*/ 87432 h 170108"/>
                <a:gd name="connsiteX23" fmla="*/ 60117 w 139135"/>
                <a:gd name="connsiteY23" fmla="*/ 82798 h 170108"/>
                <a:gd name="connsiteX24" fmla="*/ 62434 w 139135"/>
                <a:gd name="connsiteY24" fmla="*/ 80482 h 170108"/>
                <a:gd name="connsiteX25" fmla="*/ 65483 w 139135"/>
                <a:gd name="connsiteY25" fmla="*/ 81091 h 170108"/>
                <a:gd name="connsiteX26" fmla="*/ 69263 w 139135"/>
                <a:gd name="connsiteY26" fmla="*/ 81701 h 170108"/>
                <a:gd name="connsiteX27" fmla="*/ 73409 w 139135"/>
                <a:gd name="connsiteY27" fmla="*/ 82555 h 170108"/>
                <a:gd name="connsiteX28" fmla="*/ 77433 w 139135"/>
                <a:gd name="connsiteY28" fmla="*/ 83286 h 170108"/>
                <a:gd name="connsiteX29" fmla="*/ 78287 w 139135"/>
                <a:gd name="connsiteY29" fmla="*/ 87066 h 170108"/>
                <a:gd name="connsiteX30" fmla="*/ 82676 w 139135"/>
                <a:gd name="connsiteY30" fmla="*/ 105480 h 170108"/>
                <a:gd name="connsiteX31" fmla="*/ 83408 w 139135"/>
                <a:gd name="connsiteY31" fmla="*/ 108528 h 170108"/>
                <a:gd name="connsiteX32" fmla="*/ 85603 w 139135"/>
                <a:gd name="connsiteY32" fmla="*/ 111211 h 170108"/>
                <a:gd name="connsiteX33" fmla="*/ 101578 w 139135"/>
                <a:gd name="connsiteY33" fmla="*/ 131087 h 170108"/>
                <a:gd name="connsiteX34" fmla="*/ 102309 w 139135"/>
                <a:gd name="connsiteY34" fmla="*/ 132185 h 170108"/>
                <a:gd name="connsiteX35" fmla="*/ 102675 w 139135"/>
                <a:gd name="connsiteY35" fmla="*/ 133404 h 170108"/>
                <a:gd name="connsiteX36" fmla="*/ 105236 w 139135"/>
                <a:gd name="connsiteY36" fmla="*/ 143769 h 170108"/>
                <a:gd name="connsiteX37" fmla="*/ 105601 w 139135"/>
                <a:gd name="connsiteY37" fmla="*/ 145354 h 170108"/>
                <a:gd name="connsiteX38" fmla="*/ 105236 w 139135"/>
                <a:gd name="connsiteY38" fmla="*/ 146940 h 170108"/>
                <a:gd name="connsiteX39" fmla="*/ 99017 w 139135"/>
                <a:gd name="connsiteY39" fmla="*/ 168402 h 170108"/>
                <a:gd name="connsiteX40" fmla="*/ 111821 w 139135"/>
                <a:gd name="connsiteY40" fmla="*/ 170109 h 170108"/>
                <a:gd name="connsiteX41" fmla="*/ 113528 w 139135"/>
                <a:gd name="connsiteY41" fmla="*/ 163890 h 170108"/>
                <a:gd name="connsiteX42" fmla="*/ 114138 w 139135"/>
                <a:gd name="connsiteY42" fmla="*/ 161573 h 170108"/>
                <a:gd name="connsiteX43" fmla="*/ 116210 w 139135"/>
                <a:gd name="connsiteY43" fmla="*/ 160353 h 170108"/>
                <a:gd name="connsiteX44" fmla="*/ 121454 w 139135"/>
                <a:gd name="connsiteY44" fmla="*/ 157061 h 170108"/>
                <a:gd name="connsiteX45" fmla="*/ 126088 w 139135"/>
                <a:gd name="connsiteY45" fmla="*/ 154134 h 170108"/>
                <a:gd name="connsiteX46" fmla="*/ 129502 w 139135"/>
                <a:gd name="connsiteY46" fmla="*/ 158524 h 170108"/>
                <a:gd name="connsiteX47" fmla="*/ 131697 w 139135"/>
                <a:gd name="connsiteY47" fmla="*/ 161329 h 170108"/>
                <a:gd name="connsiteX48" fmla="*/ 136819 w 139135"/>
                <a:gd name="connsiteY48" fmla="*/ 168036 h 170108"/>
                <a:gd name="connsiteX49" fmla="*/ 138282 w 139135"/>
                <a:gd name="connsiteY49" fmla="*/ 168158 h 170108"/>
                <a:gd name="connsiteX50" fmla="*/ 138892 w 139135"/>
                <a:gd name="connsiteY50" fmla="*/ 148891 h 170108"/>
                <a:gd name="connsiteX51" fmla="*/ 139135 w 139135"/>
                <a:gd name="connsiteY51" fmla="*/ 139501 h 170108"/>
                <a:gd name="connsiteX52" fmla="*/ 129502 w 139135"/>
                <a:gd name="connsiteY52" fmla="*/ 136087 h 170108"/>
                <a:gd name="connsiteX53" fmla="*/ 126698 w 139135"/>
                <a:gd name="connsiteY53" fmla="*/ 135111 h 170108"/>
                <a:gd name="connsiteX54" fmla="*/ 125844 w 139135"/>
                <a:gd name="connsiteY54" fmla="*/ 132307 h 170108"/>
                <a:gd name="connsiteX55" fmla="*/ 123649 w 139135"/>
                <a:gd name="connsiteY55" fmla="*/ 125722 h 170108"/>
                <a:gd name="connsiteX56" fmla="*/ 99992 w 139135"/>
                <a:gd name="connsiteY56" fmla="*/ 102919 h 170108"/>
                <a:gd name="connsiteX57" fmla="*/ 99383 w 139135"/>
                <a:gd name="connsiteY57" fmla="*/ 102431 h 170108"/>
                <a:gd name="connsiteX58" fmla="*/ 98895 w 139135"/>
                <a:gd name="connsiteY58" fmla="*/ 101699 h 170108"/>
                <a:gd name="connsiteX59" fmla="*/ 93164 w 139135"/>
                <a:gd name="connsiteY59" fmla="*/ 92188 h 170108"/>
                <a:gd name="connsiteX60" fmla="*/ 85237 w 139135"/>
                <a:gd name="connsiteY60" fmla="*/ 78896 h 170108"/>
                <a:gd name="connsiteX61" fmla="*/ 84262 w 139135"/>
                <a:gd name="connsiteY61" fmla="*/ 77311 h 170108"/>
                <a:gd name="connsiteX62" fmla="*/ 84384 w 139135"/>
                <a:gd name="connsiteY62" fmla="*/ 75360 h 170108"/>
                <a:gd name="connsiteX63" fmla="*/ 86091 w 139135"/>
                <a:gd name="connsiteY63" fmla="*/ 47192 h 170108"/>
                <a:gd name="connsiteX64" fmla="*/ 71824 w 139135"/>
                <a:gd name="connsiteY64" fmla="*/ 37680 h 170108"/>
                <a:gd name="connsiteX65" fmla="*/ 65117 w 139135"/>
                <a:gd name="connsiteY65" fmla="*/ 37070 h 170108"/>
                <a:gd name="connsiteX66" fmla="*/ 53776 w 139135"/>
                <a:gd name="connsiteY66" fmla="*/ 35973 h 170108"/>
                <a:gd name="connsiteX67" fmla="*/ 48655 w 139135"/>
                <a:gd name="connsiteY67" fmla="*/ 35485 h 170108"/>
                <a:gd name="connsiteX68" fmla="*/ 48289 w 139135"/>
                <a:gd name="connsiteY68" fmla="*/ 30242 h 170108"/>
                <a:gd name="connsiteX69" fmla="*/ 47558 w 139135"/>
                <a:gd name="connsiteY69" fmla="*/ 16706 h 170108"/>
                <a:gd name="connsiteX70" fmla="*/ 41704 w 139135"/>
                <a:gd name="connsiteY70" fmla="*/ 11585 h 170108"/>
                <a:gd name="connsiteX71" fmla="*/ 40363 w 139135"/>
                <a:gd name="connsiteY71" fmla="*/ 10487 h 170108"/>
                <a:gd name="connsiteX72" fmla="*/ 39875 w 139135"/>
                <a:gd name="connsiteY72" fmla="*/ 8902 h 170108"/>
                <a:gd name="connsiteX73" fmla="*/ 39265 w 139135"/>
                <a:gd name="connsiteY73" fmla="*/ 6951 h 170108"/>
                <a:gd name="connsiteX74" fmla="*/ 37802 w 139135"/>
                <a:gd name="connsiteY74" fmla="*/ 2317 h 170108"/>
                <a:gd name="connsiteX75" fmla="*/ 31827 w 139135"/>
                <a:gd name="connsiteY75" fmla="*/ 0 h 170108"/>
                <a:gd name="connsiteX76" fmla="*/ 28168 w 139135"/>
                <a:gd name="connsiteY76" fmla="*/ 8292 h 170108"/>
                <a:gd name="connsiteX77" fmla="*/ 31583 w 139135"/>
                <a:gd name="connsiteY77" fmla="*/ 25364 h 170108"/>
                <a:gd name="connsiteX78" fmla="*/ 33290 w 139135"/>
                <a:gd name="connsiteY78" fmla="*/ 33656 h 170108"/>
                <a:gd name="connsiteX79" fmla="*/ 24876 w 139135"/>
                <a:gd name="connsiteY79" fmla="*/ 32558 h 170108"/>
                <a:gd name="connsiteX80" fmla="*/ 17438 w 139135"/>
                <a:gd name="connsiteY80" fmla="*/ 31705 h 17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39135" h="170108">
                  <a:moveTo>
                    <a:pt x="17438" y="31705"/>
                  </a:moveTo>
                  <a:lnTo>
                    <a:pt x="14511" y="31339"/>
                  </a:lnTo>
                  <a:lnTo>
                    <a:pt x="13048" y="28900"/>
                  </a:lnTo>
                  <a:lnTo>
                    <a:pt x="10243" y="29632"/>
                  </a:lnTo>
                  <a:lnTo>
                    <a:pt x="732" y="41338"/>
                  </a:lnTo>
                  <a:lnTo>
                    <a:pt x="0" y="42314"/>
                  </a:lnTo>
                  <a:lnTo>
                    <a:pt x="0" y="42558"/>
                  </a:lnTo>
                  <a:lnTo>
                    <a:pt x="2805" y="54508"/>
                  </a:lnTo>
                  <a:lnTo>
                    <a:pt x="12682" y="58776"/>
                  </a:lnTo>
                  <a:lnTo>
                    <a:pt x="17072" y="60605"/>
                  </a:lnTo>
                  <a:lnTo>
                    <a:pt x="16341" y="65361"/>
                  </a:lnTo>
                  <a:lnTo>
                    <a:pt x="12804" y="87676"/>
                  </a:lnTo>
                  <a:lnTo>
                    <a:pt x="11341" y="93163"/>
                  </a:lnTo>
                  <a:lnTo>
                    <a:pt x="12926" y="94993"/>
                  </a:lnTo>
                  <a:lnTo>
                    <a:pt x="13779" y="95968"/>
                  </a:lnTo>
                  <a:lnTo>
                    <a:pt x="24388" y="85359"/>
                  </a:lnTo>
                  <a:lnTo>
                    <a:pt x="26096" y="83652"/>
                  </a:lnTo>
                  <a:lnTo>
                    <a:pt x="39875" y="83652"/>
                  </a:lnTo>
                  <a:lnTo>
                    <a:pt x="41582" y="85359"/>
                  </a:lnTo>
                  <a:lnTo>
                    <a:pt x="44143" y="87920"/>
                  </a:lnTo>
                  <a:lnTo>
                    <a:pt x="46460" y="90237"/>
                  </a:lnTo>
                  <a:lnTo>
                    <a:pt x="52679" y="90237"/>
                  </a:lnTo>
                  <a:lnTo>
                    <a:pt x="55484" y="87432"/>
                  </a:lnTo>
                  <a:lnTo>
                    <a:pt x="60117" y="82798"/>
                  </a:lnTo>
                  <a:lnTo>
                    <a:pt x="62434" y="80482"/>
                  </a:lnTo>
                  <a:lnTo>
                    <a:pt x="65483" y="81091"/>
                  </a:lnTo>
                  <a:lnTo>
                    <a:pt x="69263" y="81701"/>
                  </a:lnTo>
                  <a:lnTo>
                    <a:pt x="73409" y="82555"/>
                  </a:lnTo>
                  <a:lnTo>
                    <a:pt x="77433" y="83286"/>
                  </a:lnTo>
                  <a:lnTo>
                    <a:pt x="78287" y="87066"/>
                  </a:lnTo>
                  <a:lnTo>
                    <a:pt x="82676" y="105480"/>
                  </a:lnTo>
                  <a:lnTo>
                    <a:pt x="83408" y="108528"/>
                  </a:lnTo>
                  <a:lnTo>
                    <a:pt x="85603" y="111211"/>
                  </a:lnTo>
                  <a:lnTo>
                    <a:pt x="101578" y="131087"/>
                  </a:lnTo>
                  <a:lnTo>
                    <a:pt x="102309" y="132185"/>
                  </a:lnTo>
                  <a:lnTo>
                    <a:pt x="102675" y="133404"/>
                  </a:lnTo>
                  <a:lnTo>
                    <a:pt x="105236" y="143769"/>
                  </a:lnTo>
                  <a:lnTo>
                    <a:pt x="105601" y="145354"/>
                  </a:lnTo>
                  <a:lnTo>
                    <a:pt x="105236" y="146940"/>
                  </a:lnTo>
                  <a:lnTo>
                    <a:pt x="99017" y="168402"/>
                  </a:lnTo>
                  <a:lnTo>
                    <a:pt x="111821" y="170109"/>
                  </a:lnTo>
                  <a:lnTo>
                    <a:pt x="113528" y="163890"/>
                  </a:lnTo>
                  <a:lnTo>
                    <a:pt x="114138" y="161573"/>
                  </a:lnTo>
                  <a:lnTo>
                    <a:pt x="116210" y="160353"/>
                  </a:lnTo>
                  <a:lnTo>
                    <a:pt x="121454" y="157061"/>
                  </a:lnTo>
                  <a:lnTo>
                    <a:pt x="126088" y="154134"/>
                  </a:lnTo>
                  <a:lnTo>
                    <a:pt x="129502" y="158524"/>
                  </a:lnTo>
                  <a:lnTo>
                    <a:pt x="131697" y="161329"/>
                  </a:lnTo>
                  <a:lnTo>
                    <a:pt x="136819" y="168036"/>
                  </a:lnTo>
                  <a:lnTo>
                    <a:pt x="138282" y="168158"/>
                  </a:lnTo>
                  <a:lnTo>
                    <a:pt x="138892" y="148891"/>
                  </a:lnTo>
                  <a:lnTo>
                    <a:pt x="139135" y="139501"/>
                  </a:lnTo>
                  <a:lnTo>
                    <a:pt x="129502" y="136087"/>
                  </a:lnTo>
                  <a:lnTo>
                    <a:pt x="126698" y="135111"/>
                  </a:lnTo>
                  <a:lnTo>
                    <a:pt x="125844" y="132307"/>
                  </a:lnTo>
                  <a:lnTo>
                    <a:pt x="123649" y="125722"/>
                  </a:lnTo>
                  <a:lnTo>
                    <a:pt x="99992" y="102919"/>
                  </a:lnTo>
                  <a:lnTo>
                    <a:pt x="99383" y="102431"/>
                  </a:lnTo>
                  <a:lnTo>
                    <a:pt x="98895" y="101699"/>
                  </a:lnTo>
                  <a:lnTo>
                    <a:pt x="93164" y="92188"/>
                  </a:lnTo>
                  <a:lnTo>
                    <a:pt x="85237" y="78896"/>
                  </a:lnTo>
                  <a:lnTo>
                    <a:pt x="84262" y="77311"/>
                  </a:lnTo>
                  <a:lnTo>
                    <a:pt x="84384" y="75360"/>
                  </a:lnTo>
                  <a:lnTo>
                    <a:pt x="86091" y="47192"/>
                  </a:lnTo>
                  <a:lnTo>
                    <a:pt x="71824" y="37680"/>
                  </a:lnTo>
                  <a:lnTo>
                    <a:pt x="65117" y="37070"/>
                  </a:lnTo>
                  <a:lnTo>
                    <a:pt x="53776" y="35973"/>
                  </a:lnTo>
                  <a:lnTo>
                    <a:pt x="48655" y="35485"/>
                  </a:lnTo>
                  <a:lnTo>
                    <a:pt x="48289" y="30242"/>
                  </a:lnTo>
                  <a:lnTo>
                    <a:pt x="47558" y="16706"/>
                  </a:lnTo>
                  <a:lnTo>
                    <a:pt x="41704" y="11585"/>
                  </a:lnTo>
                  <a:lnTo>
                    <a:pt x="40363" y="10487"/>
                  </a:lnTo>
                  <a:lnTo>
                    <a:pt x="39875" y="8902"/>
                  </a:lnTo>
                  <a:lnTo>
                    <a:pt x="39265" y="6951"/>
                  </a:lnTo>
                  <a:lnTo>
                    <a:pt x="37802" y="2317"/>
                  </a:lnTo>
                  <a:lnTo>
                    <a:pt x="31827" y="0"/>
                  </a:lnTo>
                  <a:lnTo>
                    <a:pt x="28168" y="8292"/>
                  </a:lnTo>
                  <a:lnTo>
                    <a:pt x="31583" y="25364"/>
                  </a:lnTo>
                  <a:lnTo>
                    <a:pt x="33290" y="33656"/>
                  </a:lnTo>
                  <a:lnTo>
                    <a:pt x="24876" y="32558"/>
                  </a:lnTo>
                  <a:lnTo>
                    <a:pt x="17438" y="317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7" name="Freihandform: Form 736">
              <a:extLst>
                <a:ext uri="{FF2B5EF4-FFF2-40B4-BE49-F238E27FC236}">
                  <a16:creationId xmlns:a16="http://schemas.microsoft.com/office/drawing/2014/main" id="{65322223-865B-491E-A678-DDF7D701B6C9}"/>
                </a:ext>
              </a:extLst>
            </p:cNvPr>
            <p:cNvSpPr/>
            <p:nvPr/>
          </p:nvSpPr>
          <p:spPr>
            <a:xfrm>
              <a:off x="6814384" y="3056005"/>
              <a:ext cx="51337" cy="98650"/>
            </a:xfrm>
            <a:custGeom>
              <a:avLst/>
              <a:gdLst>
                <a:gd name="connsiteX0" fmla="*/ 50484 w 51337"/>
                <a:gd name="connsiteY0" fmla="*/ 39875 h 98650"/>
                <a:gd name="connsiteX1" fmla="*/ 51337 w 51337"/>
                <a:gd name="connsiteY1" fmla="*/ 29388 h 98650"/>
                <a:gd name="connsiteX2" fmla="*/ 44630 w 51337"/>
                <a:gd name="connsiteY2" fmla="*/ 21828 h 98650"/>
                <a:gd name="connsiteX3" fmla="*/ 47435 w 51337"/>
                <a:gd name="connsiteY3" fmla="*/ 2317 h 98650"/>
                <a:gd name="connsiteX4" fmla="*/ 44021 w 51337"/>
                <a:gd name="connsiteY4" fmla="*/ 0 h 98650"/>
                <a:gd name="connsiteX5" fmla="*/ 32802 w 51337"/>
                <a:gd name="connsiteY5" fmla="*/ 7560 h 98650"/>
                <a:gd name="connsiteX6" fmla="*/ 22803 w 51337"/>
                <a:gd name="connsiteY6" fmla="*/ 2561 h 98650"/>
                <a:gd name="connsiteX7" fmla="*/ 18657 w 51337"/>
                <a:gd name="connsiteY7" fmla="*/ 3170 h 98650"/>
                <a:gd name="connsiteX8" fmla="*/ 18657 w 51337"/>
                <a:gd name="connsiteY8" fmla="*/ 9633 h 98650"/>
                <a:gd name="connsiteX9" fmla="*/ 13779 w 51337"/>
                <a:gd name="connsiteY9" fmla="*/ 15487 h 98650"/>
                <a:gd name="connsiteX10" fmla="*/ 9024 w 51337"/>
                <a:gd name="connsiteY10" fmla="*/ 45728 h 98650"/>
                <a:gd name="connsiteX11" fmla="*/ 1951 w 51337"/>
                <a:gd name="connsiteY11" fmla="*/ 46704 h 98650"/>
                <a:gd name="connsiteX12" fmla="*/ 0 w 51337"/>
                <a:gd name="connsiteY12" fmla="*/ 51459 h 98650"/>
                <a:gd name="connsiteX13" fmla="*/ 7804 w 51337"/>
                <a:gd name="connsiteY13" fmla="*/ 70604 h 98650"/>
                <a:gd name="connsiteX14" fmla="*/ 20486 w 51337"/>
                <a:gd name="connsiteY14" fmla="*/ 76457 h 98650"/>
                <a:gd name="connsiteX15" fmla="*/ 21461 w 51337"/>
                <a:gd name="connsiteY15" fmla="*/ 92676 h 98650"/>
                <a:gd name="connsiteX16" fmla="*/ 31217 w 51337"/>
                <a:gd name="connsiteY16" fmla="*/ 98651 h 98650"/>
                <a:gd name="connsiteX17" fmla="*/ 33656 w 51337"/>
                <a:gd name="connsiteY17" fmla="*/ 95724 h 98650"/>
                <a:gd name="connsiteX18" fmla="*/ 36948 w 51337"/>
                <a:gd name="connsiteY18" fmla="*/ 87432 h 98650"/>
                <a:gd name="connsiteX19" fmla="*/ 34387 w 51337"/>
                <a:gd name="connsiteY19" fmla="*/ 82311 h 98650"/>
                <a:gd name="connsiteX20" fmla="*/ 28534 w 51337"/>
                <a:gd name="connsiteY20" fmla="*/ 64629 h 98650"/>
                <a:gd name="connsiteX21" fmla="*/ 31827 w 51337"/>
                <a:gd name="connsiteY21" fmla="*/ 54874 h 98650"/>
                <a:gd name="connsiteX22" fmla="*/ 50484 w 51337"/>
                <a:gd name="connsiteY22" fmla="*/ 39875 h 9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337" h="98650">
                  <a:moveTo>
                    <a:pt x="50484" y="39875"/>
                  </a:moveTo>
                  <a:lnTo>
                    <a:pt x="51337" y="29388"/>
                  </a:lnTo>
                  <a:lnTo>
                    <a:pt x="44630" y="21828"/>
                  </a:lnTo>
                  <a:lnTo>
                    <a:pt x="47435" y="2317"/>
                  </a:lnTo>
                  <a:lnTo>
                    <a:pt x="44021" y="0"/>
                  </a:lnTo>
                  <a:lnTo>
                    <a:pt x="32802" y="7560"/>
                  </a:lnTo>
                  <a:lnTo>
                    <a:pt x="22803" y="2561"/>
                  </a:lnTo>
                  <a:lnTo>
                    <a:pt x="18657" y="3170"/>
                  </a:lnTo>
                  <a:lnTo>
                    <a:pt x="18657" y="9633"/>
                  </a:lnTo>
                  <a:lnTo>
                    <a:pt x="13779" y="15487"/>
                  </a:lnTo>
                  <a:lnTo>
                    <a:pt x="9024" y="45728"/>
                  </a:lnTo>
                  <a:lnTo>
                    <a:pt x="1951" y="46704"/>
                  </a:lnTo>
                  <a:lnTo>
                    <a:pt x="0" y="51459"/>
                  </a:lnTo>
                  <a:lnTo>
                    <a:pt x="7804" y="70604"/>
                  </a:lnTo>
                  <a:lnTo>
                    <a:pt x="20486" y="76457"/>
                  </a:lnTo>
                  <a:lnTo>
                    <a:pt x="21461" y="92676"/>
                  </a:lnTo>
                  <a:lnTo>
                    <a:pt x="31217" y="98651"/>
                  </a:lnTo>
                  <a:lnTo>
                    <a:pt x="33656" y="95724"/>
                  </a:lnTo>
                  <a:lnTo>
                    <a:pt x="36948" y="87432"/>
                  </a:lnTo>
                  <a:lnTo>
                    <a:pt x="34387" y="82311"/>
                  </a:lnTo>
                  <a:lnTo>
                    <a:pt x="28534" y="64629"/>
                  </a:lnTo>
                  <a:lnTo>
                    <a:pt x="31827" y="54874"/>
                  </a:lnTo>
                  <a:lnTo>
                    <a:pt x="50484" y="398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ABDEE19A-B695-42E1-9CD4-D49154792829}"/>
                </a:ext>
              </a:extLst>
            </p:cNvPr>
            <p:cNvSpPr/>
            <p:nvPr/>
          </p:nvSpPr>
          <p:spPr>
            <a:xfrm>
              <a:off x="6823651" y="2916869"/>
              <a:ext cx="25973" cy="59507"/>
            </a:xfrm>
            <a:custGeom>
              <a:avLst/>
              <a:gdLst>
                <a:gd name="connsiteX0" fmla="*/ 10365 w 25973"/>
                <a:gd name="connsiteY0" fmla="*/ 58410 h 59507"/>
                <a:gd name="connsiteX1" fmla="*/ 15853 w 25973"/>
                <a:gd name="connsiteY1" fmla="*/ 37314 h 59507"/>
                <a:gd name="connsiteX2" fmla="*/ 25974 w 25973"/>
                <a:gd name="connsiteY2" fmla="*/ 26218 h 59507"/>
                <a:gd name="connsiteX3" fmla="*/ 25974 w 25973"/>
                <a:gd name="connsiteY3" fmla="*/ 2195 h 59507"/>
                <a:gd name="connsiteX4" fmla="*/ 16340 w 25973"/>
                <a:gd name="connsiteY4" fmla="*/ 0 h 59507"/>
                <a:gd name="connsiteX5" fmla="*/ 13170 w 25973"/>
                <a:gd name="connsiteY5" fmla="*/ 2561 h 59507"/>
                <a:gd name="connsiteX6" fmla="*/ 13170 w 25973"/>
                <a:gd name="connsiteY6" fmla="*/ 11585 h 59507"/>
                <a:gd name="connsiteX7" fmla="*/ 0 w 25973"/>
                <a:gd name="connsiteY7" fmla="*/ 31339 h 59507"/>
                <a:gd name="connsiteX8" fmla="*/ 854 w 25973"/>
                <a:gd name="connsiteY8" fmla="*/ 51947 h 59507"/>
                <a:gd name="connsiteX9" fmla="*/ 5488 w 25973"/>
                <a:gd name="connsiteY9" fmla="*/ 59508 h 59507"/>
                <a:gd name="connsiteX10" fmla="*/ 10365 w 25973"/>
                <a:gd name="connsiteY10" fmla="*/ 58410 h 5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973" h="59507">
                  <a:moveTo>
                    <a:pt x="10365" y="58410"/>
                  </a:moveTo>
                  <a:lnTo>
                    <a:pt x="15853" y="37314"/>
                  </a:lnTo>
                  <a:lnTo>
                    <a:pt x="25974" y="26218"/>
                  </a:lnTo>
                  <a:lnTo>
                    <a:pt x="25974" y="2195"/>
                  </a:lnTo>
                  <a:lnTo>
                    <a:pt x="16340" y="0"/>
                  </a:lnTo>
                  <a:lnTo>
                    <a:pt x="13170" y="2561"/>
                  </a:lnTo>
                  <a:lnTo>
                    <a:pt x="13170" y="11585"/>
                  </a:lnTo>
                  <a:lnTo>
                    <a:pt x="0" y="31339"/>
                  </a:lnTo>
                  <a:lnTo>
                    <a:pt x="854" y="51947"/>
                  </a:lnTo>
                  <a:lnTo>
                    <a:pt x="5488" y="59508"/>
                  </a:lnTo>
                  <a:lnTo>
                    <a:pt x="10365" y="584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39" name="Freihandform: Form 738">
              <a:extLst>
                <a:ext uri="{FF2B5EF4-FFF2-40B4-BE49-F238E27FC236}">
                  <a16:creationId xmlns:a16="http://schemas.microsoft.com/office/drawing/2014/main" id="{638F70E4-BE33-4CDD-873F-351D73CDC2BB}"/>
                </a:ext>
              </a:extLst>
            </p:cNvPr>
            <p:cNvSpPr/>
            <p:nvPr/>
          </p:nvSpPr>
          <p:spPr>
            <a:xfrm>
              <a:off x="6468679" y="2957598"/>
              <a:ext cx="131330" cy="305097"/>
            </a:xfrm>
            <a:custGeom>
              <a:avLst/>
              <a:gdLst>
                <a:gd name="connsiteX0" fmla="*/ 127551 w 131330"/>
                <a:gd name="connsiteY0" fmla="*/ 235469 h 305097"/>
                <a:gd name="connsiteX1" fmla="*/ 131331 w 131330"/>
                <a:gd name="connsiteY1" fmla="*/ 215837 h 305097"/>
                <a:gd name="connsiteX2" fmla="*/ 127673 w 131330"/>
                <a:gd name="connsiteY2" fmla="*/ 178035 h 305097"/>
                <a:gd name="connsiteX3" fmla="*/ 111942 w 131330"/>
                <a:gd name="connsiteY3" fmla="*/ 157670 h 305097"/>
                <a:gd name="connsiteX4" fmla="*/ 99992 w 131330"/>
                <a:gd name="connsiteY4" fmla="*/ 143037 h 305097"/>
                <a:gd name="connsiteX5" fmla="*/ 90480 w 131330"/>
                <a:gd name="connsiteY5" fmla="*/ 138160 h 305097"/>
                <a:gd name="connsiteX6" fmla="*/ 70482 w 131330"/>
                <a:gd name="connsiteY6" fmla="*/ 109747 h 305097"/>
                <a:gd name="connsiteX7" fmla="*/ 61458 w 131330"/>
                <a:gd name="connsiteY7" fmla="*/ 103772 h 305097"/>
                <a:gd name="connsiteX8" fmla="*/ 59386 w 131330"/>
                <a:gd name="connsiteY8" fmla="*/ 79140 h 305097"/>
                <a:gd name="connsiteX9" fmla="*/ 67800 w 131330"/>
                <a:gd name="connsiteY9" fmla="*/ 68653 h 305097"/>
                <a:gd name="connsiteX10" fmla="*/ 74384 w 131330"/>
                <a:gd name="connsiteY10" fmla="*/ 65848 h 305097"/>
                <a:gd name="connsiteX11" fmla="*/ 87676 w 131330"/>
                <a:gd name="connsiteY11" fmla="*/ 46826 h 305097"/>
                <a:gd name="connsiteX12" fmla="*/ 103040 w 131330"/>
                <a:gd name="connsiteY12" fmla="*/ 42070 h 305097"/>
                <a:gd name="connsiteX13" fmla="*/ 107065 w 131330"/>
                <a:gd name="connsiteY13" fmla="*/ 38533 h 305097"/>
                <a:gd name="connsiteX14" fmla="*/ 104748 w 131330"/>
                <a:gd name="connsiteY14" fmla="*/ 36339 h 305097"/>
                <a:gd name="connsiteX15" fmla="*/ 94626 w 131330"/>
                <a:gd name="connsiteY15" fmla="*/ 37436 h 305097"/>
                <a:gd name="connsiteX16" fmla="*/ 91944 w 131330"/>
                <a:gd name="connsiteY16" fmla="*/ 37680 h 305097"/>
                <a:gd name="connsiteX17" fmla="*/ 89993 w 131330"/>
                <a:gd name="connsiteY17" fmla="*/ 35973 h 305097"/>
                <a:gd name="connsiteX18" fmla="*/ 80237 w 131330"/>
                <a:gd name="connsiteY18" fmla="*/ 27437 h 305097"/>
                <a:gd name="connsiteX19" fmla="*/ 77555 w 131330"/>
                <a:gd name="connsiteY19" fmla="*/ 24998 h 305097"/>
                <a:gd name="connsiteX20" fmla="*/ 78286 w 131330"/>
                <a:gd name="connsiteY20" fmla="*/ 21584 h 305097"/>
                <a:gd name="connsiteX21" fmla="*/ 80482 w 131330"/>
                <a:gd name="connsiteY21" fmla="*/ 11950 h 305097"/>
                <a:gd name="connsiteX22" fmla="*/ 80603 w 131330"/>
                <a:gd name="connsiteY22" fmla="*/ 11219 h 305097"/>
                <a:gd name="connsiteX23" fmla="*/ 79262 w 131330"/>
                <a:gd name="connsiteY23" fmla="*/ 7804 h 305097"/>
                <a:gd name="connsiteX24" fmla="*/ 59142 w 131330"/>
                <a:gd name="connsiteY24" fmla="*/ 7804 h 305097"/>
                <a:gd name="connsiteX25" fmla="*/ 57434 w 131330"/>
                <a:gd name="connsiteY25" fmla="*/ 6219 h 305097"/>
                <a:gd name="connsiteX26" fmla="*/ 55361 w 131330"/>
                <a:gd name="connsiteY26" fmla="*/ 4390 h 305097"/>
                <a:gd name="connsiteX27" fmla="*/ 50362 w 131330"/>
                <a:gd name="connsiteY27" fmla="*/ 0 h 305097"/>
                <a:gd name="connsiteX28" fmla="*/ 43533 w 131330"/>
                <a:gd name="connsiteY28" fmla="*/ 11706 h 305097"/>
                <a:gd name="connsiteX29" fmla="*/ 41582 w 131330"/>
                <a:gd name="connsiteY29" fmla="*/ 14999 h 305097"/>
                <a:gd name="connsiteX30" fmla="*/ 37802 w 131330"/>
                <a:gd name="connsiteY30" fmla="*/ 14755 h 305097"/>
                <a:gd name="connsiteX31" fmla="*/ 15243 w 131330"/>
                <a:gd name="connsiteY31" fmla="*/ 13413 h 305097"/>
                <a:gd name="connsiteX32" fmla="*/ 14633 w 131330"/>
                <a:gd name="connsiteY32" fmla="*/ 13413 h 305097"/>
                <a:gd name="connsiteX33" fmla="*/ 14145 w 131330"/>
                <a:gd name="connsiteY33" fmla="*/ 13292 h 305097"/>
                <a:gd name="connsiteX34" fmla="*/ 5121 w 131330"/>
                <a:gd name="connsiteY34" fmla="*/ 10975 h 305097"/>
                <a:gd name="connsiteX35" fmla="*/ 0 w 131330"/>
                <a:gd name="connsiteY35" fmla="*/ 16218 h 305097"/>
                <a:gd name="connsiteX36" fmla="*/ 1585 w 131330"/>
                <a:gd name="connsiteY36" fmla="*/ 21584 h 305097"/>
                <a:gd name="connsiteX37" fmla="*/ 1707 w 131330"/>
                <a:gd name="connsiteY37" fmla="*/ 21827 h 305097"/>
                <a:gd name="connsiteX38" fmla="*/ 7804 w 131330"/>
                <a:gd name="connsiteY38" fmla="*/ 27071 h 305097"/>
                <a:gd name="connsiteX39" fmla="*/ 9633 w 131330"/>
                <a:gd name="connsiteY39" fmla="*/ 28778 h 305097"/>
                <a:gd name="connsiteX40" fmla="*/ 9877 w 131330"/>
                <a:gd name="connsiteY40" fmla="*/ 31339 h 305097"/>
                <a:gd name="connsiteX41" fmla="*/ 10609 w 131330"/>
                <a:gd name="connsiteY41" fmla="*/ 44021 h 305097"/>
                <a:gd name="connsiteX42" fmla="*/ 20486 w 131330"/>
                <a:gd name="connsiteY42" fmla="*/ 44996 h 305097"/>
                <a:gd name="connsiteX43" fmla="*/ 27437 w 131330"/>
                <a:gd name="connsiteY43" fmla="*/ 45606 h 305097"/>
                <a:gd name="connsiteX44" fmla="*/ 28900 w 131330"/>
                <a:gd name="connsiteY44" fmla="*/ 45728 h 305097"/>
                <a:gd name="connsiteX45" fmla="*/ 30241 w 131330"/>
                <a:gd name="connsiteY45" fmla="*/ 46582 h 305097"/>
                <a:gd name="connsiteX46" fmla="*/ 45728 w 131330"/>
                <a:gd name="connsiteY46" fmla="*/ 56947 h 305097"/>
                <a:gd name="connsiteX47" fmla="*/ 48655 w 131330"/>
                <a:gd name="connsiteY47" fmla="*/ 58898 h 305097"/>
                <a:gd name="connsiteX48" fmla="*/ 48533 w 131330"/>
                <a:gd name="connsiteY48" fmla="*/ 62434 h 305097"/>
                <a:gd name="connsiteX49" fmla="*/ 46703 w 131330"/>
                <a:gd name="connsiteY49" fmla="*/ 91090 h 305097"/>
                <a:gd name="connsiteX50" fmla="*/ 53898 w 131330"/>
                <a:gd name="connsiteY50" fmla="*/ 103163 h 305097"/>
                <a:gd name="connsiteX51" fmla="*/ 59873 w 131330"/>
                <a:gd name="connsiteY51" fmla="*/ 113040 h 305097"/>
                <a:gd name="connsiteX52" fmla="*/ 83896 w 131330"/>
                <a:gd name="connsiteY52" fmla="*/ 136209 h 305097"/>
                <a:gd name="connsiteX53" fmla="*/ 84871 w 131330"/>
                <a:gd name="connsiteY53" fmla="*/ 137184 h 305097"/>
                <a:gd name="connsiteX54" fmla="*/ 85359 w 131330"/>
                <a:gd name="connsiteY54" fmla="*/ 138648 h 305097"/>
                <a:gd name="connsiteX55" fmla="*/ 87432 w 131330"/>
                <a:gd name="connsiteY55" fmla="*/ 144745 h 305097"/>
                <a:gd name="connsiteX56" fmla="*/ 97431 w 131330"/>
                <a:gd name="connsiteY56" fmla="*/ 148403 h 305097"/>
                <a:gd name="connsiteX57" fmla="*/ 101577 w 131330"/>
                <a:gd name="connsiteY57" fmla="*/ 149866 h 305097"/>
                <a:gd name="connsiteX58" fmla="*/ 101455 w 131330"/>
                <a:gd name="connsiteY58" fmla="*/ 154256 h 305097"/>
                <a:gd name="connsiteX59" fmla="*/ 101211 w 131330"/>
                <a:gd name="connsiteY59" fmla="*/ 164133 h 305097"/>
                <a:gd name="connsiteX60" fmla="*/ 100602 w 131330"/>
                <a:gd name="connsiteY60" fmla="*/ 186327 h 305097"/>
                <a:gd name="connsiteX61" fmla="*/ 100602 w 131330"/>
                <a:gd name="connsiteY61" fmla="*/ 188156 h 305097"/>
                <a:gd name="connsiteX62" fmla="*/ 100846 w 131330"/>
                <a:gd name="connsiteY62" fmla="*/ 189131 h 305097"/>
                <a:gd name="connsiteX63" fmla="*/ 103163 w 131330"/>
                <a:gd name="connsiteY63" fmla="*/ 200350 h 305097"/>
                <a:gd name="connsiteX64" fmla="*/ 105114 w 131330"/>
                <a:gd name="connsiteY64" fmla="*/ 208764 h 305097"/>
                <a:gd name="connsiteX65" fmla="*/ 105479 w 131330"/>
                <a:gd name="connsiteY65" fmla="*/ 210593 h 305097"/>
                <a:gd name="connsiteX66" fmla="*/ 104870 w 131330"/>
                <a:gd name="connsiteY66" fmla="*/ 212300 h 305097"/>
                <a:gd name="connsiteX67" fmla="*/ 103650 w 131330"/>
                <a:gd name="connsiteY67" fmla="*/ 215227 h 305097"/>
                <a:gd name="connsiteX68" fmla="*/ 97065 w 131330"/>
                <a:gd name="connsiteY68" fmla="*/ 233030 h 305097"/>
                <a:gd name="connsiteX69" fmla="*/ 95602 w 131330"/>
                <a:gd name="connsiteY69" fmla="*/ 236933 h 305097"/>
                <a:gd name="connsiteX70" fmla="*/ 91334 w 131330"/>
                <a:gd name="connsiteY70" fmla="*/ 236933 h 305097"/>
                <a:gd name="connsiteX71" fmla="*/ 70604 w 131330"/>
                <a:gd name="connsiteY71" fmla="*/ 236933 h 305097"/>
                <a:gd name="connsiteX72" fmla="*/ 66824 w 131330"/>
                <a:gd name="connsiteY72" fmla="*/ 240225 h 305097"/>
                <a:gd name="connsiteX73" fmla="*/ 68165 w 131330"/>
                <a:gd name="connsiteY73" fmla="*/ 249858 h 305097"/>
                <a:gd name="connsiteX74" fmla="*/ 68775 w 131330"/>
                <a:gd name="connsiteY74" fmla="*/ 254004 h 305097"/>
                <a:gd name="connsiteX75" fmla="*/ 65117 w 131330"/>
                <a:gd name="connsiteY75" fmla="*/ 256077 h 305097"/>
                <a:gd name="connsiteX76" fmla="*/ 49020 w 131330"/>
                <a:gd name="connsiteY76" fmla="*/ 264979 h 305097"/>
                <a:gd name="connsiteX77" fmla="*/ 42070 w 131330"/>
                <a:gd name="connsiteY77" fmla="*/ 268028 h 305097"/>
                <a:gd name="connsiteX78" fmla="*/ 41582 w 131330"/>
                <a:gd name="connsiteY78" fmla="*/ 269613 h 305097"/>
                <a:gd name="connsiteX79" fmla="*/ 41338 w 131330"/>
                <a:gd name="connsiteY79" fmla="*/ 270588 h 305097"/>
                <a:gd name="connsiteX80" fmla="*/ 40972 w 131330"/>
                <a:gd name="connsiteY80" fmla="*/ 271320 h 305097"/>
                <a:gd name="connsiteX81" fmla="*/ 45850 w 131330"/>
                <a:gd name="connsiteY81" fmla="*/ 275466 h 305097"/>
                <a:gd name="connsiteX82" fmla="*/ 43899 w 131330"/>
                <a:gd name="connsiteY82" fmla="*/ 303513 h 305097"/>
                <a:gd name="connsiteX83" fmla="*/ 47069 w 131330"/>
                <a:gd name="connsiteY83" fmla="*/ 305098 h 305097"/>
                <a:gd name="connsiteX84" fmla="*/ 65361 w 131330"/>
                <a:gd name="connsiteY84" fmla="*/ 288636 h 305097"/>
                <a:gd name="connsiteX85" fmla="*/ 74628 w 131330"/>
                <a:gd name="connsiteY85" fmla="*/ 286807 h 305097"/>
                <a:gd name="connsiteX86" fmla="*/ 82554 w 131330"/>
                <a:gd name="connsiteY86" fmla="*/ 276076 h 305097"/>
                <a:gd name="connsiteX87" fmla="*/ 87676 w 131330"/>
                <a:gd name="connsiteY87" fmla="*/ 268028 h 305097"/>
                <a:gd name="connsiteX88" fmla="*/ 106943 w 131330"/>
                <a:gd name="connsiteY88" fmla="*/ 262175 h 305097"/>
                <a:gd name="connsiteX89" fmla="*/ 125843 w 131330"/>
                <a:gd name="connsiteY89" fmla="*/ 248761 h 305097"/>
                <a:gd name="connsiteX90" fmla="*/ 127551 w 131330"/>
                <a:gd name="connsiteY90" fmla="*/ 235469 h 305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31330" h="305097">
                  <a:moveTo>
                    <a:pt x="127551" y="235469"/>
                  </a:moveTo>
                  <a:lnTo>
                    <a:pt x="131331" y="215837"/>
                  </a:lnTo>
                  <a:lnTo>
                    <a:pt x="127673" y="178035"/>
                  </a:lnTo>
                  <a:lnTo>
                    <a:pt x="111942" y="157670"/>
                  </a:lnTo>
                  <a:lnTo>
                    <a:pt x="99992" y="143037"/>
                  </a:lnTo>
                  <a:lnTo>
                    <a:pt x="90480" y="138160"/>
                  </a:lnTo>
                  <a:lnTo>
                    <a:pt x="70482" y="109747"/>
                  </a:lnTo>
                  <a:lnTo>
                    <a:pt x="61458" y="103772"/>
                  </a:lnTo>
                  <a:lnTo>
                    <a:pt x="59386" y="79140"/>
                  </a:lnTo>
                  <a:lnTo>
                    <a:pt x="67800" y="68653"/>
                  </a:lnTo>
                  <a:lnTo>
                    <a:pt x="74384" y="65848"/>
                  </a:lnTo>
                  <a:lnTo>
                    <a:pt x="87676" y="46826"/>
                  </a:lnTo>
                  <a:lnTo>
                    <a:pt x="103040" y="42070"/>
                  </a:lnTo>
                  <a:lnTo>
                    <a:pt x="107065" y="38533"/>
                  </a:lnTo>
                  <a:lnTo>
                    <a:pt x="104748" y="36339"/>
                  </a:lnTo>
                  <a:lnTo>
                    <a:pt x="94626" y="37436"/>
                  </a:lnTo>
                  <a:lnTo>
                    <a:pt x="91944" y="37680"/>
                  </a:lnTo>
                  <a:lnTo>
                    <a:pt x="89993" y="35973"/>
                  </a:lnTo>
                  <a:lnTo>
                    <a:pt x="80237" y="27437"/>
                  </a:lnTo>
                  <a:lnTo>
                    <a:pt x="77555" y="24998"/>
                  </a:lnTo>
                  <a:lnTo>
                    <a:pt x="78286" y="21584"/>
                  </a:lnTo>
                  <a:lnTo>
                    <a:pt x="80482" y="11950"/>
                  </a:lnTo>
                  <a:lnTo>
                    <a:pt x="80603" y="11219"/>
                  </a:lnTo>
                  <a:lnTo>
                    <a:pt x="79262" y="7804"/>
                  </a:lnTo>
                  <a:lnTo>
                    <a:pt x="59142" y="7804"/>
                  </a:lnTo>
                  <a:lnTo>
                    <a:pt x="57434" y="6219"/>
                  </a:lnTo>
                  <a:lnTo>
                    <a:pt x="55361" y="4390"/>
                  </a:lnTo>
                  <a:lnTo>
                    <a:pt x="50362" y="0"/>
                  </a:lnTo>
                  <a:lnTo>
                    <a:pt x="43533" y="11706"/>
                  </a:lnTo>
                  <a:lnTo>
                    <a:pt x="41582" y="14999"/>
                  </a:lnTo>
                  <a:lnTo>
                    <a:pt x="37802" y="14755"/>
                  </a:lnTo>
                  <a:lnTo>
                    <a:pt x="15243" y="13413"/>
                  </a:lnTo>
                  <a:lnTo>
                    <a:pt x="14633" y="13413"/>
                  </a:lnTo>
                  <a:lnTo>
                    <a:pt x="14145" y="13292"/>
                  </a:lnTo>
                  <a:lnTo>
                    <a:pt x="5121" y="10975"/>
                  </a:lnTo>
                  <a:lnTo>
                    <a:pt x="0" y="16218"/>
                  </a:lnTo>
                  <a:lnTo>
                    <a:pt x="1585" y="21584"/>
                  </a:lnTo>
                  <a:lnTo>
                    <a:pt x="1707" y="21827"/>
                  </a:lnTo>
                  <a:lnTo>
                    <a:pt x="7804" y="27071"/>
                  </a:lnTo>
                  <a:lnTo>
                    <a:pt x="9633" y="28778"/>
                  </a:lnTo>
                  <a:lnTo>
                    <a:pt x="9877" y="31339"/>
                  </a:lnTo>
                  <a:lnTo>
                    <a:pt x="10609" y="44021"/>
                  </a:lnTo>
                  <a:lnTo>
                    <a:pt x="20486" y="44996"/>
                  </a:lnTo>
                  <a:lnTo>
                    <a:pt x="27437" y="45606"/>
                  </a:lnTo>
                  <a:lnTo>
                    <a:pt x="28900" y="45728"/>
                  </a:lnTo>
                  <a:lnTo>
                    <a:pt x="30241" y="46582"/>
                  </a:lnTo>
                  <a:lnTo>
                    <a:pt x="45728" y="56947"/>
                  </a:lnTo>
                  <a:lnTo>
                    <a:pt x="48655" y="58898"/>
                  </a:lnTo>
                  <a:lnTo>
                    <a:pt x="48533" y="62434"/>
                  </a:lnTo>
                  <a:lnTo>
                    <a:pt x="46703" y="91090"/>
                  </a:lnTo>
                  <a:lnTo>
                    <a:pt x="53898" y="103163"/>
                  </a:lnTo>
                  <a:lnTo>
                    <a:pt x="59873" y="113040"/>
                  </a:lnTo>
                  <a:lnTo>
                    <a:pt x="83896" y="136209"/>
                  </a:lnTo>
                  <a:lnTo>
                    <a:pt x="84871" y="137184"/>
                  </a:lnTo>
                  <a:lnTo>
                    <a:pt x="85359" y="138648"/>
                  </a:lnTo>
                  <a:lnTo>
                    <a:pt x="87432" y="144745"/>
                  </a:lnTo>
                  <a:lnTo>
                    <a:pt x="97431" y="148403"/>
                  </a:lnTo>
                  <a:lnTo>
                    <a:pt x="101577" y="149866"/>
                  </a:lnTo>
                  <a:lnTo>
                    <a:pt x="101455" y="154256"/>
                  </a:lnTo>
                  <a:lnTo>
                    <a:pt x="101211" y="164133"/>
                  </a:lnTo>
                  <a:lnTo>
                    <a:pt x="100602" y="186327"/>
                  </a:lnTo>
                  <a:lnTo>
                    <a:pt x="100602" y="188156"/>
                  </a:lnTo>
                  <a:lnTo>
                    <a:pt x="100846" y="189131"/>
                  </a:lnTo>
                  <a:lnTo>
                    <a:pt x="103163" y="200350"/>
                  </a:lnTo>
                  <a:lnTo>
                    <a:pt x="105114" y="208764"/>
                  </a:lnTo>
                  <a:lnTo>
                    <a:pt x="105479" y="210593"/>
                  </a:lnTo>
                  <a:lnTo>
                    <a:pt x="104870" y="212300"/>
                  </a:lnTo>
                  <a:lnTo>
                    <a:pt x="103650" y="215227"/>
                  </a:lnTo>
                  <a:lnTo>
                    <a:pt x="97065" y="233030"/>
                  </a:lnTo>
                  <a:lnTo>
                    <a:pt x="95602" y="236933"/>
                  </a:lnTo>
                  <a:lnTo>
                    <a:pt x="91334" y="236933"/>
                  </a:lnTo>
                  <a:lnTo>
                    <a:pt x="70604" y="236933"/>
                  </a:lnTo>
                  <a:lnTo>
                    <a:pt x="66824" y="240225"/>
                  </a:lnTo>
                  <a:lnTo>
                    <a:pt x="68165" y="249858"/>
                  </a:lnTo>
                  <a:lnTo>
                    <a:pt x="68775" y="254004"/>
                  </a:lnTo>
                  <a:lnTo>
                    <a:pt x="65117" y="256077"/>
                  </a:lnTo>
                  <a:lnTo>
                    <a:pt x="49020" y="264979"/>
                  </a:lnTo>
                  <a:lnTo>
                    <a:pt x="42070" y="268028"/>
                  </a:lnTo>
                  <a:lnTo>
                    <a:pt x="41582" y="269613"/>
                  </a:lnTo>
                  <a:lnTo>
                    <a:pt x="41338" y="270588"/>
                  </a:lnTo>
                  <a:lnTo>
                    <a:pt x="40972" y="271320"/>
                  </a:lnTo>
                  <a:lnTo>
                    <a:pt x="45850" y="275466"/>
                  </a:lnTo>
                  <a:lnTo>
                    <a:pt x="43899" y="303513"/>
                  </a:lnTo>
                  <a:lnTo>
                    <a:pt x="47069" y="305098"/>
                  </a:lnTo>
                  <a:lnTo>
                    <a:pt x="65361" y="288636"/>
                  </a:lnTo>
                  <a:lnTo>
                    <a:pt x="74628" y="286807"/>
                  </a:lnTo>
                  <a:lnTo>
                    <a:pt x="82554" y="276076"/>
                  </a:lnTo>
                  <a:lnTo>
                    <a:pt x="87676" y="268028"/>
                  </a:lnTo>
                  <a:lnTo>
                    <a:pt x="106943" y="262175"/>
                  </a:lnTo>
                  <a:lnTo>
                    <a:pt x="125843" y="248761"/>
                  </a:lnTo>
                  <a:lnTo>
                    <a:pt x="127551" y="23546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73057E3E-488C-4746-9530-574E585428CE}"/>
                </a:ext>
              </a:extLst>
            </p:cNvPr>
            <p:cNvSpPr/>
            <p:nvPr/>
          </p:nvSpPr>
          <p:spPr>
            <a:xfrm>
              <a:off x="6712441" y="3334398"/>
              <a:ext cx="9999" cy="6584"/>
            </a:xfrm>
            <a:custGeom>
              <a:avLst/>
              <a:gdLst>
                <a:gd name="connsiteX0" fmla="*/ 8536 w 9999"/>
                <a:gd name="connsiteY0" fmla="*/ 6585 h 6584"/>
                <a:gd name="connsiteX1" fmla="*/ 8780 w 9999"/>
                <a:gd name="connsiteY1" fmla="*/ 6219 h 6584"/>
                <a:gd name="connsiteX2" fmla="*/ 9146 w 9999"/>
                <a:gd name="connsiteY2" fmla="*/ 4512 h 6584"/>
                <a:gd name="connsiteX3" fmla="*/ 9999 w 9999"/>
                <a:gd name="connsiteY3" fmla="*/ 610 h 6584"/>
                <a:gd name="connsiteX4" fmla="*/ 1585 w 9999"/>
                <a:gd name="connsiteY4" fmla="*/ 0 h 6584"/>
                <a:gd name="connsiteX5" fmla="*/ 0 w 9999"/>
                <a:gd name="connsiteY5" fmla="*/ 732 h 6584"/>
                <a:gd name="connsiteX6" fmla="*/ 5975 w 9999"/>
                <a:gd name="connsiteY6" fmla="*/ 4878 h 6584"/>
                <a:gd name="connsiteX7" fmla="*/ 8536 w 9999"/>
                <a:gd name="connsiteY7" fmla="*/ 6585 h 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99" h="6584">
                  <a:moveTo>
                    <a:pt x="8536" y="6585"/>
                  </a:moveTo>
                  <a:lnTo>
                    <a:pt x="8780" y="6219"/>
                  </a:lnTo>
                  <a:lnTo>
                    <a:pt x="9146" y="4512"/>
                  </a:lnTo>
                  <a:lnTo>
                    <a:pt x="9999" y="610"/>
                  </a:lnTo>
                  <a:lnTo>
                    <a:pt x="1585" y="0"/>
                  </a:lnTo>
                  <a:lnTo>
                    <a:pt x="0" y="732"/>
                  </a:lnTo>
                  <a:lnTo>
                    <a:pt x="5975" y="4878"/>
                  </a:lnTo>
                  <a:lnTo>
                    <a:pt x="8536" y="6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54047AC1-1BCA-443A-A44C-9BD6E8B4B9B6}"/>
                </a:ext>
              </a:extLst>
            </p:cNvPr>
            <p:cNvSpPr/>
            <p:nvPr/>
          </p:nvSpPr>
          <p:spPr>
            <a:xfrm>
              <a:off x="6524041" y="3460241"/>
              <a:ext cx="25607" cy="24510"/>
            </a:xfrm>
            <a:custGeom>
              <a:avLst/>
              <a:gdLst>
                <a:gd name="connsiteX0" fmla="*/ 488 w 25607"/>
                <a:gd name="connsiteY0" fmla="*/ 610 h 24510"/>
                <a:gd name="connsiteX1" fmla="*/ 0 w 25607"/>
                <a:gd name="connsiteY1" fmla="*/ 3902 h 24510"/>
                <a:gd name="connsiteX2" fmla="*/ 4634 w 25607"/>
                <a:gd name="connsiteY2" fmla="*/ 5365 h 24510"/>
                <a:gd name="connsiteX3" fmla="*/ 20121 w 25607"/>
                <a:gd name="connsiteY3" fmla="*/ 24510 h 24510"/>
                <a:gd name="connsiteX4" fmla="*/ 25608 w 25607"/>
                <a:gd name="connsiteY4" fmla="*/ 22315 h 24510"/>
                <a:gd name="connsiteX5" fmla="*/ 9878 w 25607"/>
                <a:gd name="connsiteY5" fmla="*/ 0 h 24510"/>
                <a:gd name="connsiteX6" fmla="*/ 488 w 25607"/>
                <a:gd name="connsiteY6" fmla="*/ 610 h 2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607" h="24510">
                  <a:moveTo>
                    <a:pt x="488" y="610"/>
                  </a:moveTo>
                  <a:lnTo>
                    <a:pt x="0" y="3902"/>
                  </a:lnTo>
                  <a:lnTo>
                    <a:pt x="4634" y="5365"/>
                  </a:lnTo>
                  <a:lnTo>
                    <a:pt x="20121" y="24510"/>
                  </a:lnTo>
                  <a:lnTo>
                    <a:pt x="25608" y="22315"/>
                  </a:lnTo>
                  <a:lnTo>
                    <a:pt x="9878" y="0"/>
                  </a:lnTo>
                  <a:lnTo>
                    <a:pt x="488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2" name="Freihandform: Form 741">
              <a:extLst>
                <a:ext uri="{FF2B5EF4-FFF2-40B4-BE49-F238E27FC236}">
                  <a16:creationId xmlns:a16="http://schemas.microsoft.com/office/drawing/2014/main" id="{C943DF94-CC68-4AA3-86BF-BCF11D0FD912}"/>
                </a:ext>
              </a:extLst>
            </p:cNvPr>
            <p:cNvSpPr/>
            <p:nvPr/>
          </p:nvSpPr>
          <p:spPr>
            <a:xfrm>
              <a:off x="7233253" y="2525437"/>
              <a:ext cx="7316" cy="13657"/>
            </a:xfrm>
            <a:custGeom>
              <a:avLst/>
              <a:gdLst>
                <a:gd name="connsiteX0" fmla="*/ 5975 w 7316"/>
                <a:gd name="connsiteY0" fmla="*/ 13536 h 13657"/>
                <a:gd name="connsiteX1" fmla="*/ 6951 w 7316"/>
                <a:gd name="connsiteY1" fmla="*/ 13413 h 13657"/>
                <a:gd name="connsiteX2" fmla="*/ 7317 w 7316"/>
                <a:gd name="connsiteY2" fmla="*/ 2439 h 13657"/>
                <a:gd name="connsiteX3" fmla="*/ 4512 w 7316"/>
                <a:gd name="connsiteY3" fmla="*/ 0 h 13657"/>
                <a:gd name="connsiteX4" fmla="*/ 0 w 7316"/>
                <a:gd name="connsiteY4" fmla="*/ 3536 h 13657"/>
                <a:gd name="connsiteX5" fmla="*/ 2195 w 7316"/>
                <a:gd name="connsiteY5" fmla="*/ 9146 h 13657"/>
                <a:gd name="connsiteX6" fmla="*/ 4268 w 7316"/>
                <a:gd name="connsiteY6" fmla="*/ 13657 h 13657"/>
                <a:gd name="connsiteX7" fmla="*/ 5975 w 7316"/>
                <a:gd name="connsiteY7" fmla="*/ 13536 h 1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6" h="13657">
                  <a:moveTo>
                    <a:pt x="5975" y="13536"/>
                  </a:moveTo>
                  <a:lnTo>
                    <a:pt x="6951" y="13413"/>
                  </a:lnTo>
                  <a:lnTo>
                    <a:pt x="7317" y="2439"/>
                  </a:lnTo>
                  <a:lnTo>
                    <a:pt x="4512" y="0"/>
                  </a:lnTo>
                  <a:lnTo>
                    <a:pt x="0" y="3536"/>
                  </a:lnTo>
                  <a:lnTo>
                    <a:pt x="2195" y="9146"/>
                  </a:lnTo>
                  <a:lnTo>
                    <a:pt x="4268" y="13657"/>
                  </a:lnTo>
                  <a:lnTo>
                    <a:pt x="5975" y="1353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F02895CE-5716-4197-8983-7B2143DF406D}"/>
                </a:ext>
              </a:extLst>
            </p:cNvPr>
            <p:cNvSpPr/>
            <p:nvPr/>
          </p:nvSpPr>
          <p:spPr>
            <a:xfrm>
              <a:off x="7106556" y="3537552"/>
              <a:ext cx="3658" cy="5121"/>
            </a:xfrm>
            <a:custGeom>
              <a:avLst/>
              <a:gdLst>
                <a:gd name="connsiteX0" fmla="*/ 366 w 3658"/>
                <a:gd name="connsiteY0" fmla="*/ 0 h 5121"/>
                <a:gd name="connsiteX1" fmla="*/ 0 w 3658"/>
                <a:gd name="connsiteY1" fmla="*/ 2561 h 5121"/>
                <a:gd name="connsiteX2" fmla="*/ 3658 w 3658"/>
                <a:gd name="connsiteY2" fmla="*/ 5122 h 5121"/>
                <a:gd name="connsiteX3" fmla="*/ 3292 w 3658"/>
                <a:gd name="connsiteY3" fmla="*/ 0 h 5121"/>
                <a:gd name="connsiteX4" fmla="*/ 366 w 3658"/>
                <a:gd name="connsiteY4" fmla="*/ 0 h 5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8" h="5121">
                  <a:moveTo>
                    <a:pt x="366" y="0"/>
                  </a:moveTo>
                  <a:lnTo>
                    <a:pt x="0" y="2561"/>
                  </a:lnTo>
                  <a:lnTo>
                    <a:pt x="3658" y="5122"/>
                  </a:lnTo>
                  <a:lnTo>
                    <a:pt x="3292" y="0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4" name="Freihandform: Form 743">
              <a:extLst>
                <a:ext uri="{FF2B5EF4-FFF2-40B4-BE49-F238E27FC236}">
                  <a16:creationId xmlns:a16="http://schemas.microsoft.com/office/drawing/2014/main" id="{BE7AC726-A3F1-4403-974F-9CA63DF07FB9}"/>
                </a:ext>
              </a:extLst>
            </p:cNvPr>
            <p:cNvSpPr/>
            <p:nvPr/>
          </p:nvSpPr>
          <p:spPr>
            <a:xfrm>
              <a:off x="7172648" y="3572794"/>
              <a:ext cx="19145" cy="18047"/>
            </a:xfrm>
            <a:custGeom>
              <a:avLst/>
              <a:gdLst>
                <a:gd name="connsiteX0" fmla="*/ 15486 w 19145"/>
                <a:gd name="connsiteY0" fmla="*/ 0 h 18047"/>
                <a:gd name="connsiteX1" fmla="*/ 7561 w 19145"/>
                <a:gd name="connsiteY1" fmla="*/ 1463 h 18047"/>
                <a:gd name="connsiteX2" fmla="*/ 0 w 19145"/>
                <a:gd name="connsiteY2" fmla="*/ 14999 h 18047"/>
                <a:gd name="connsiteX3" fmla="*/ 488 w 19145"/>
                <a:gd name="connsiteY3" fmla="*/ 18047 h 18047"/>
                <a:gd name="connsiteX4" fmla="*/ 19145 w 19145"/>
                <a:gd name="connsiteY4" fmla="*/ 16462 h 18047"/>
                <a:gd name="connsiteX5" fmla="*/ 18414 w 19145"/>
                <a:gd name="connsiteY5" fmla="*/ 5731 h 18047"/>
                <a:gd name="connsiteX6" fmla="*/ 15486 w 19145"/>
                <a:gd name="connsiteY6" fmla="*/ 0 h 1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45" h="18047">
                  <a:moveTo>
                    <a:pt x="15486" y="0"/>
                  </a:moveTo>
                  <a:lnTo>
                    <a:pt x="7561" y="1463"/>
                  </a:lnTo>
                  <a:lnTo>
                    <a:pt x="0" y="14999"/>
                  </a:lnTo>
                  <a:lnTo>
                    <a:pt x="488" y="18047"/>
                  </a:lnTo>
                  <a:lnTo>
                    <a:pt x="19145" y="16462"/>
                  </a:lnTo>
                  <a:lnTo>
                    <a:pt x="18414" y="5731"/>
                  </a:lnTo>
                  <a:lnTo>
                    <a:pt x="15486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5" name="Freihandform: Form 744">
              <a:extLst>
                <a:ext uri="{FF2B5EF4-FFF2-40B4-BE49-F238E27FC236}">
                  <a16:creationId xmlns:a16="http://schemas.microsoft.com/office/drawing/2014/main" id="{65CE3158-1E34-4133-9F59-BB75FB1977C5}"/>
                </a:ext>
              </a:extLst>
            </p:cNvPr>
            <p:cNvSpPr/>
            <p:nvPr/>
          </p:nvSpPr>
          <p:spPr>
            <a:xfrm>
              <a:off x="7043878" y="3439268"/>
              <a:ext cx="194984" cy="166694"/>
            </a:xfrm>
            <a:custGeom>
              <a:avLst/>
              <a:gdLst>
                <a:gd name="connsiteX0" fmla="*/ 186936 w 194984"/>
                <a:gd name="connsiteY0" fmla="*/ 122551 h 166694"/>
                <a:gd name="connsiteX1" fmla="*/ 185717 w 194984"/>
                <a:gd name="connsiteY1" fmla="*/ 113528 h 166694"/>
                <a:gd name="connsiteX2" fmla="*/ 185717 w 194984"/>
                <a:gd name="connsiteY2" fmla="*/ 113528 h 166694"/>
                <a:gd name="connsiteX3" fmla="*/ 190595 w 194984"/>
                <a:gd name="connsiteY3" fmla="*/ 107308 h 166694"/>
                <a:gd name="connsiteX4" fmla="*/ 192424 w 194984"/>
                <a:gd name="connsiteY4" fmla="*/ 104992 h 166694"/>
                <a:gd name="connsiteX5" fmla="*/ 189619 w 194984"/>
                <a:gd name="connsiteY5" fmla="*/ 50362 h 166694"/>
                <a:gd name="connsiteX6" fmla="*/ 189010 w 194984"/>
                <a:gd name="connsiteY6" fmla="*/ 39753 h 166694"/>
                <a:gd name="connsiteX7" fmla="*/ 174011 w 194984"/>
                <a:gd name="connsiteY7" fmla="*/ 38777 h 166694"/>
                <a:gd name="connsiteX8" fmla="*/ 154134 w 194984"/>
                <a:gd name="connsiteY8" fmla="*/ 24510 h 166694"/>
                <a:gd name="connsiteX9" fmla="*/ 121088 w 194984"/>
                <a:gd name="connsiteY9" fmla="*/ 19998 h 166694"/>
                <a:gd name="connsiteX10" fmla="*/ 111455 w 194984"/>
                <a:gd name="connsiteY10" fmla="*/ 24022 h 166694"/>
                <a:gd name="connsiteX11" fmla="*/ 110601 w 194984"/>
                <a:gd name="connsiteY11" fmla="*/ 30241 h 166694"/>
                <a:gd name="connsiteX12" fmla="*/ 79262 w 194984"/>
                <a:gd name="connsiteY12" fmla="*/ 58410 h 166694"/>
                <a:gd name="connsiteX13" fmla="*/ 67922 w 194984"/>
                <a:gd name="connsiteY13" fmla="*/ 49264 h 166694"/>
                <a:gd name="connsiteX14" fmla="*/ 65117 w 194984"/>
                <a:gd name="connsiteY14" fmla="*/ 38899 h 166694"/>
                <a:gd name="connsiteX15" fmla="*/ 55362 w 194984"/>
                <a:gd name="connsiteY15" fmla="*/ 32071 h 166694"/>
                <a:gd name="connsiteX16" fmla="*/ 55362 w 194984"/>
                <a:gd name="connsiteY16" fmla="*/ 15365 h 166694"/>
                <a:gd name="connsiteX17" fmla="*/ 51459 w 194984"/>
                <a:gd name="connsiteY17" fmla="*/ 6707 h 166694"/>
                <a:gd name="connsiteX18" fmla="*/ 36095 w 194984"/>
                <a:gd name="connsiteY18" fmla="*/ 6707 h 166694"/>
                <a:gd name="connsiteX19" fmla="*/ 24754 w 194984"/>
                <a:gd name="connsiteY19" fmla="*/ 0 h 166694"/>
                <a:gd name="connsiteX20" fmla="*/ 18413 w 194984"/>
                <a:gd name="connsiteY20" fmla="*/ 0 h 166694"/>
                <a:gd name="connsiteX21" fmla="*/ 9877 w 194984"/>
                <a:gd name="connsiteY21" fmla="*/ 5731 h 166694"/>
                <a:gd name="connsiteX22" fmla="*/ 4024 w 194984"/>
                <a:gd name="connsiteY22" fmla="*/ 5731 h 166694"/>
                <a:gd name="connsiteX23" fmla="*/ 0 w 194984"/>
                <a:gd name="connsiteY23" fmla="*/ 14389 h 166694"/>
                <a:gd name="connsiteX24" fmla="*/ 10487 w 194984"/>
                <a:gd name="connsiteY24" fmla="*/ 16828 h 166694"/>
                <a:gd name="connsiteX25" fmla="*/ 19145 w 194984"/>
                <a:gd name="connsiteY25" fmla="*/ 29266 h 166694"/>
                <a:gd name="connsiteX26" fmla="*/ 24876 w 194984"/>
                <a:gd name="connsiteY26" fmla="*/ 31705 h 166694"/>
                <a:gd name="connsiteX27" fmla="*/ 43899 w 194984"/>
                <a:gd name="connsiteY27" fmla="*/ 31705 h 166694"/>
                <a:gd name="connsiteX28" fmla="*/ 50972 w 194984"/>
                <a:gd name="connsiteY28" fmla="*/ 35973 h 166694"/>
                <a:gd name="connsiteX29" fmla="*/ 44387 w 194984"/>
                <a:gd name="connsiteY29" fmla="*/ 46460 h 166694"/>
                <a:gd name="connsiteX30" fmla="*/ 16828 w 194984"/>
                <a:gd name="connsiteY30" fmla="*/ 43777 h 166694"/>
                <a:gd name="connsiteX31" fmla="*/ 16828 w 194984"/>
                <a:gd name="connsiteY31" fmla="*/ 44021 h 166694"/>
                <a:gd name="connsiteX32" fmla="*/ 25364 w 194984"/>
                <a:gd name="connsiteY32" fmla="*/ 51581 h 166694"/>
                <a:gd name="connsiteX33" fmla="*/ 29876 w 194984"/>
                <a:gd name="connsiteY33" fmla="*/ 66336 h 166694"/>
                <a:gd name="connsiteX34" fmla="*/ 38656 w 194984"/>
                <a:gd name="connsiteY34" fmla="*/ 70726 h 166694"/>
                <a:gd name="connsiteX35" fmla="*/ 41826 w 194984"/>
                <a:gd name="connsiteY35" fmla="*/ 64141 h 166694"/>
                <a:gd name="connsiteX36" fmla="*/ 51094 w 194984"/>
                <a:gd name="connsiteY36" fmla="*/ 61824 h 166694"/>
                <a:gd name="connsiteX37" fmla="*/ 69751 w 194984"/>
                <a:gd name="connsiteY37" fmla="*/ 70726 h 166694"/>
                <a:gd name="connsiteX38" fmla="*/ 88286 w 194984"/>
                <a:gd name="connsiteY38" fmla="*/ 78164 h 166694"/>
                <a:gd name="connsiteX39" fmla="*/ 104504 w 194984"/>
                <a:gd name="connsiteY39" fmla="*/ 80969 h 166694"/>
                <a:gd name="connsiteX40" fmla="*/ 119991 w 194984"/>
                <a:gd name="connsiteY40" fmla="*/ 85847 h 166694"/>
                <a:gd name="connsiteX41" fmla="*/ 140721 w 194984"/>
                <a:gd name="connsiteY41" fmla="*/ 102675 h 166694"/>
                <a:gd name="connsiteX42" fmla="*/ 143647 w 194984"/>
                <a:gd name="connsiteY42" fmla="*/ 119747 h 166694"/>
                <a:gd name="connsiteX43" fmla="*/ 150964 w 194984"/>
                <a:gd name="connsiteY43" fmla="*/ 126209 h 166694"/>
                <a:gd name="connsiteX44" fmla="*/ 155110 w 194984"/>
                <a:gd name="connsiteY44" fmla="*/ 136575 h 166694"/>
                <a:gd name="connsiteX45" fmla="*/ 156695 w 194984"/>
                <a:gd name="connsiteY45" fmla="*/ 149744 h 166694"/>
                <a:gd name="connsiteX46" fmla="*/ 173645 w 194984"/>
                <a:gd name="connsiteY46" fmla="*/ 148891 h 166694"/>
                <a:gd name="connsiteX47" fmla="*/ 184619 w 194984"/>
                <a:gd name="connsiteY47" fmla="*/ 159743 h 166694"/>
                <a:gd name="connsiteX48" fmla="*/ 194985 w 194984"/>
                <a:gd name="connsiteY48" fmla="*/ 166694 h 166694"/>
                <a:gd name="connsiteX49" fmla="*/ 192546 w 194984"/>
                <a:gd name="connsiteY49" fmla="*/ 130965 h 166694"/>
                <a:gd name="connsiteX50" fmla="*/ 186936 w 194984"/>
                <a:gd name="connsiteY50" fmla="*/ 122551 h 16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94984" h="166694">
                  <a:moveTo>
                    <a:pt x="186936" y="122551"/>
                  </a:moveTo>
                  <a:lnTo>
                    <a:pt x="185717" y="113528"/>
                  </a:lnTo>
                  <a:lnTo>
                    <a:pt x="185717" y="113528"/>
                  </a:lnTo>
                  <a:lnTo>
                    <a:pt x="190595" y="107308"/>
                  </a:lnTo>
                  <a:lnTo>
                    <a:pt x="192424" y="104992"/>
                  </a:lnTo>
                  <a:lnTo>
                    <a:pt x="189619" y="50362"/>
                  </a:lnTo>
                  <a:lnTo>
                    <a:pt x="189010" y="39753"/>
                  </a:lnTo>
                  <a:lnTo>
                    <a:pt x="174011" y="38777"/>
                  </a:lnTo>
                  <a:lnTo>
                    <a:pt x="154134" y="24510"/>
                  </a:lnTo>
                  <a:lnTo>
                    <a:pt x="121088" y="19998"/>
                  </a:lnTo>
                  <a:lnTo>
                    <a:pt x="111455" y="24022"/>
                  </a:lnTo>
                  <a:lnTo>
                    <a:pt x="110601" y="30241"/>
                  </a:lnTo>
                  <a:lnTo>
                    <a:pt x="79262" y="58410"/>
                  </a:lnTo>
                  <a:lnTo>
                    <a:pt x="67922" y="49264"/>
                  </a:lnTo>
                  <a:lnTo>
                    <a:pt x="65117" y="38899"/>
                  </a:lnTo>
                  <a:lnTo>
                    <a:pt x="55362" y="32071"/>
                  </a:lnTo>
                  <a:lnTo>
                    <a:pt x="55362" y="15365"/>
                  </a:lnTo>
                  <a:lnTo>
                    <a:pt x="51459" y="6707"/>
                  </a:lnTo>
                  <a:lnTo>
                    <a:pt x="36095" y="6707"/>
                  </a:lnTo>
                  <a:lnTo>
                    <a:pt x="24754" y="0"/>
                  </a:lnTo>
                  <a:lnTo>
                    <a:pt x="18413" y="0"/>
                  </a:lnTo>
                  <a:lnTo>
                    <a:pt x="9877" y="5731"/>
                  </a:lnTo>
                  <a:lnTo>
                    <a:pt x="4024" y="5731"/>
                  </a:lnTo>
                  <a:lnTo>
                    <a:pt x="0" y="14389"/>
                  </a:lnTo>
                  <a:lnTo>
                    <a:pt x="10487" y="16828"/>
                  </a:lnTo>
                  <a:lnTo>
                    <a:pt x="19145" y="29266"/>
                  </a:lnTo>
                  <a:lnTo>
                    <a:pt x="24876" y="31705"/>
                  </a:lnTo>
                  <a:lnTo>
                    <a:pt x="43899" y="31705"/>
                  </a:lnTo>
                  <a:lnTo>
                    <a:pt x="50972" y="35973"/>
                  </a:lnTo>
                  <a:lnTo>
                    <a:pt x="44387" y="46460"/>
                  </a:lnTo>
                  <a:lnTo>
                    <a:pt x="16828" y="43777"/>
                  </a:lnTo>
                  <a:lnTo>
                    <a:pt x="16828" y="44021"/>
                  </a:lnTo>
                  <a:lnTo>
                    <a:pt x="25364" y="51581"/>
                  </a:lnTo>
                  <a:lnTo>
                    <a:pt x="29876" y="66336"/>
                  </a:lnTo>
                  <a:lnTo>
                    <a:pt x="38656" y="70726"/>
                  </a:lnTo>
                  <a:lnTo>
                    <a:pt x="41826" y="64141"/>
                  </a:lnTo>
                  <a:lnTo>
                    <a:pt x="51094" y="61824"/>
                  </a:lnTo>
                  <a:lnTo>
                    <a:pt x="69751" y="70726"/>
                  </a:lnTo>
                  <a:lnTo>
                    <a:pt x="88286" y="78164"/>
                  </a:lnTo>
                  <a:lnTo>
                    <a:pt x="104504" y="80969"/>
                  </a:lnTo>
                  <a:lnTo>
                    <a:pt x="119991" y="85847"/>
                  </a:lnTo>
                  <a:lnTo>
                    <a:pt x="140721" y="102675"/>
                  </a:lnTo>
                  <a:lnTo>
                    <a:pt x="143647" y="119747"/>
                  </a:lnTo>
                  <a:lnTo>
                    <a:pt x="150964" y="126209"/>
                  </a:lnTo>
                  <a:lnTo>
                    <a:pt x="155110" y="136575"/>
                  </a:lnTo>
                  <a:lnTo>
                    <a:pt x="156695" y="149744"/>
                  </a:lnTo>
                  <a:lnTo>
                    <a:pt x="173645" y="148891"/>
                  </a:lnTo>
                  <a:lnTo>
                    <a:pt x="184619" y="159743"/>
                  </a:lnTo>
                  <a:lnTo>
                    <a:pt x="194985" y="166694"/>
                  </a:lnTo>
                  <a:lnTo>
                    <a:pt x="192546" y="130965"/>
                  </a:lnTo>
                  <a:lnTo>
                    <a:pt x="186936" y="1225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6" name="Freihandform: Form 745">
              <a:extLst>
                <a:ext uri="{FF2B5EF4-FFF2-40B4-BE49-F238E27FC236}">
                  <a16:creationId xmlns:a16="http://schemas.microsoft.com/office/drawing/2014/main" id="{7C0258E2-711D-4FB8-A19A-153261833DFD}"/>
                </a:ext>
              </a:extLst>
            </p:cNvPr>
            <p:cNvSpPr/>
            <p:nvPr/>
          </p:nvSpPr>
          <p:spPr>
            <a:xfrm>
              <a:off x="7333733" y="2444224"/>
              <a:ext cx="11097" cy="8901"/>
            </a:xfrm>
            <a:custGeom>
              <a:avLst/>
              <a:gdLst>
                <a:gd name="connsiteX0" fmla="*/ 0 w 11097"/>
                <a:gd name="connsiteY0" fmla="*/ 8902 h 8901"/>
                <a:gd name="connsiteX1" fmla="*/ 5365 w 11097"/>
                <a:gd name="connsiteY1" fmla="*/ 3171 h 8901"/>
                <a:gd name="connsiteX2" fmla="*/ 9512 w 11097"/>
                <a:gd name="connsiteY2" fmla="*/ 3902 h 8901"/>
                <a:gd name="connsiteX3" fmla="*/ 11097 w 11097"/>
                <a:gd name="connsiteY3" fmla="*/ 3292 h 8901"/>
                <a:gd name="connsiteX4" fmla="*/ 11097 w 11097"/>
                <a:gd name="connsiteY4" fmla="*/ 0 h 8901"/>
                <a:gd name="connsiteX5" fmla="*/ 6585 w 11097"/>
                <a:gd name="connsiteY5" fmla="*/ 366 h 8901"/>
                <a:gd name="connsiteX6" fmla="*/ 0 w 11097"/>
                <a:gd name="connsiteY6" fmla="*/ 8902 h 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97" h="8901">
                  <a:moveTo>
                    <a:pt x="0" y="8902"/>
                  </a:moveTo>
                  <a:lnTo>
                    <a:pt x="5365" y="3171"/>
                  </a:lnTo>
                  <a:lnTo>
                    <a:pt x="9512" y="3902"/>
                  </a:lnTo>
                  <a:lnTo>
                    <a:pt x="11097" y="3292"/>
                  </a:lnTo>
                  <a:lnTo>
                    <a:pt x="11097" y="0"/>
                  </a:lnTo>
                  <a:lnTo>
                    <a:pt x="6585" y="366"/>
                  </a:lnTo>
                  <a:lnTo>
                    <a:pt x="0" y="8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7" name="Freihandform: Form 746">
              <a:extLst>
                <a:ext uri="{FF2B5EF4-FFF2-40B4-BE49-F238E27FC236}">
                  <a16:creationId xmlns:a16="http://schemas.microsoft.com/office/drawing/2014/main" id="{09BBEAF2-A812-44FE-A060-2B85B40DCD41}"/>
                </a:ext>
              </a:extLst>
            </p:cNvPr>
            <p:cNvSpPr/>
            <p:nvPr/>
          </p:nvSpPr>
          <p:spPr>
            <a:xfrm>
              <a:off x="7209109" y="2421543"/>
              <a:ext cx="117795" cy="97919"/>
            </a:xfrm>
            <a:custGeom>
              <a:avLst/>
              <a:gdLst>
                <a:gd name="connsiteX0" fmla="*/ 109503 w 117795"/>
                <a:gd name="connsiteY0" fmla="*/ 45728 h 97919"/>
                <a:gd name="connsiteX1" fmla="*/ 109503 w 117795"/>
                <a:gd name="connsiteY1" fmla="*/ 32802 h 97919"/>
                <a:gd name="connsiteX2" fmla="*/ 104138 w 117795"/>
                <a:gd name="connsiteY2" fmla="*/ 37558 h 97919"/>
                <a:gd name="connsiteX3" fmla="*/ 93407 w 117795"/>
                <a:gd name="connsiteY3" fmla="*/ 40728 h 97919"/>
                <a:gd name="connsiteX4" fmla="*/ 83896 w 117795"/>
                <a:gd name="connsiteY4" fmla="*/ 35485 h 97919"/>
                <a:gd name="connsiteX5" fmla="*/ 75725 w 117795"/>
                <a:gd name="connsiteY5" fmla="*/ 29144 h 97919"/>
                <a:gd name="connsiteX6" fmla="*/ 68165 w 117795"/>
                <a:gd name="connsiteY6" fmla="*/ 27193 h 97919"/>
                <a:gd name="connsiteX7" fmla="*/ 59751 w 117795"/>
                <a:gd name="connsiteY7" fmla="*/ 20974 h 97919"/>
                <a:gd name="connsiteX8" fmla="*/ 54020 w 117795"/>
                <a:gd name="connsiteY8" fmla="*/ 5487 h 97919"/>
                <a:gd name="connsiteX9" fmla="*/ 49996 w 117795"/>
                <a:gd name="connsiteY9" fmla="*/ 0 h 97919"/>
                <a:gd name="connsiteX10" fmla="*/ 40485 w 117795"/>
                <a:gd name="connsiteY10" fmla="*/ 0 h 97919"/>
                <a:gd name="connsiteX11" fmla="*/ 39387 w 117795"/>
                <a:gd name="connsiteY11" fmla="*/ 5365 h 97919"/>
                <a:gd name="connsiteX12" fmla="*/ 43899 w 117795"/>
                <a:gd name="connsiteY12" fmla="*/ 8048 h 97919"/>
                <a:gd name="connsiteX13" fmla="*/ 42802 w 117795"/>
                <a:gd name="connsiteY13" fmla="*/ 35119 h 97919"/>
                <a:gd name="connsiteX14" fmla="*/ 37070 w 117795"/>
                <a:gd name="connsiteY14" fmla="*/ 49386 h 97919"/>
                <a:gd name="connsiteX15" fmla="*/ 36094 w 117795"/>
                <a:gd name="connsiteY15" fmla="*/ 56947 h 97919"/>
                <a:gd name="connsiteX16" fmla="*/ 27315 w 117795"/>
                <a:gd name="connsiteY16" fmla="*/ 60727 h 97919"/>
                <a:gd name="connsiteX17" fmla="*/ 20242 w 117795"/>
                <a:gd name="connsiteY17" fmla="*/ 56337 h 97919"/>
                <a:gd name="connsiteX18" fmla="*/ 16340 w 117795"/>
                <a:gd name="connsiteY18" fmla="*/ 60117 h 97919"/>
                <a:gd name="connsiteX19" fmla="*/ 16340 w 117795"/>
                <a:gd name="connsiteY19" fmla="*/ 68897 h 97919"/>
                <a:gd name="connsiteX20" fmla="*/ 4390 w 117795"/>
                <a:gd name="connsiteY20" fmla="*/ 77799 h 97919"/>
                <a:gd name="connsiteX21" fmla="*/ 0 w 117795"/>
                <a:gd name="connsiteY21" fmla="*/ 83530 h 97919"/>
                <a:gd name="connsiteX22" fmla="*/ 5609 w 117795"/>
                <a:gd name="connsiteY22" fmla="*/ 84993 h 97919"/>
                <a:gd name="connsiteX23" fmla="*/ 9024 w 117795"/>
                <a:gd name="connsiteY23" fmla="*/ 97919 h 97919"/>
                <a:gd name="connsiteX24" fmla="*/ 17803 w 117795"/>
                <a:gd name="connsiteY24" fmla="*/ 93895 h 97919"/>
                <a:gd name="connsiteX25" fmla="*/ 17803 w 117795"/>
                <a:gd name="connsiteY25" fmla="*/ 89505 h 97919"/>
                <a:gd name="connsiteX26" fmla="*/ 7073 w 117795"/>
                <a:gd name="connsiteY26" fmla="*/ 79872 h 97919"/>
                <a:gd name="connsiteX27" fmla="*/ 15487 w 117795"/>
                <a:gd name="connsiteY27" fmla="*/ 74141 h 97919"/>
                <a:gd name="connsiteX28" fmla="*/ 24144 w 117795"/>
                <a:gd name="connsiteY28" fmla="*/ 74262 h 97919"/>
                <a:gd name="connsiteX29" fmla="*/ 36460 w 117795"/>
                <a:gd name="connsiteY29" fmla="*/ 76823 h 97919"/>
                <a:gd name="connsiteX30" fmla="*/ 43533 w 117795"/>
                <a:gd name="connsiteY30" fmla="*/ 71945 h 97919"/>
                <a:gd name="connsiteX31" fmla="*/ 49021 w 117795"/>
                <a:gd name="connsiteY31" fmla="*/ 75238 h 97919"/>
                <a:gd name="connsiteX32" fmla="*/ 61702 w 117795"/>
                <a:gd name="connsiteY32" fmla="*/ 77189 h 97919"/>
                <a:gd name="connsiteX33" fmla="*/ 69872 w 117795"/>
                <a:gd name="connsiteY33" fmla="*/ 86213 h 97919"/>
                <a:gd name="connsiteX34" fmla="*/ 74506 w 117795"/>
                <a:gd name="connsiteY34" fmla="*/ 84993 h 97919"/>
                <a:gd name="connsiteX35" fmla="*/ 74506 w 117795"/>
                <a:gd name="connsiteY35" fmla="*/ 78408 h 97919"/>
                <a:gd name="connsiteX36" fmla="*/ 86944 w 117795"/>
                <a:gd name="connsiteY36" fmla="*/ 64019 h 97919"/>
                <a:gd name="connsiteX37" fmla="*/ 98285 w 117795"/>
                <a:gd name="connsiteY37" fmla="*/ 61946 h 97919"/>
                <a:gd name="connsiteX38" fmla="*/ 110601 w 117795"/>
                <a:gd name="connsiteY38" fmla="*/ 60971 h 97919"/>
                <a:gd name="connsiteX39" fmla="*/ 117795 w 117795"/>
                <a:gd name="connsiteY39" fmla="*/ 53045 h 97919"/>
                <a:gd name="connsiteX40" fmla="*/ 116576 w 117795"/>
                <a:gd name="connsiteY40" fmla="*/ 47801 h 97919"/>
                <a:gd name="connsiteX41" fmla="*/ 109503 w 117795"/>
                <a:gd name="connsiteY41" fmla="*/ 45728 h 9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795" h="97919">
                  <a:moveTo>
                    <a:pt x="109503" y="45728"/>
                  </a:moveTo>
                  <a:lnTo>
                    <a:pt x="109503" y="32802"/>
                  </a:lnTo>
                  <a:lnTo>
                    <a:pt x="104138" y="37558"/>
                  </a:lnTo>
                  <a:lnTo>
                    <a:pt x="93407" y="40728"/>
                  </a:lnTo>
                  <a:lnTo>
                    <a:pt x="83896" y="35485"/>
                  </a:lnTo>
                  <a:lnTo>
                    <a:pt x="75725" y="29144"/>
                  </a:lnTo>
                  <a:lnTo>
                    <a:pt x="68165" y="27193"/>
                  </a:lnTo>
                  <a:lnTo>
                    <a:pt x="59751" y="20974"/>
                  </a:lnTo>
                  <a:lnTo>
                    <a:pt x="54020" y="5487"/>
                  </a:lnTo>
                  <a:lnTo>
                    <a:pt x="49996" y="0"/>
                  </a:lnTo>
                  <a:lnTo>
                    <a:pt x="40485" y="0"/>
                  </a:lnTo>
                  <a:lnTo>
                    <a:pt x="39387" y="5365"/>
                  </a:lnTo>
                  <a:lnTo>
                    <a:pt x="43899" y="8048"/>
                  </a:lnTo>
                  <a:lnTo>
                    <a:pt x="42802" y="35119"/>
                  </a:lnTo>
                  <a:lnTo>
                    <a:pt x="37070" y="49386"/>
                  </a:lnTo>
                  <a:lnTo>
                    <a:pt x="36094" y="56947"/>
                  </a:lnTo>
                  <a:lnTo>
                    <a:pt x="27315" y="60727"/>
                  </a:lnTo>
                  <a:lnTo>
                    <a:pt x="20242" y="56337"/>
                  </a:lnTo>
                  <a:lnTo>
                    <a:pt x="16340" y="60117"/>
                  </a:lnTo>
                  <a:lnTo>
                    <a:pt x="16340" y="68897"/>
                  </a:lnTo>
                  <a:lnTo>
                    <a:pt x="4390" y="77799"/>
                  </a:lnTo>
                  <a:lnTo>
                    <a:pt x="0" y="83530"/>
                  </a:lnTo>
                  <a:lnTo>
                    <a:pt x="5609" y="84993"/>
                  </a:lnTo>
                  <a:lnTo>
                    <a:pt x="9024" y="97919"/>
                  </a:lnTo>
                  <a:lnTo>
                    <a:pt x="17803" y="93895"/>
                  </a:lnTo>
                  <a:lnTo>
                    <a:pt x="17803" y="89505"/>
                  </a:lnTo>
                  <a:lnTo>
                    <a:pt x="7073" y="79872"/>
                  </a:lnTo>
                  <a:lnTo>
                    <a:pt x="15487" y="74141"/>
                  </a:lnTo>
                  <a:lnTo>
                    <a:pt x="24144" y="74262"/>
                  </a:lnTo>
                  <a:lnTo>
                    <a:pt x="36460" y="76823"/>
                  </a:lnTo>
                  <a:lnTo>
                    <a:pt x="43533" y="71945"/>
                  </a:lnTo>
                  <a:lnTo>
                    <a:pt x="49021" y="75238"/>
                  </a:lnTo>
                  <a:lnTo>
                    <a:pt x="61702" y="77189"/>
                  </a:lnTo>
                  <a:lnTo>
                    <a:pt x="69872" y="86213"/>
                  </a:lnTo>
                  <a:lnTo>
                    <a:pt x="74506" y="84993"/>
                  </a:lnTo>
                  <a:lnTo>
                    <a:pt x="74506" y="78408"/>
                  </a:lnTo>
                  <a:lnTo>
                    <a:pt x="86944" y="64019"/>
                  </a:lnTo>
                  <a:lnTo>
                    <a:pt x="98285" y="61946"/>
                  </a:lnTo>
                  <a:lnTo>
                    <a:pt x="110601" y="60971"/>
                  </a:lnTo>
                  <a:lnTo>
                    <a:pt x="117795" y="53045"/>
                  </a:lnTo>
                  <a:lnTo>
                    <a:pt x="116576" y="47801"/>
                  </a:lnTo>
                  <a:lnTo>
                    <a:pt x="109503" y="4572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8" name="Freihandform: Form 747">
              <a:extLst>
                <a:ext uri="{FF2B5EF4-FFF2-40B4-BE49-F238E27FC236}">
                  <a16:creationId xmlns:a16="http://schemas.microsoft.com/office/drawing/2014/main" id="{A8E3AFC2-2D76-4A07-9B74-1E2A0FB6F5D4}"/>
                </a:ext>
              </a:extLst>
            </p:cNvPr>
            <p:cNvSpPr/>
            <p:nvPr/>
          </p:nvSpPr>
          <p:spPr>
            <a:xfrm>
              <a:off x="7100825" y="3552307"/>
              <a:ext cx="3292" cy="4511"/>
            </a:xfrm>
            <a:custGeom>
              <a:avLst/>
              <a:gdLst>
                <a:gd name="connsiteX0" fmla="*/ 0 w 3292"/>
                <a:gd name="connsiteY0" fmla="*/ 610 h 4511"/>
                <a:gd name="connsiteX1" fmla="*/ 488 w 3292"/>
                <a:gd name="connsiteY1" fmla="*/ 4512 h 4511"/>
                <a:gd name="connsiteX2" fmla="*/ 3292 w 3292"/>
                <a:gd name="connsiteY2" fmla="*/ 3049 h 4511"/>
                <a:gd name="connsiteX3" fmla="*/ 1463 w 3292"/>
                <a:gd name="connsiteY3" fmla="*/ 0 h 4511"/>
                <a:gd name="connsiteX4" fmla="*/ 0 w 3292"/>
                <a:gd name="connsiteY4" fmla="*/ 610 h 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2" h="4511">
                  <a:moveTo>
                    <a:pt x="0" y="610"/>
                  </a:moveTo>
                  <a:lnTo>
                    <a:pt x="488" y="4512"/>
                  </a:lnTo>
                  <a:lnTo>
                    <a:pt x="3292" y="3049"/>
                  </a:lnTo>
                  <a:lnTo>
                    <a:pt x="1463" y="0"/>
                  </a:lnTo>
                  <a:lnTo>
                    <a:pt x="0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49" name="Freihandform: Form 748">
              <a:extLst>
                <a:ext uri="{FF2B5EF4-FFF2-40B4-BE49-F238E27FC236}">
                  <a16:creationId xmlns:a16="http://schemas.microsoft.com/office/drawing/2014/main" id="{138FD903-0685-48E5-8A65-8316D1457E5D}"/>
                </a:ext>
              </a:extLst>
            </p:cNvPr>
            <p:cNvSpPr/>
            <p:nvPr/>
          </p:nvSpPr>
          <p:spPr>
            <a:xfrm>
              <a:off x="6889865" y="3595475"/>
              <a:ext cx="66336" cy="33290"/>
            </a:xfrm>
            <a:custGeom>
              <a:avLst/>
              <a:gdLst>
                <a:gd name="connsiteX0" fmla="*/ 31705 w 66336"/>
                <a:gd name="connsiteY0" fmla="*/ 5365 h 33290"/>
                <a:gd name="connsiteX1" fmla="*/ 15853 w 66336"/>
                <a:gd name="connsiteY1" fmla="*/ 16584 h 33290"/>
                <a:gd name="connsiteX2" fmla="*/ 8536 w 66336"/>
                <a:gd name="connsiteY2" fmla="*/ 20242 h 33290"/>
                <a:gd name="connsiteX3" fmla="*/ 0 w 66336"/>
                <a:gd name="connsiteY3" fmla="*/ 28656 h 33290"/>
                <a:gd name="connsiteX4" fmla="*/ 610 w 66336"/>
                <a:gd name="connsiteY4" fmla="*/ 32558 h 33290"/>
                <a:gd name="connsiteX5" fmla="*/ 8780 w 66336"/>
                <a:gd name="connsiteY5" fmla="*/ 33290 h 33290"/>
                <a:gd name="connsiteX6" fmla="*/ 24754 w 66336"/>
                <a:gd name="connsiteY6" fmla="*/ 26217 h 33290"/>
                <a:gd name="connsiteX7" fmla="*/ 32559 w 66336"/>
                <a:gd name="connsiteY7" fmla="*/ 15609 h 33290"/>
                <a:gd name="connsiteX8" fmla="*/ 45606 w 66336"/>
                <a:gd name="connsiteY8" fmla="*/ 12560 h 33290"/>
                <a:gd name="connsiteX9" fmla="*/ 62800 w 66336"/>
                <a:gd name="connsiteY9" fmla="*/ 7195 h 33290"/>
                <a:gd name="connsiteX10" fmla="*/ 66336 w 66336"/>
                <a:gd name="connsiteY10" fmla="*/ 2926 h 33290"/>
                <a:gd name="connsiteX11" fmla="*/ 65361 w 66336"/>
                <a:gd name="connsiteY11" fmla="*/ 0 h 33290"/>
                <a:gd name="connsiteX12" fmla="*/ 31705 w 66336"/>
                <a:gd name="connsiteY12" fmla="*/ 5365 h 33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336" h="33290">
                  <a:moveTo>
                    <a:pt x="31705" y="5365"/>
                  </a:moveTo>
                  <a:lnTo>
                    <a:pt x="15853" y="16584"/>
                  </a:lnTo>
                  <a:lnTo>
                    <a:pt x="8536" y="20242"/>
                  </a:lnTo>
                  <a:lnTo>
                    <a:pt x="0" y="28656"/>
                  </a:lnTo>
                  <a:lnTo>
                    <a:pt x="610" y="32558"/>
                  </a:lnTo>
                  <a:lnTo>
                    <a:pt x="8780" y="33290"/>
                  </a:lnTo>
                  <a:lnTo>
                    <a:pt x="24754" y="26217"/>
                  </a:lnTo>
                  <a:lnTo>
                    <a:pt x="32559" y="15609"/>
                  </a:lnTo>
                  <a:lnTo>
                    <a:pt x="45606" y="12560"/>
                  </a:lnTo>
                  <a:lnTo>
                    <a:pt x="62800" y="7195"/>
                  </a:lnTo>
                  <a:lnTo>
                    <a:pt x="66336" y="2926"/>
                  </a:lnTo>
                  <a:lnTo>
                    <a:pt x="65361" y="0"/>
                  </a:lnTo>
                  <a:lnTo>
                    <a:pt x="31705" y="53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0" name="Freihandform: Form 749">
              <a:extLst>
                <a:ext uri="{FF2B5EF4-FFF2-40B4-BE49-F238E27FC236}">
                  <a16:creationId xmlns:a16="http://schemas.microsoft.com/office/drawing/2014/main" id="{6FA8E765-4DA2-4BD6-943B-1370B5E4D429}"/>
                </a:ext>
              </a:extLst>
            </p:cNvPr>
            <p:cNvSpPr/>
            <p:nvPr/>
          </p:nvSpPr>
          <p:spPr>
            <a:xfrm>
              <a:off x="6979737" y="3483776"/>
              <a:ext cx="56214" cy="18047"/>
            </a:xfrm>
            <a:custGeom>
              <a:avLst/>
              <a:gdLst>
                <a:gd name="connsiteX0" fmla="*/ 42435 w 56214"/>
                <a:gd name="connsiteY0" fmla="*/ 5609 h 18047"/>
                <a:gd name="connsiteX1" fmla="*/ 34021 w 56214"/>
                <a:gd name="connsiteY1" fmla="*/ 0 h 18047"/>
                <a:gd name="connsiteX2" fmla="*/ 13413 w 56214"/>
                <a:gd name="connsiteY2" fmla="*/ 853 h 18047"/>
                <a:gd name="connsiteX3" fmla="*/ 0 w 56214"/>
                <a:gd name="connsiteY3" fmla="*/ 6341 h 18047"/>
                <a:gd name="connsiteX4" fmla="*/ 2195 w 56214"/>
                <a:gd name="connsiteY4" fmla="*/ 10121 h 18047"/>
                <a:gd name="connsiteX5" fmla="*/ 8414 w 56214"/>
                <a:gd name="connsiteY5" fmla="*/ 6219 h 18047"/>
                <a:gd name="connsiteX6" fmla="*/ 22437 w 56214"/>
                <a:gd name="connsiteY6" fmla="*/ 5122 h 18047"/>
                <a:gd name="connsiteX7" fmla="*/ 38289 w 56214"/>
                <a:gd name="connsiteY7" fmla="*/ 7195 h 18047"/>
                <a:gd name="connsiteX8" fmla="*/ 54630 w 56214"/>
                <a:gd name="connsiteY8" fmla="*/ 18047 h 18047"/>
                <a:gd name="connsiteX9" fmla="*/ 56215 w 56214"/>
                <a:gd name="connsiteY9" fmla="*/ 17316 h 18047"/>
                <a:gd name="connsiteX10" fmla="*/ 56215 w 56214"/>
                <a:gd name="connsiteY10" fmla="*/ 10121 h 18047"/>
                <a:gd name="connsiteX11" fmla="*/ 51703 w 56214"/>
                <a:gd name="connsiteY11" fmla="*/ 6463 h 18047"/>
                <a:gd name="connsiteX12" fmla="*/ 42435 w 56214"/>
                <a:gd name="connsiteY12" fmla="*/ 5609 h 1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214" h="18047">
                  <a:moveTo>
                    <a:pt x="42435" y="5609"/>
                  </a:moveTo>
                  <a:lnTo>
                    <a:pt x="34021" y="0"/>
                  </a:lnTo>
                  <a:lnTo>
                    <a:pt x="13413" y="853"/>
                  </a:lnTo>
                  <a:lnTo>
                    <a:pt x="0" y="6341"/>
                  </a:lnTo>
                  <a:lnTo>
                    <a:pt x="2195" y="10121"/>
                  </a:lnTo>
                  <a:lnTo>
                    <a:pt x="8414" y="6219"/>
                  </a:lnTo>
                  <a:lnTo>
                    <a:pt x="22437" y="5122"/>
                  </a:lnTo>
                  <a:lnTo>
                    <a:pt x="38289" y="7195"/>
                  </a:lnTo>
                  <a:lnTo>
                    <a:pt x="54630" y="18047"/>
                  </a:lnTo>
                  <a:lnTo>
                    <a:pt x="56215" y="17316"/>
                  </a:lnTo>
                  <a:lnTo>
                    <a:pt x="56215" y="10121"/>
                  </a:lnTo>
                  <a:lnTo>
                    <a:pt x="51703" y="6463"/>
                  </a:lnTo>
                  <a:lnTo>
                    <a:pt x="42435" y="56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1" name="Freihandform: Form 750">
              <a:extLst>
                <a:ext uri="{FF2B5EF4-FFF2-40B4-BE49-F238E27FC236}">
                  <a16:creationId xmlns:a16="http://schemas.microsoft.com/office/drawing/2014/main" id="{8530CA6E-BD14-499A-8606-0E7B9C54AF48}"/>
                </a:ext>
              </a:extLst>
            </p:cNvPr>
            <p:cNvSpPr/>
            <p:nvPr/>
          </p:nvSpPr>
          <p:spPr>
            <a:xfrm>
              <a:off x="6867062" y="3589256"/>
              <a:ext cx="8536" cy="7194"/>
            </a:xfrm>
            <a:custGeom>
              <a:avLst/>
              <a:gdLst>
                <a:gd name="connsiteX0" fmla="*/ 0 w 8536"/>
                <a:gd name="connsiteY0" fmla="*/ 6707 h 7194"/>
                <a:gd name="connsiteX1" fmla="*/ 1219 w 8536"/>
                <a:gd name="connsiteY1" fmla="*/ 7195 h 7194"/>
                <a:gd name="connsiteX2" fmla="*/ 8536 w 8536"/>
                <a:gd name="connsiteY2" fmla="*/ 1219 h 7194"/>
                <a:gd name="connsiteX3" fmla="*/ 6707 w 8536"/>
                <a:gd name="connsiteY3" fmla="*/ 0 h 7194"/>
                <a:gd name="connsiteX4" fmla="*/ 0 w 8536"/>
                <a:gd name="connsiteY4" fmla="*/ 6707 h 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6" h="7194">
                  <a:moveTo>
                    <a:pt x="0" y="6707"/>
                  </a:moveTo>
                  <a:lnTo>
                    <a:pt x="1219" y="7195"/>
                  </a:lnTo>
                  <a:lnTo>
                    <a:pt x="8536" y="1219"/>
                  </a:lnTo>
                  <a:lnTo>
                    <a:pt x="6707" y="0"/>
                  </a:lnTo>
                  <a:lnTo>
                    <a:pt x="0" y="6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2" name="Freihandform: Form 751">
              <a:extLst>
                <a:ext uri="{FF2B5EF4-FFF2-40B4-BE49-F238E27FC236}">
                  <a16:creationId xmlns:a16="http://schemas.microsoft.com/office/drawing/2014/main" id="{E301981F-EF76-43F1-8759-022DD04D5F6F}"/>
                </a:ext>
              </a:extLst>
            </p:cNvPr>
            <p:cNvSpPr/>
            <p:nvPr/>
          </p:nvSpPr>
          <p:spPr>
            <a:xfrm>
              <a:off x="7068632" y="3538650"/>
              <a:ext cx="7926" cy="4633"/>
            </a:xfrm>
            <a:custGeom>
              <a:avLst/>
              <a:gdLst>
                <a:gd name="connsiteX0" fmla="*/ 1829 w 7926"/>
                <a:gd name="connsiteY0" fmla="*/ 0 h 4633"/>
                <a:gd name="connsiteX1" fmla="*/ 0 w 7926"/>
                <a:gd name="connsiteY1" fmla="*/ 732 h 4633"/>
                <a:gd name="connsiteX2" fmla="*/ 2439 w 7926"/>
                <a:gd name="connsiteY2" fmla="*/ 4634 h 4633"/>
                <a:gd name="connsiteX3" fmla="*/ 7927 w 7926"/>
                <a:gd name="connsiteY3" fmla="*/ 2439 h 4633"/>
                <a:gd name="connsiteX4" fmla="*/ 6829 w 7926"/>
                <a:gd name="connsiteY4" fmla="*/ 610 h 4633"/>
                <a:gd name="connsiteX5" fmla="*/ 1829 w 7926"/>
                <a:gd name="connsiteY5" fmla="*/ 0 h 4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6" h="4633">
                  <a:moveTo>
                    <a:pt x="1829" y="0"/>
                  </a:moveTo>
                  <a:lnTo>
                    <a:pt x="0" y="732"/>
                  </a:lnTo>
                  <a:lnTo>
                    <a:pt x="2439" y="4634"/>
                  </a:lnTo>
                  <a:lnTo>
                    <a:pt x="7927" y="2439"/>
                  </a:lnTo>
                  <a:lnTo>
                    <a:pt x="6829" y="610"/>
                  </a:lnTo>
                  <a:lnTo>
                    <a:pt x="182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3" name="Freihandform: Form 752">
              <a:extLst>
                <a:ext uri="{FF2B5EF4-FFF2-40B4-BE49-F238E27FC236}">
                  <a16:creationId xmlns:a16="http://schemas.microsoft.com/office/drawing/2014/main" id="{212EA09A-1050-4F42-BD78-C4A1E4487C16}"/>
                </a:ext>
              </a:extLst>
            </p:cNvPr>
            <p:cNvSpPr/>
            <p:nvPr/>
          </p:nvSpPr>
          <p:spPr>
            <a:xfrm>
              <a:off x="7011441" y="3582915"/>
              <a:ext cx="3658" cy="4024"/>
            </a:xfrm>
            <a:custGeom>
              <a:avLst/>
              <a:gdLst>
                <a:gd name="connsiteX0" fmla="*/ 122 w 3658"/>
                <a:gd name="connsiteY0" fmla="*/ 853 h 4024"/>
                <a:gd name="connsiteX1" fmla="*/ 2073 w 3658"/>
                <a:gd name="connsiteY1" fmla="*/ 4024 h 4024"/>
                <a:gd name="connsiteX2" fmla="*/ 3658 w 3658"/>
                <a:gd name="connsiteY2" fmla="*/ 3780 h 4024"/>
                <a:gd name="connsiteX3" fmla="*/ 3658 w 3658"/>
                <a:gd name="connsiteY3" fmla="*/ 0 h 4024"/>
                <a:gd name="connsiteX4" fmla="*/ 0 w 3658"/>
                <a:gd name="connsiteY4" fmla="*/ 0 h 4024"/>
                <a:gd name="connsiteX5" fmla="*/ 122 w 3658"/>
                <a:gd name="connsiteY5" fmla="*/ 853 h 4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8" h="4024">
                  <a:moveTo>
                    <a:pt x="122" y="853"/>
                  </a:moveTo>
                  <a:lnTo>
                    <a:pt x="2073" y="4024"/>
                  </a:lnTo>
                  <a:lnTo>
                    <a:pt x="3658" y="3780"/>
                  </a:lnTo>
                  <a:lnTo>
                    <a:pt x="3658" y="0"/>
                  </a:lnTo>
                  <a:lnTo>
                    <a:pt x="0" y="0"/>
                  </a:lnTo>
                  <a:lnTo>
                    <a:pt x="122" y="8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4" name="Freihandform: Form 753">
              <a:extLst>
                <a:ext uri="{FF2B5EF4-FFF2-40B4-BE49-F238E27FC236}">
                  <a16:creationId xmlns:a16="http://schemas.microsoft.com/office/drawing/2014/main" id="{506AD1D0-AA84-40DE-B430-C4EC4BFAAC6A}"/>
                </a:ext>
              </a:extLst>
            </p:cNvPr>
            <p:cNvSpPr/>
            <p:nvPr/>
          </p:nvSpPr>
          <p:spPr>
            <a:xfrm>
              <a:off x="7760285" y="2121078"/>
              <a:ext cx="14389" cy="12803"/>
            </a:xfrm>
            <a:custGeom>
              <a:avLst/>
              <a:gdLst>
                <a:gd name="connsiteX0" fmla="*/ 0 w 14389"/>
                <a:gd name="connsiteY0" fmla="*/ 1219 h 12803"/>
                <a:gd name="connsiteX1" fmla="*/ 1341 w 14389"/>
                <a:gd name="connsiteY1" fmla="*/ 5609 h 12803"/>
                <a:gd name="connsiteX2" fmla="*/ 9755 w 14389"/>
                <a:gd name="connsiteY2" fmla="*/ 12804 h 12803"/>
                <a:gd name="connsiteX3" fmla="*/ 14389 w 14389"/>
                <a:gd name="connsiteY3" fmla="*/ 10853 h 12803"/>
                <a:gd name="connsiteX4" fmla="*/ 4999 w 14389"/>
                <a:gd name="connsiteY4" fmla="*/ 0 h 12803"/>
                <a:gd name="connsiteX5" fmla="*/ 0 w 14389"/>
                <a:gd name="connsiteY5" fmla="*/ 1219 h 1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89" h="12803">
                  <a:moveTo>
                    <a:pt x="0" y="1219"/>
                  </a:moveTo>
                  <a:lnTo>
                    <a:pt x="1341" y="5609"/>
                  </a:lnTo>
                  <a:lnTo>
                    <a:pt x="9755" y="12804"/>
                  </a:lnTo>
                  <a:lnTo>
                    <a:pt x="14389" y="10853"/>
                  </a:lnTo>
                  <a:lnTo>
                    <a:pt x="4999" y="0"/>
                  </a:lnTo>
                  <a:lnTo>
                    <a:pt x="0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5" name="Freihandform: Form 754">
              <a:extLst>
                <a:ext uri="{FF2B5EF4-FFF2-40B4-BE49-F238E27FC236}">
                  <a16:creationId xmlns:a16="http://schemas.microsoft.com/office/drawing/2014/main" id="{B7EE874A-3065-451E-8F6C-9EE9ED71E299}"/>
                </a:ext>
              </a:extLst>
            </p:cNvPr>
            <p:cNvSpPr/>
            <p:nvPr/>
          </p:nvSpPr>
          <p:spPr>
            <a:xfrm>
              <a:off x="7727361" y="2106811"/>
              <a:ext cx="19876" cy="21339"/>
            </a:xfrm>
            <a:custGeom>
              <a:avLst/>
              <a:gdLst>
                <a:gd name="connsiteX0" fmla="*/ 8170 w 19876"/>
                <a:gd name="connsiteY0" fmla="*/ 3536 h 21339"/>
                <a:gd name="connsiteX1" fmla="*/ 2073 w 19876"/>
                <a:gd name="connsiteY1" fmla="*/ 0 h 21339"/>
                <a:gd name="connsiteX2" fmla="*/ 0 w 19876"/>
                <a:gd name="connsiteY2" fmla="*/ 4512 h 21339"/>
                <a:gd name="connsiteX3" fmla="*/ 10243 w 19876"/>
                <a:gd name="connsiteY3" fmla="*/ 17925 h 21339"/>
                <a:gd name="connsiteX4" fmla="*/ 19877 w 19876"/>
                <a:gd name="connsiteY4" fmla="*/ 21340 h 21339"/>
                <a:gd name="connsiteX5" fmla="*/ 19754 w 19876"/>
                <a:gd name="connsiteY5" fmla="*/ 20364 h 21339"/>
                <a:gd name="connsiteX6" fmla="*/ 8170 w 19876"/>
                <a:gd name="connsiteY6" fmla="*/ 3536 h 2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6" h="21339">
                  <a:moveTo>
                    <a:pt x="8170" y="3536"/>
                  </a:moveTo>
                  <a:lnTo>
                    <a:pt x="2073" y="0"/>
                  </a:lnTo>
                  <a:lnTo>
                    <a:pt x="0" y="4512"/>
                  </a:lnTo>
                  <a:lnTo>
                    <a:pt x="10243" y="17925"/>
                  </a:lnTo>
                  <a:lnTo>
                    <a:pt x="19877" y="21340"/>
                  </a:lnTo>
                  <a:lnTo>
                    <a:pt x="19754" y="20364"/>
                  </a:lnTo>
                  <a:lnTo>
                    <a:pt x="8170" y="353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6" name="Freihandform: Form 755">
              <a:extLst>
                <a:ext uri="{FF2B5EF4-FFF2-40B4-BE49-F238E27FC236}">
                  <a16:creationId xmlns:a16="http://schemas.microsoft.com/office/drawing/2014/main" id="{C9A33460-F29A-4DD1-AC95-F367FB935C70}"/>
                </a:ext>
              </a:extLst>
            </p:cNvPr>
            <p:cNvSpPr/>
            <p:nvPr/>
          </p:nvSpPr>
          <p:spPr>
            <a:xfrm>
              <a:off x="7681998" y="1966700"/>
              <a:ext cx="20242" cy="22193"/>
            </a:xfrm>
            <a:custGeom>
              <a:avLst/>
              <a:gdLst>
                <a:gd name="connsiteX0" fmla="*/ 7317 w 20242"/>
                <a:gd name="connsiteY0" fmla="*/ 5975 h 22193"/>
                <a:gd name="connsiteX1" fmla="*/ 5976 w 20242"/>
                <a:gd name="connsiteY1" fmla="*/ 14877 h 22193"/>
                <a:gd name="connsiteX2" fmla="*/ 244 w 20242"/>
                <a:gd name="connsiteY2" fmla="*/ 19145 h 22193"/>
                <a:gd name="connsiteX3" fmla="*/ 0 w 20242"/>
                <a:gd name="connsiteY3" fmla="*/ 21706 h 22193"/>
                <a:gd name="connsiteX4" fmla="*/ 4756 w 20242"/>
                <a:gd name="connsiteY4" fmla="*/ 22193 h 22193"/>
                <a:gd name="connsiteX5" fmla="*/ 20243 w 20242"/>
                <a:gd name="connsiteY5" fmla="*/ 11341 h 22193"/>
                <a:gd name="connsiteX6" fmla="*/ 19145 w 20242"/>
                <a:gd name="connsiteY6" fmla="*/ 0 h 22193"/>
                <a:gd name="connsiteX7" fmla="*/ 7317 w 20242"/>
                <a:gd name="connsiteY7" fmla="*/ 5975 h 2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42" h="22193">
                  <a:moveTo>
                    <a:pt x="7317" y="5975"/>
                  </a:moveTo>
                  <a:lnTo>
                    <a:pt x="5976" y="14877"/>
                  </a:lnTo>
                  <a:lnTo>
                    <a:pt x="244" y="19145"/>
                  </a:lnTo>
                  <a:lnTo>
                    <a:pt x="0" y="21706"/>
                  </a:lnTo>
                  <a:lnTo>
                    <a:pt x="4756" y="22193"/>
                  </a:lnTo>
                  <a:lnTo>
                    <a:pt x="20243" y="11341"/>
                  </a:lnTo>
                  <a:lnTo>
                    <a:pt x="19145" y="0"/>
                  </a:lnTo>
                  <a:lnTo>
                    <a:pt x="7317" y="5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7" name="Freihandform: Form 756">
              <a:extLst>
                <a:ext uri="{FF2B5EF4-FFF2-40B4-BE49-F238E27FC236}">
                  <a16:creationId xmlns:a16="http://schemas.microsoft.com/office/drawing/2014/main" id="{F8F15629-EB74-4E94-A2A6-ED28D0A2557A}"/>
                </a:ext>
              </a:extLst>
            </p:cNvPr>
            <p:cNvSpPr/>
            <p:nvPr/>
          </p:nvSpPr>
          <p:spPr>
            <a:xfrm>
              <a:off x="5561312" y="1241270"/>
              <a:ext cx="2646254" cy="1250999"/>
            </a:xfrm>
            <a:custGeom>
              <a:avLst/>
              <a:gdLst>
                <a:gd name="connsiteX0" fmla="*/ 2623452 w 2646254"/>
                <a:gd name="connsiteY0" fmla="*/ 409114 h 1250999"/>
                <a:gd name="connsiteX1" fmla="*/ 2600039 w 2646254"/>
                <a:gd name="connsiteY1" fmla="*/ 392530 h 1250999"/>
                <a:gd name="connsiteX2" fmla="*/ 2589674 w 2646254"/>
                <a:gd name="connsiteY2" fmla="*/ 393750 h 1250999"/>
                <a:gd name="connsiteX3" fmla="*/ 2578211 w 2646254"/>
                <a:gd name="connsiteY3" fmla="*/ 391189 h 1250999"/>
                <a:gd name="connsiteX4" fmla="*/ 2561993 w 2646254"/>
                <a:gd name="connsiteY4" fmla="*/ 391189 h 1250999"/>
                <a:gd name="connsiteX5" fmla="*/ 2565042 w 2646254"/>
                <a:gd name="connsiteY5" fmla="*/ 397286 h 1250999"/>
                <a:gd name="connsiteX6" fmla="*/ 2563822 w 2646254"/>
                <a:gd name="connsiteY6" fmla="*/ 402651 h 1250999"/>
                <a:gd name="connsiteX7" fmla="*/ 2570164 w 2646254"/>
                <a:gd name="connsiteY7" fmla="*/ 407407 h 1250999"/>
                <a:gd name="connsiteX8" fmla="*/ 2563213 w 2646254"/>
                <a:gd name="connsiteY8" fmla="*/ 415577 h 1250999"/>
                <a:gd name="connsiteX9" fmla="*/ 2540775 w 2646254"/>
                <a:gd name="connsiteY9" fmla="*/ 401066 h 1250999"/>
                <a:gd name="connsiteX10" fmla="*/ 2550530 w 2646254"/>
                <a:gd name="connsiteY10" fmla="*/ 393262 h 1250999"/>
                <a:gd name="connsiteX11" fmla="*/ 2548214 w 2646254"/>
                <a:gd name="connsiteY11" fmla="*/ 383506 h 1250999"/>
                <a:gd name="connsiteX12" fmla="*/ 2531142 w 2646254"/>
                <a:gd name="connsiteY12" fmla="*/ 371312 h 1250999"/>
                <a:gd name="connsiteX13" fmla="*/ 2519558 w 2646254"/>
                <a:gd name="connsiteY13" fmla="*/ 373263 h 1250999"/>
                <a:gd name="connsiteX14" fmla="*/ 2519558 w 2646254"/>
                <a:gd name="connsiteY14" fmla="*/ 365825 h 1250999"/>
                <a:gd name="connsiteX15" fmla="*/ 2509680 w 2646254"/>
                <a:gd name="connsiteY15" fmla="*/ 364118 h 1250999"/>
                <a:gd name="connsiteX16" fmla="*/ 2509680 w 2646254"/>
                <a:gd name="connsiteY16" fmla="*/ 359728 h 1250999"/>
                <a:gd name="connsiteX17" fmla="*/ 2498096 w 2646254"/>
                <a:gd name="connsiteY17" fmla="*/ 357411 h 1250999"/>
                <a:gd name="connsiteX18" fmla="*/ 2467732 w 2646254"/>
                <a:gd name="connsiteY18" fmla="*/ 343997 h 1250999"/>
                <a:gd name="connsiteX19" fmla="*/ 2467732 w 2646254"/>
                <a:gd name="connsiteY19" fmla="*/ 339607 h 1250999"/>
                <a:gd name="connsiteX20" fmla="*/ 2459440 w 2646254"/>
                <a:gd name="connsiteY20" fmla="*/ 334608 h 1250999"/>
                <a:gd name="connsiteX21" fmla="*/ 2445783 w 2646254"/>
                <a:gd name="connsiteY21" fmla="*/ 334608 h 1250999"/>
                <a:gd name="connsiteX22" fmla="*/ 2444076 w 2646254"/>
                <a:gd name="connsiteY22" fmla="*/ 328755 h 1250999"/>
                <a:gd name="connsiteX23" fmla="*/ 2426760 w 2646254"/>
                <a:gd name="connsiteY23" fmla="*/ 318390 h 1250999"/>
                <a:gd name="connsiteX24" fmla="*/ 2413834 w 2646254"/>
                <a:gd name="connsiteY24" fmla="*/ 316560 h 1250999"/>
                <a:gd name="connsiteX25" fmla="*/ 2400055 w 2646254"/>
                <a:gd name="connsiteY25" fmla="*/ 309976 h 1250999"/>
                <a:gd name="connsiteX26" fmla="*/ 2389934 w 2646254"/>
                <a:gd name="connsiteY26" fmla="*/ 309976 h 1250999"/>
                <a:gd name="connsiteX27" fmla="*/ 2366521 w 2646254"/>
                <a:gd name="connsiteY27" fmla="*/ 302537 h 1250999"/>
                <a:gd name="connsiteX28" fmla="*/ 2360789 w 2646254"/>
                <a:gd name="connsiteY28" fmla="*/ 304244 h 1250999"/>
                <a:gd name="connsiteX29" fmla="*/ 2351888 w 2646254"/>
                <a:gd name="connsiteY29" fmla="*/ 301562 h 1250999"/>
                <a:gd name="connsiteX30" fmla="*/ 2339694 w 2646254"/>
                <a:gd name="connsiteY30" fmla="*/ 300708 h 1250999"/>
                <a:gd name="connsiteX31" fmla="*/ 2324329 w 2646254"/>
                <a:gd name="connsiteY31" fmla="*/ 299123 h 1250999"/>
                <a:gd name="connsiteX32" fmla="*/ 2315793 w 2646254"/>
                <a:gd name="connsiteY32" fmla="*/ 301684 h 1250999"/>
                <a:gd name="connsiteX33" fmla="*/ 2303599 w 2646254"/>
                <a:gd name="connsiteY33" fmla="*/ 299854 h 1250999"/>
                <a:gd name="connsiteX34" fmla="*/ 2260432 w 2646254"/>
                <a:gd name="connsiteY34" fmla="*/ 291441 h 1250999"/>
                <a:gd name="connsiteX35" fmla="*/ 2257383 w 2646254"/>
                <a:gd name="connsiteY35" fmla="*/ 294611 h 1250999"/>
                <a:gd name="connsiteX36" fmla="*/ 2264821 w 2646254"/>
                <a:gd name="connsiteY36" fmla="*/ 299123 h 1250999"/>
                <a:gd name="connsiteX37" fmla="*/ 2257749 w 2646254"/>
                <a:gd name="connsiteY37" fmla="*/ 304732 h 1250999"/>
                <a:gd name="connsiteX38" fmla="*/ 2252505 w 2646254"/>
                <a:gd name="connsiteY38" fmla="*/ 305586 h 1250999"/>
                <a:gd name="connsiteX39" fmla="*/ 2251408 w 2646254"/>
                <a:gd name="connsiteY39" fmla="*/ 307171 h 1250999"/>
                <a:gd name="connsiteX40" fmla="*/ 2273724 w 2646254"/>
                <a:gd name="connsiteY40" fmla="*/ 319365 h 1250999"/>
                <a:gd name="connsiteX41" fmla="*/ 2268358 w 2646254"/>
                <a:gd name="connsiteY41" fmla="*/ 334486 h 1250999"/>
                <a:gd name="connsiteX42" fmla="*/ 2236897 w 2646254"/>
                <a:gd name="connsiteY42" fmla="*/ 333510 h 1250999"/>
                <a:gd name="connsiteX43" fmla="*/ 2234093 w 2646254"/>
                <a:gd name="connsiteY43" fmla="*/ 324121 h 1250999"/>
                <a:gd name="connsiteX44" fmla="*/ 2216045 w 2646254"/>
                <a:gd name="connsiteY44" fmla="*/ 323267 h 1250999"/>
                <a:gd name="connsiteX45" fmla="*/ 2207143 w 2646254"/>
                <a:gd name="connsiteY45" fmla="*/ 309122 h 1250999"/>
                <a:gd name="connsiteX46" fmla="*/ 2201656 w 2646254"/>
                <a:gd name="connsiteY46" fmla="*/ 305830 h 1250999"/>
                <a:gd name="connsiteX47" fmla="*/ 2189462 w 2646254"/>
                <a:gd name="connsiteY47" fmla="*/ 314853 h 1250999"/>
                <a:gd name="connsiteX48" fmla="*/ 2147269 w 2646254"/>
                <a:gd name="connsiteY48" fmla="*/ 312293 h 1250999"/>
                <a:gd name="connsiteX49" fmla="*/ 2129222 w 2646254"/>
                <a:gd name="connsiteY49" fmla="*/ 304732 h 1250999"/>
                <a:gd name="connsiteX50" fmla="*/ 2119467 w 2646254"/>
                <a:gd name="connsiteY50" fmla="*/ 308147 h 1250999"/>
                <a:gd name="connsiteX51" fmla="*/ 2107273 w 2646254"/>
                <a:gd name="connsiteY51" fmla="*/ 305586 h 1250999"/>
                <a:gd name="connsiteX52" fmla="*/ 2095079 w 2646254"/>
                <a:gd name="connsiteY52" fmla="*/ 310585 h 1250999"/>
                <a:gd name="connsiteX53" fmla="*/ 2088006 w 2646254"/>
                <a:gd name="connsiteY53" fmla="*/ 309732 h 1250999"/>
                <a:gd name="connsiteX54" fmla="*/ 2083738 w 2646254"/>
                <a:gd name="connsiteY54" fmla="*/ 311439 h 1250999"/>
                <a:gd name="connsiteX55" fmla="*/ 2076665 w 2646254"/>
                <a:gd name="connsiteY55" fmla="*/ 310585 h 1250999"/>
                <a:gd name="connsiteX56" fmla="*/ 2071788 w 2646254"/>
                <a:gd name="connsiteY56" fmla="*/ 312536 h 1250999"/>
                <a:gd name="connsiteX57" fmla="*/ 2067154 w 2646254"/>
                <a:gd name="connsiteY57" fmla="*/ 309000 h 1250999"/>
                <a:gd name="connsiteX58" fmla="*/ 2060447 w 2646254"/>
                <a:gd name="connsiteY58" fmla="*/ 309732 h 1250999"/>
                <a:gd name="connsiteX59" fmla="*/ 2046180 w 2646254"/>
                <a:gd name="connsiteY59" fmla="*/ 304122 h 1250999"/>
                <a:gd name="connsiteX60" fmla="*/ 2042766 w 2646254"/>
                <a:gd name="connsiteY60" fmla="*/ 291928 h 1250999"/>
                <a:gd name="connsiteX61" fmla="*/ 2051180 w 2646254"/>
                <a:gd name="connsiteY61" fmla="*/ 284368 h 1250999"/>
                <a:gd name="connsiteX62" fmla="*/ 2047643 w 2646254"/>
                <a:gd name="connsiteY62" fmla="*/ 274613 h 1250999"/>
                <a:gd name="connsiteX63" fmla="*/ 2024596 w 2646254"/>
                <a:gd name="connsiteY63" fmla="*/ 261565 h 1250999"/>
                <a:gd name="connsiteX64" fmla="*/ 2007159 w 2646254"/>
                <a:gd name="connsiteY64" fmla="*/ 259614 h 1250999"/>
                <a:gd name="connsiteX65" fmla="*/ 1988989 w 2646254"/>
                <a:gd name="connsiteY65" fmla="*/ 255468 h 1250999"/>
                <a:gd name="connsiteX66" fmla="*/ 1966918 w 2646254"/>
                <a:gd name="connsiteY66" fmla="*/ 256199 h 1250999"/>
                <a:gd name="connsiteX67" fmla="*/ 1932652 w 2646254"/>
                <a:gd name="connsiteY67" fmla="*/ 266443 h 1250999"/>
                <a:gd name="connsiteX68" fmla="*/ 1906679 w 2646254"/>
                <a:gd name="connsiteY68" fmla="*/ 269003 h 1250999"/>
                <a:gd name="connsiteX69" fmla="*/ 1890949 w 2646254"/>
                <a:gd name="connsiteY69" fmla="*/ 263394 h 1250999"/>
                <a:gd name="connsiteX70" fmla="*/ 1889485 w 2646254"/>
                <a:gd name="connsiteY70" fmla="*/ 256321 h 1250999"/>
                <a:gd name="connsiteX71" fmla="*/ 1874852 w 2646254"/>
                <a:gd name="connsiteY71" fmla="*/ 247542 h 1250999"/>
                <a:gd name="connsiteX72" fmla="*/ 1853878 w 2646254"/>
                <a:gd name="connsiteY72" fmla="*/ 239128 h 1250999"/>
                <a:gd name="connsiteX73" fmla="*/ 1834368 w 2646254"/>
                <a:gd name="connsiteY73" fmla="*/ 235591 h 1250999"/>
                <a:gd name="connsiteX74" fmla="*/ 1831929 w 2646254"/>
                <a:gd name="connsiteY74" fmla="*/ 225348 h 1250999"/>
                <a:gd name="connsiteX75" fmla="*/ 1843391 w 2646254"/>
                <a:gd name="connsiteY75" fmla="*/ 226568 h 1250999"/>
                <a:gd name="connsiteX76" fmla="*/ 1849854 w 2646254"/>
                <a:gd name="connsiteY76" fmla="*/ 227787 h 1250999"/>
                <a:gd name="connsiteX77" fmla="*/ 1850708 w 2646254"/>
                <a:gd name="connsiteY77" fmla="*/ 221202 h 1250999"/>
                <a:gd name="connsiteX78" fmla="*/ 1843757 w 2646254"/>
                <a:gd name="connsiteY78" fmla="*/ 220349 h 1250999"/>
                <a:gd name="connsiteX79" fmla="*/ 1828515 w 2646254"/>
                <a:gd name="connsiteY79" fmla="*/ 213764 h 1250999"/>
                <a:gd name="connsiteX80" fmla="*/ 1798761 w 2646254"/>
                <a:gd name="connsiteY80" fmla="*/ 213764 h 1250999"/>
                <a:gd name="connsiteX81" fmla="*/ 1789127 w 2646254"/>
                <a:gd name="connsiteY81" fmla="*/ 225958 h 1250999"/>
                <a:gd name="connsiteX82" fmla="*/ 1771202 w 2646254"/>
                <a:gd name="connsiteY82" fmla="*/ 234006 h 1250999"/>
                <a:gd name="connsiteX83" fmla="*/ 1755350 w 2646254"/>
                <a:gd name="connsiteY83" fmla="*/ 237176 h 1250999"/>
                <a:gd name="connsiteX84" fmla="*/ 1740961 w 2646254"/>
                <a:gd name="connsiteY84" fmla="*/ 242542 h 1250999"/>
                <a:gd name="connsiteX85" fmla="*/ 1747667 w 2646254"/>
                <a:gd name="connsiteY85" fmla="*/ 237420 h 1250999"/>
                <a:gd name="connsiteX86" fmla="*/ 1744009 w 2646254"/>
                <a:gd name="connsiteY86" fmla="*/ 223031 h 1250999"/>
                <a:gd name="connsiteX87" fmla="*/ 1759252 w 2646254"/>
                <a:gd name="connsiteY87" fmla="*/ 223031 h 1250999"/>
                <a:gd name="connsiteX88" fmla="*/ 1759983 w 2646254"/>
                <a:gd name="connsiteY88" fmla="*/ 220592 h 1250999"/>
                <a:gd name="connsiteX89" fmla="*/ 1718279 w 2646254"/>
                <a:gd name="connsiteY89" fmla="*/ 220592 h 1250999"/>
                <a:gd name="connsiteX90" fmla="*/ 1735351 w 2646254"/>
                <a:gd name="connsiteY90" fmla="*/ 216934 h 1250999"/>
                <a:gd name="connsiteX91" fmla="*/ 1730473 w 2646254"/>
                <a:gd name="connsiteY91" fmla="*/ 213276 h 1250999"/>
                <a:gd name="connsiteX92" fmla="*/ 1741692 w 2646254"/>
                <a:gd name="connsiteY92" fmla="*/ 204252 h 1250999"/>
                <a:gd name="connsiteX93" fmla="*/ 1756447 w 2646254"/>
                <a:gd name="connsiteY93" fmla="*/ 204252 h 1250999"/>
                <a:gd name="connsiteX94" fmla="*/ 1742058 w 2646254"/>
                <a:gd name="connsiteY94" fmla="*/ 199984 h 1250999"/>
                <a:gd name="connsiteX95" fmla="*/ 1722425 w 2646254"/>
                <a:gd name="connsiteY95" fmla="*/ 198643 h 1250999"/>
                <a:gd name="connsiteX96" fmla="*/ 1696939 w 2646254"/>
                <a:gd name="connsiteY96" fmla="*/ 195229 h 1250999"/>
                <a:gd name="connsiteX97" fmla="*/ 1680355 w 2646254"/>
                <a:gd name="connsiteY97" fmla="*/ 196204 h 1250999"/>
                <a:gd name="connsiteX98" fmla="*/ 1677307 w 2646254"/>
                <a:gd name="connsiteY98" fmla="*/ 191570 h 1250999"/>
                <a:gd name="connsiteX99" fmla="*/ 1673893 w 2646254"/>
                <a:gd name="connsiteY99" fmla="*/ 190473 h 1250999"/>
                <a:gd name="connsiteX100" fmla="*/ 1672795 w 2646254"/>
                <a:gd name="connsiteY100" fmla="*/ 192058 h 1250999"/>
                <a:gd name="connsiteX101" fmla="*/ 1677916 w 2646254"/>
                <a:gd name="connsiteY101" fmla="*/ 197180 h 1250999"/>
                <a:gd name="connsiteX102" fmla="*/ 1659382 w 2646254"/>
                <a:gd name="connsiteY102" fmla="*/ 206325 h 1250999"/>
                <a:gd name="connsiteX103" fmla="*/ 1647188 w 2646254"/>
                <a:gd name="connsiteY103" fmla="*/ 207179 h 1250999"/>
                <a:gd name="connsiteX104" fmla="*/ 1640237 w 2646254"/>
                <a:gd name="connsiteY104" fmla="*/ 205837 h 1250999"/>
                <a:gd name="connsiteX105" fmla="*/ 1638529 w 2646254"/>
                <a:gd name="connsiteY105" fmla="*/ 210837 h 1250999"/>
                <a:gd name="connsiteX106" fmla="*/ 1659991 w 2646254"/>
                <a:gd name="connsiteY106" fmla="*/ 209862 h 1250999"/>
                <a:gd name="connsiteX107" fmla="*/ 1650479 w 2646254"/>
                <a:gd name="connsiteY107" fmla="*/ 218397 h 1250999"/>
                <a:gd name="connsiteX108" fmla="*/ 1649260 w 2646254"/>
                <a:gd name="connsiteY108" fmla="*/ 229494 h 1250999"/>
                <a:gd name="connsiteX109" fmla="*/ 1657796 w 2646254"/>
                <a:gd name="connsiteY109" fmla="*/ 241688 h 1250999"/>
                <a:gd name="connsiteX110" fmla="*/ 1634140 w 2646254"/>
                <a:gd name="connsiteY110" fmla="*/ 245956 h 1250999"/>
                <a:gd name="connsiteX111" fmla="*/ 1632554 w 2646254"/>
                <a:gd name="connsiteY111" fmla="*/ 239371 h 1250999"/>
                <a:gd name="connsiteX112" fmla="*/ 1624872 w 2646254"/>
                <a:gd name="connsiteY112" fmla="*/ 237420 h 1250999"/>
                <a:gd name="connsiteX113" fmla="*/ 1619140 w 2646254"/>
                <a:gd name="connsiteY113" fmla="*/ 242176 h 1250999"/>
                <a:gd name="connsiteX114" fmla="*/ 1616092 w 2646254"/>
                <a:gd name="connsiteY114" fmla="*/ 252297 h 1250999"/>
                <a:gd name="connsiteX115" fmla="*/ 1603898 w 2646254"/>
                <a:gd name="connsiteY115" fmla="*/ 253395 h 1250999"/>
                <a:gd name="connsiteX116" fmla="*/ 1586582 w 2646254"/>
                <a:gd name="connsiteY116" fmla="*/ 242176 h 1250999"/>
                <a:gd name="connsiteX117" fmla="*/ 1563535 w 2646254"/>
                <a:gd name="connsiteY117" fmla="*/ 239737 h 1250999"/>
                <a:gd name="connsiteX118" fmla="*/ 1543781 w 2646254"/>
                <a:gd name="connsiteY118" fmla="*/ 247420 h 1250999"/>
                <a:gd name="connsiteX119" fmla="*/ 1527075 w 2646254"/>
                <a:gd name="connsiteY119" fmla="*/ 246444 h 1250999"/>
                <a:gd name="connsiteX120" fmla="*/ 1509150 w 2646254"/>
                <a:gd name="connsiteY120" fmla="*/ 234250 h 1250999"/>
                <a:gd name="connsiteX121" fmla="*/ 1505125 w 2646254"/>
                <a:gd name="connsiteY121" fmla="*/ 229372 h 1250999"/>
                <a:gd name="connsiteX122" fmla="*/ 1495614 w 2646254"/>
                <a:gd name="connsiteY122" fmla="*/ 240713 h 1250999"/>
                <a:gd name="connsiteX123" fmla="*/ 1488419 w 2646254"/>
                <a:gd name="connsiteY123" fmla="*/ 261321 h 1250999"/>
                <a:gd name="connsiteX124" fmla="*/ 1478420 w 2646254"/>
                <a:gd name="connsiteY124" fmla="*/ 270345 h 1250999"/>
                <a:gd name="connsiteX125" fmla="*/ 1433911 w 2646254"/>
                <a:gd name="connsiteY125" fmla="*/ 245956 h 1250999"/>
                <a:gd name="connsiteX126" fmla="*/ 1431229 w 2646254"/>
                <a:gd name="connsiteY126" fmla="*/ 235225 h 1250999"/>
                <a:gd name="connsiteX127" fmla="*/ 1436106 w 2646254"/>
                <a:gd name="connsiteY127" fmla="*/ 232421 h 1250999"/>
                <a:gd name="connsiteX128" fmla="*/ 1432082 w 2646254"/>
                <a:gd name="connsiteY128" fmla="*/ 228641 h 1250999"/>
                <a:gd name="connsiteX129" fmla="*/ 1426717 w 2646254"/>
                <a:gd name="connsiteY129" fmla="*/ 231933 h 1250999"/>
                <a:gd name="connsiteX130" fmla="*/ 1416352 w 2646254"/>
                <a:gd name="connsiteY130" fmla="*/ 224617 h 1250999"/>
                <a:gd name="connsiteX131" fmla="*/ 1414157 w 2646254"/>
                <a:gd name="connsiteY131" fmla="*/ 212422 h 1250999"/>
                <a:gd name="connsiteX132" fmla="*/ 1431472 w 2646254"/>
                <a:gd name="connsiteY132" fmla="*/ 217544 h 1250999"/>
                <a:gd name="connsiteX133" fmla="*/ 1437692 w 2646254"/>
                <a:gd name="connsiteY133" fmla="*/ 217544 h 1250999"/>
                <a:gd name="connsiteX134" fmla="*/ 1438545 w 2646254"/>
                <a:gd name="connsiteY134" fmla="*/ 210593 h 1250999"/>
                <a:gd name="connsiteX135" fmla="*/ 1424522 w 2646254"/>
                <a:gd name="connsiteY135" fmla="*/ 208154 h 1250999"/>
                <a:gd name="connsiteX136" fmla="*/ 1417571 w 2646254"/>
                <a:gd name="connsiteY136" fmla="*/ 205106 h 1250999"/>
                <a:gd name="connsiteX137" fmla="*/ 1417571 w 2646254"/>
                <a:gd name="connsiteY137" fmla="*/ 196936 h 1250999"/>
                <a:gd name="connsiteX138" fmla="*/ 1433302 w 2646254"/>
                <a:gd name="connsiteY138" fmla="*/ 199740 h 1250999"/>
                <a:gd name="connsiteX139" fmla="*/ 1438179 w 2646254"/>
                <a:gd name="connsiteY139" fmla="*/ 195838 h 1250999"/>
                <a:gd name="connsiteX140" fmla="*/ 1428912 w 2646254"/>
                <a:gd name="connsiteY140" fmla="*/ 192424 h 1250999"/>
                <a:gd name="connsiteX141" fmla="*/ 1428912 w 2646254"/>
                <a:gd name="connsiteY141" fmla="*/ 185107 h 1250999"/>
                <a:gd name="connsiteX142" fmla="*/ 1410133 w 2646254"/>
                <a:gd name="connsiteY142" fmla="*/ 167426 h 1250999"/>
                <a:gd name="connsiteX143" fmla="*/ 1401597 w 2646254"/>
                <a:gd name="connsiteY143" fmla="*/ 165963 h 1250999"/>
                <a:gd name="connsiteX144" fmla="*/ 1388305 w 2646254"/>
                <a:gd name="connsiteY144" fmla="*/ 173035 h 1250999"/>
                <a:gd name="connsiteX145" fmla="*/ 1375380 w 2646254"/>
                <a:gd name="connsiteY145" fmla="*/ 164377 h 1250999"/>
                <a:gd name="connsiteX146" fmla="*/ 1372575 w 2646254"/>
                <a:gd name="connsiteY146" fmla="*/ 165475 h 1250999"/>
                <a:gd name="connsiteX147" fmla="*/ 1372575 w 2646254"/>
                <a:gd name="connsiteY147" fmla="*/ 166328 h 1250999"/>
                <a:gd name="connsiteX148" fmla="*/ 1371112 w 2646254"/>
                <a:gd name="connsiteY148" fmla="*/ 166328 h 1250999"/>
                <a:gd name="connsiteX149" fmla="*/ 1364283 w 2646254"/>
                <a:gd name="connsiteY149" fmla="*/ 168889 h 1250999"/>
                <a:gd name="connsiteX150" fmla="*/ 1352089 w 2646254"/>
                <a:gd name="connsiteY150" fmla="*/ 162548 h 1250999"/>
                <a:gd name="connsiteX151" fmla="*/ 1353308 w 2646254"/>
                <a:gd name="connsiteY151" fmla="*/ 158036 h 1250999"/>
                <a:gd name="connsiteX152" fmla="*/ 1336358 w 2646254"/>
                <a:gd name="connsiteY152" fmla="*/ 155110 h 1250999"/>
                <a:gd name="connsiteX153" fmla="*/ 1330627 w 2646254"/>
                <a:gd name="connsiteY153" fmla="*/ 157671 h 1250999"/>
                <a:gd name="connsiteX154" fmla="*/ 1323920 w 2646254"/>
                <a:gd name="connsiteY154" fmla="*/ 156085 h 1250999"/>
                <a:gd name="connsiteX155" fmla="*/ 1321481 w 2646254"/>
                <a:gd name="connsiteY155" fmla="*/ 158036 h 1250999"/>
                <a:gd name="connsiteX156" fmla="*/ 1322457 w 2646254"/>
                <a:gd name="connsiteY156" fmla="*/ 162914 h 1250999"/>
                <a:gd name="connsiteX157" fmla="*/ 1326847 w 2646254"/>
                <a:gd name="connsiteY157" fmla="*/ 167426 h 1250999"/>
                <a:gd name="connsiteX158" fmla="*/ 1326847 w 2646254"/>
                <a:gd name="connsiteY158" fmla="*/ 181083 h 1250999"/>
                <a:gd name="connsiteX159" fmla="*/ 1314653 w 2646254"/>
                <a:gd name="connsiteY159" fmla="*/ 183156 h 1250999"/>
                <a:gd name="connsiteX160" fmla="*/ 1308433 w 2646254"/>
                <a:gd name="connsiteY160" fmla="*/ 183156 h 1250999"/>
                <a:gd name="connsiteX161" fmla="*/ 1301361 w 2646254"/>
                <a:gd name="connsiteY161" fmla="*/ 189010 h 1250999"/>
                <a:gd name="connsiteX162" fmla="*/ 1287216 w 2646254"/>
                <a:gd name="connsiteY162" fmla="*/ 189010 h 1250999"/>
                <a:gd name="connsiteX163" fmla="*/ 1270388 w 2646254"/>
                <a:gd name="connsiteY163" fmla="*/ 184742 h 1250999"/>
                <a:gd name="connsiteX164" fmla="*/ 1259779 w 2646254"/>
                <a:gd name="connsiteY164" fmla="*/ 184010 h 1250999"/>
                <a:gd name="connsiteX165" fmla="*/ 1253925 w 2646254"/>
                <a:gd name="connsiteY165" fmla="*/ 186571 h 1250999"/>
                <a:gd name="connsiteX166" fmla="*/ 1211612 w 2646254"/>
                <a:gd name="connsiteY166" fmla="*/ 175718 h 1250999"/>
                <a:gd name="connsiteX167" fmla="*/ 1213563 w 2646254"/>
                <a:gd name="connsiteY167" fmla="*/ 164865 h 1250999"/>
                <a:gd name="connsiteX168" fmla="*/ 1221001 w 2646254"/>
                <a:gd name="connsiteY168" fmla="*/ 162670 h 1250999"/>
                <a:gd name="connsiteX169" fmla="*/ 1228684 w 2646254"/>
                <a:gd name="connsiteY169" fmla="*/ 162670 h 1250999"/>
                <a:gd name="connsiteX170" fmla="*/ 1228684 w 2646254"/>
                <a:gd name="connsiteY170" fmla="*/ 162670 h 1250999"/>
                <a:gd name="connsiteX171" fmla="*/ 1211246 w 2646254"/>
                <a:gd name="connsiteY171" fmla="*/ 161085 h 1250999"/>
                <a:gd name="connsiteX172" fmla="*/ 1178444 w 2646254"/>
                <a:gd name="connsiteY172" fmla="*/ 159378 h 1250999"/>
                <a:gd name="connsiteX173" fmla="*/ 1163201 w 2646254"/>
                <a:gd name="connsiteY173" fmla="*/ 156939 h 1250999"/>
                <a:gd name="connsiteX174" fmla="*/ 1131008 w 2646254"/>
                <a:gd name="connsiteY174" fmla="*/ 163402 h 1250999"/>
                <a:gd name="connsiteX175" fmla="*/ 1129545 w 2646254"/>
                <a:gd name="connsiteY175" fmla="*/ 170231 h 1250999"/>
                <a:gd name="connsiteX176" fmla="*/ 1115156 w 2646254"/>
                <a:gd name="connsiteY176" fmla="*/ 172425 h 1250999"/>
                <a:gd name="connsiteX177" fmla="*/ 1110888 w 2646254"/>
                <a:gd name="connsiteY177" fmla="*/ 163280 h 1250999"/>
                <a:gd name="connsiteX178" fmla="*/ 1119180 w 2646254"/>
                <a:gd name="connsiteY178" fmla="*/ 158280 h 1250999"/>
                <a:gd name="connsiteX179" fmla="*/ 1122229 w 2646254"/>
                <a:gd name="connsiteY179" fmla="*/ 153403 h 1250999"/>
                <a:gd name="connsiteX180" fmla="*/ 1118204 w 2646254"/>
                <a:gd name="connsiteY180" fmla="*/ 149866 h 1250999"/>
                <a:gd name="connsiteX181" fmla="*/ 1111376 w 2646254"/>
                <a:gd name="connsiteY181" fmla="*/ 148159 h 1250999"/>
                <a:gd name="connsiteX182" fmla="*/ 1111376 w 2646254"/>
                <a:gd name="connsiteY182" fmla="*/ 156695 h 1250999"/>
                <a:gd name="connsiteX183" fmla="*/ 1096377 w 2646254"/>
                <a:gd name="connsiteY183" fmla="*/ 157671 h 1250999"/>
                <a:gd name="connsiteX184" fmla="*/ 1075647 w 2646254"/>
                <a:gd name="connsiteY184" fmla="*/ 153890 h 1250999"/>
                <a:gd name="connsiteX185" fmla="*/ 1076988 w 2646254"/>
                <a:gd name="connsiteY185" fmla="*/ 145232 h 1250999"/>
                <a:gd name="connsiteX186" fmla="*/ 1063819 w 2646254"/>
                <a:gd name="connsiteY186" fmla="*/ 146696 h 1250999"/>
                <a:gd name="connsiteX187" fmla="*/ 1054429 w 2646254"/>
                <a:gd name="connsiteY187" fmla="*/ 145111 h 1250999"/>
                <a:gd name="connsiteX188" fmla="*/ 1045405 w 2646254"/>
                <a:gd name="connsiteY188" fmla="*/ 151208 h 1250999"/>
                <a:gd name="connsiteX189" fmla="*/ 1046747 w 2646254"/>
                <a:gd name="connsiteY189" fmla="*/ 153525 h 1250999"/>
                <a:gd name="connsiteX190" fmla="*/ 1055283 w 2646254"/>
                <a:gd name="connsiteY190" fmla="*/ 153525 h 1250999"/>
                <a:gd name="connsiteX191" fmla="*/ 1072476 w 2646254"/>
                <a:gd name="connsiteY191" fmla="*/ 150476 h 1250999"/>
                <a:gd name="connsiteX192" fmla="*/ 1050527 w 2646254"/>
                <a:gd name="connsiteY192" fmla="*/ 169621 h 1250999"/>
                <a:gd name="connsiteX193" fmla="*/ 1037479 w 2646254"/>
                <a:gd name="connsiteY193" fmla="*/ 168767 h 1250999"/>
                <a:gd name="connsiteX194" fmla="*/ 1031870 w 2646254"/>
                <a:gd name="connsiteY194" fmla="*/ 172182 h 1250999"/>
                <a:gd name="connsiteX195" fmla="*/ 1021871 w 2646254"/>
                <a:gd name="connsiteY195" fmla="*/ 172182 h 1250999"/>
                <a:gd name="connsiteX196" fmla="*/ 1012969 w 2646254"/>
                <a:gd name="connsiteY196" fmla="*/ 176815 h 1250999"/>
                <a:gd name="connsiteX197" fmla="*/ 1009798 w 2646254"/>
                <a:gd name="connsiteY197" fmla="*/ 181449 h 1250999"/>
                <a:gd name="connsiteX198" fmla="*/ 987361 w 2646254"/>
                <a:gd name="connsiteY198" fmla="*/ 182303 h 1250999"/>
                <a:gd name="connsiteX199" fmla="*/ 984801 w 2646254"/>
                <a:gd name="connsiteY199" fmla="*/ 189497 h 1250999"/>
                <a:gd name="connsiteX200" fmla="*/ 965168 w 2646254"/>
                <a:gd name="connsiteY200" fmla="*/ 197667 h 1250999"/>
                <a:gd name="connsiteX201" fmla="*/ 943340 w 2646254"/>
                <a:gd name="connsiteY201" fmla="*/ 199131 h 1250999"/>
                <a:gd name="connsiteX202" fmla="*/ 966753 w 2646254"/>
                <a:gd name="connsiteY202" fmla="*/ 184985 h 1250999"/>
                <a:gd name="connsiteX203" fmla="*/ 966753 w 2646254"/>
                <a:gd name="connsiteY203" fmla="*/ 173035 h 1250999"/>
                <a:gd name="connsiteX204" fmla="*/ 976874 w 2646254"/>
                <a:gd name="connsiteY204" fmla="*/ 167914 h 1250999"/>
                <a:gd name="connsiteX205" fmla="*/ 984069 w 2646254"/>
                <a:gd name="connsiteY205" fmla="*/ 167914 h 1250999"/>
                <a:gd name="connsiteX206" fmla="*/ 985410 w 2646254"/>
                <a:gd name="connsiteY206" fmla="*/ 159134 h 1250999"/>
                <a:gd name="connsiteX207" fmla="*/ 996873 w 2646254"/>
                <a:gd name="connsiteY207" fmla="*/ 155232 h 1250999"/>
                <a:gd name="connsiteX208" fmla="*/ 1007725 w 2646254"/>
                <a:gd name="connsiteY208" fmla="*/ 155232 h 1250999"/>
                <a:gd name="connsiteX209" fmla="*/ 1019919 w 2646254"/>
                <a:gd name="connsiteY209" fmla="*/ 143038 h 1250999"/>
                <a:gd name="connsiteX210" fmla="*/ 1039064 w 2646254"/>
                <a:gd name="connsiteY210" fmla="*/ 134258 h 1250999"/>
                <a:gd name="connsiteX211" fmla="*/ 1046381 w 2646254"/>
                <a:gd name="connsiteY211" fmla="*/ 133526 h 1250999"/>
                <a:gd name="connsiteX212" fmla="*/ 1047600 w 2646254"/>
                <a:gd name="connsiteY212" fmla="*/ 127185 h 1250999"/>
                <a:gd name="connsiteX213" fmla="*/ 1075891 w 2646254"/>
                <a:gd name="connsiteY213" fmla="*/ 111211 h 1250999"/>
                <a:gd name="connsiteX214" fmla="*/ 1089792 w 2646254"/>
                <a:gd name="connsiteY214" fmla="*/ 111211 h 1250999"/>
                <a:gd name="connsiteX215" fmla="*/ 1091133 w 2646254"/>
                <a:gd name="connsiteY215" fmla="*/ 103407 h 1250999"/>
                <a:gd name="connsiteX216" fmla="*/ 1111498 w 2646254"/>
                <a:gd name="connsiteY216" fmla="*/ 92066 h 1250999"/>
                <a:gd name="connsiteX217" fmla="*/ 1117961 w 2646254"/>
                <a:gd name="connsiteY217" fmla="*/ 83774 h 1250999"/>
                <a:gd name="connsiteX218" fmla="*/ 1100157 w 2646254"/>
                <a:gd name="connsiteY218" fmla="*/ 76701 h 1250999"/>
                <a:gd name="connsiteX219" fmla="*/ 1094548 w 2646254"/>
                <a:gd name="connsiteY219" fmla="*/ 70238 h 1250999"/>
                <a:gd name="connsiteX220" fmla="*/ 1097352 w 2646254"/>
                <a:gd name="connsiteY220" fmla="*/ 65483 h 1250999"/>
                <a:gd name="connsiteX221" fmla="*/ 1103450 w 2646254"/>
                <a:gd name="connsiteY221" fmla="*/ 65483 h 1250999"/>
                <a:gd name="connsiteX222" fmla="*/ 1112107 w 2646254"/>
                <a:gd name="connsiteY222" fmla="*/ 71092 h 1250999"/>
                <a:gd name="connsiteX223" fmla="*/ 1124301 w 2646254"/>
                <a:gd name="connsiteY223" fmla="*/ 74141 h 1250999"/>
                <a:gd name="connsiteX224" fmla="*/ 1124301 w 2646254"/>
                <a:gd name="connsiteY224" fmla="*/ 66824 h 1250999"/>
                <a:gd name="connsiteX225" fmla="*/ 1116985 w 2646254"/>
                <a:gd name="connsiteY225" fmla="*/ 65605 h 1250999"/>
                <a:gd name="connsiteX226" fmla="*/ 1118326 w 2646254"/>
                <a:gd name="connsiteY226" fmla="*/ 54508 h 1250999"/>
                <a:gd name="connsiteX227" fmla="*/ 1114180 w 2646254"/>
                <a:gd name="connsiteY227" fmla="*/ 53532 h 1250999"/>
                <a:gd name="connsiteX228" fmla="*/ 1102718 w 2646254"/>
                <a:gd name="connsiteY228" fmla="*/ 60971 h 1250999"/>
                <a:gd name="connsiteX229" fmla="*/ 1094914 w 2646254"/>
                <a:gd name="connsiteY229" fmla="*/ 58654 h 1250999"/>
                <a:gd name="connsiteX230" fmla="*/ 1099426 w 2646254"/>
                <a:gd name="connsiteY230" fmla="*/ 51581 h 1250999"/>
                <a:gd name="connsiteX231" fmla="*/ 1080524 w 2646254"/>
                <a:gd name="connsiteY231" fmla="*/ 42314 h 1250999"/>
                <a:gd name="connsiteX232" fmla="*/ 1070526 w 2646254"/>
                <a:gd name="connsiteY232" fmla="*/ 41094 h 1250999"/>
                <a:gd name="connsiteX233" fmla="*/ 1065038 w 2646254"/>
                <a:gd name="connsiteY233" fmla="*/ 38046 h 1250999"/>
                <a:gd name="connsiteX234" fmla="*/ 1008457 w 2646254"/>
                <a:gd name="connsiteY234" fmla="*/ 40485 h 1250999"/>
                <a:gd name="connsiteX235" fmla="*/ 1004189 w 2646254"/>
                <a:gd name="connsiteY235" fmla="*/ 45362 h 1250999"/>
                <a:gd name="connsiteX236" fmla="*/ 984434 w 2646254"/>
                <a:gd name="connsiteY236" fmla="*/ 47313 h 1250999"/>
                <a:gd name="connsiteX237" fmla="*/ 967851 w 2646254"/>
                <a:gd name="connsiteY237" fmla="*/ 41704 h 1250999"/>
                <a:gd name="connsiteX238" fmla="*/ 987971 w 2646254"/>
                <a:gd name="connsiteY238" fmla="*/ 33778 h 1250999"/>
                <a:gd name="connsiteX239" fmla="*/ 989800 w 2646254"/>
                <a:gd name="connsiteY239" fmla="*/ 28412 h 1250999"/>
                <a:gd name="connsiteX240" fmla="*/ 978581 w 2646254"/>
                <a:gd name="connsiteY240" fmla="*/ 26461 h 1250999"/>
                <a:gd name="connsiteX241" fmla="*/ 968826 w 2646254"/>
                <a:gd name="connsiteY241" fmla="*/ 30729 h 1250999"/>
                <a:gd name="connsiteX242" fmla="*/ 957851 w 2646254"/>
                <a:gd name="connsiteY242" fmla="*/ 29998 h 1250999"/>
                <a:gd name="connsiteX243" fmla="*/ 957851 w 2646254"/>
                <a:gd name="connsiteY243" fmla="*/ 24510 h 1250999"/>
                <a:gd name="connsiteX244" fmla="*/ 936511 w 2646254"/>
                <a:gd name="connsiteY244" fmla="*/ 24510 h 1250999"/>
                <a:gd name="connsiteX245" fmla="*/ 936511 w 2646254"/>
                <a:gd name="connsiteY245" fmla="*/ 17438 h 1250999"/>
                <a:gd name="connsiteX246" fmla="*/ 961875 w 2646254"/>
                <a:gd name="connsiteY246" fmla="*/ 15487 h 1250999"/>
                <a:gd name="connsiteX247" fmla="*/ 969436 w 2646254"/>
                <a:gd name="connsiteY247" fmla="*/ 9511 h 1250999"/>
                <a:gd name="connsiteX248" fmla="*/ 964802 w 2646254"/>
                <a:gd name="connsiteY248" fmla="*/ 5487 h 1250999"/>
                <a:gd name="connsiteX249" fmla="*/ 952608 w 2646254"/>
                <a:gd name="connsiteY249" fmla="*/ 6097 h 1250999"/>
                <a:gd name="connsiteX250" fmla="*/ 931268 w 2646254"/>
                <a:gd name="connsiteY250" fmla="*/ 0 h 1250999"/>
                <a:gd name="connsiteX251" fmla="*/ 905294 w 2646254"/>
                <a:gd name="connsiteY251" fmla="*/ 6585 h 1250999"/>
                <a:gd name="connsiteX252" fmla="*/ 899563 w 2646254"/>
                <a:gd name="connsiteY252" fmla="*/ 10853 h 1250999"/>
                <a:gd name="connsiteX253" fmla="*/ 882126 w 2646254"/>
                <a:gd name="connsiteY253" fmla="*/ 19023 h 1250999"/>
                <a:gd name="connsiteX254" fmla="*/ 880662 w 2646254"/>
                <a:gd name="connsiteY254" fmla="*/ 25242 h 1250999"/>
                <a:gd name="connsiteX255" fmla="*/ 870663 w 2646254"/>
                <a:gd name="connsiteY255" fmla="*/ 29510 h 1250999"/>
                <a:gd name="connsiteX256" fmla="*/ 873102 w 2646254"/>
                <a:gd name="connsiteY256" fmla="*/ 32924 h 1250999"/>
                <a:gd name="connsiteX257" fmla="*/ 886637 w 2646254"/>
                <a:gd name="connsiteY257" fmla="*/ 37680 h 1250999"/>
                <a:gd name="connsiteX258" fmla="*/ 877492 w 2646254"/>
                <a:gd name="connsiteY258" fmla="*/ 39631 h 1250999"/>
                <a:gd name="connsiteX259" fmla="*/ 879687 w 2646254"/>
                <a:gd name="connsiteY259" fmla="*/ 41826 h 1250999"/>
                <a:gd name="connsiteX260" fmla="*/ 890783 w 2646254"/>
                <a:gd name="connsiteY260" fmla="*/ 42558 h 1250999"/>
                <a:gd name="connsiteX261" fmla="*/ 900295 w 2646254"/>
                <a:gd name="connsiteY261" fmla="*/ 45484 h 1250999"/>
                <a:gd name="connsiteX262" fmla="*/ 923464 w 2646254"/>
                <a:gd name="connsiteY262" fmla="*/ 43655 h 1250999"/>
                <a:gd name="connsiteX263" fmla="*/ 930414 w 2646254"/>
                <a:gd name="connsiteY263" fmla="*/ 49630 h 1250999"/>
                <a:gd name="connsiteX264" fmla="*/ 906026 w 2646254"/>
                <a:gd name="connsiteY264" fmla="*/ 53410 h 1250999"/>
                <a:gd name="connsiteX265" fmla="*/ 877370 w 2646254"/>
                <a:gd name="connsiteY265" fmla="*/ 49752 h 1250999"/>
                <a:gd name="connsiteX266" fmla="*/ 865176 w 2646254"/>
                <a:gd name="connsiteY266" fmla="*/ 47313 h 1250999"/>
                <a:gd name="connsiteX267" fmla="*/ 846641 w 2646254"/>
                <a:gd name="connsiteY267" fmla="*/ 49142 h 1250999"/>
                <a:gd name="connsiteX268" fmla="*/ 832983 w 2646254"/>
                <a:gd name="connsiteY268" fmla="*/ 45606 h 1250999"/>
                <a:gd name="connsiteX269" fmla="*/ 832983 w 2646254"/>
                <a:gd name="connsiteY269" fmla="*/ 45606 h 1250999"/>
                <a:gd name="connsiteX270" fmla="*/ 835178 w 2646254"/>
                <a:gd name="connsiteY270" fmla="*/ 46826 h 1250999"/>
                <a:gd name="connsiteX271" fmla="*/ 855420 w 2646254"/>
                <a:gd name="connsiteY271" fmla="*/ 54264 h 1250999"/>
                <a:gd name="connsiteX272" fmla="*/ 860786 w 2646254"/>
                <a:gd name="connsiteY272" fmla="*/ 60605 h 1250999"/>
                <a:gd name="connsiteX273" fmla="*/ 857128 w 2646254"/>
                <a:gd name="connsiteY273" fmla="*/ 71458 h 1250999"/>
                <a:gd name="connsiteX274" fmla="*/ 838958 w 2646254"/>
                <a:gd name="connsiteY274" fmla="*/ 74994 h 1250999"/>
                <a:gd name="connsiteX275" fmla="*/ 832861 w 2646254"/>
                <a:gd name="connsiteY275" fmla="*/ 65361 h 1250999"/>
                <a:gd name="connsiteX276" fmla="*/ 839446 w 2646254"/>
                <a:gd name="connsiteY276" fmla="*/ 60971 h 1250999"/>
                <a:gd name="connsiteX277" fmla="*/ 824447 w 2646254"/>
                <a:gd name="connsiteY277" fmla="*/ 55849 h 1250999"/>
                <a:gd name="connsiteX278" fmla="*/ 815424 w 2646254"/>
                <a:gd name="connsiteY278" fmla="*/ 59264 h 1250999"/>
                <a:gd name="connsiteX279" fmla="*/ 806522 w 2646254"/>
                <a:gd name="connsiteY279" fmla="*/ 64873 h 1250999"/>
                <a:gd name="connsiteX280" fmla="*/ 782133 w 2646254"/>
                <a:gd name="connsiteY280" fmla="*/ 72555 h 1250999"/>
                <a:gd name="connsiteX281" fmla="*/ 782133 w 2646254"/>
                <a:gd name="connsiteY281" fmla="*/ 66946 h 1250999"/>
                <a:gd name="connsiteX282" fmla="*/ 774939 w 2646254"/>
                <a:gd name="connsiteY282" fmla="*/ 66946 h 1250999"/>
                <a:gd name="connsiteX283" fmla="*/ 766159 w 2646254"/>
                <a:gd name="connsiteY283" fmla="*/ 71336 h 1250999"/>
                <a:gd name="connsiteX284" fmla="*/ 753965 w 2646254"/>
                <a:gd name="connsiteY284" fmla="*/ 68775 h 1250999"/>
                <a:gd name="connsiteX285" fmla="*/ 766159 w 2646254"/>
                <a:gd name="connsiteY285" fmla="*/ 61581 h 1250999"/>
                <a:gd name="connsiteX286" fmla="*/ 750916 w 2646254"/>
                <a:gd name="connsiteY286" fmla="*/ 59020 h 1250999"/>
                <a:gd name="connsiteX287" fmla="*/ 738722 w 2646254"/>
                <a:gd name="connsiteY287" fmla="*/ 60849 h 1250999"/>
                <a:gd name="connsiteX288" fmla="*/ 716285 w 2646254"/>
                <a:gd name="connsiteY288" fmla="*/ 61459 h 1250999"/>
                <a:gd name="connsiteX289" fmla="*/ 710554 w 2646254"/>
                <a:gd name="connsiteY289" fmla="*/ 62800 h 1250999"/>
                <a:gd name="connsiteX290" fmla="*/ 711164 w 2646254"/>
                <a:gd name="connsiteY290" fmla="*/ 63410 h 1250999"/>
                <a:gd name="connsiteX291" fmla="*/ 718846 w 2646254"/>
                <a:gd name="connsiteY291" fmla="*/ 64507 h 1250999"/>
                <a:gd name="connsiteX292" fmla="*/ 734942 w 2646254"/>
                <a:gd name="connsiteY292" fmla="*/ 64507 h 1250999"/>
                <a:gd name="connsiteX293" fmla="*/ 734942 w 2646254"/>
                <a:gd name="connsiteY293" fmla="*/ 64507 h 1250999"/>
                <a:gd name="connsiteX294" fmla="*/ 727991 w 2646254"/>
                <a:gd name="connsiteY294" fmla="*/ 72068 h 1250999"/>
                <a:gd name="connsiteX295" fmla="*/ 708725 w 2646254"/>
                <a:gd name="connsiteY295" fmla="*/ 73897 h 1250999"/>
                <a:gd name="connsiteX296" fmla="*/ 680800 w 2646254"/>
                <a:gd name="connsiteY296" fmla="*/ 75116 h 1250999"/>
                <a:gd name="connsiteX297" fmla="*/ 673483 w 2646254"/>
                <a:gd name="connsiteY297" fmla="*/ 79506 h 1250999"/>
                <a:gd name="connsiteX298" fmla="*/ 673483 w 2646254"/>
                <a:gd name="connsiteY298" fmla="*/ 79506 h 1250999"/>
                <a:gd name="connsiteX299" fmla="*/ 661289 w 2646254"/>
                <a:gd name="connsiteY299" fmla="*/ 78287 h 1250999"/>
                <a:gd name="connsiteX300" fmla="*/ 645803 w 2646254"/>
                <a:gd name="connsiteY300" fmla="*/ 81945 h 1250999"/>
                <a:gd name="connsiteX301" fmla="*/ 626414 w 2646254"/>
                <a:gd name="connsiteY301" fmla="*/ 83774 h 1250999"/>
                <a:gd name="connsiteX302" fmla="*/ 610806 w 2646254"/>
                <a:gd name="connsiteY302" fmla="*/ 93285 h 1250999"/>
                <a:gd name="connsiteX303" fmla="*/ 598611 w 2646254"/>
                <a:gd name="connsiteY303" fmla="*/ 93285 h 1250999"/>
                <a:gd name="connsiteX304" fmla="*/ 598611 w 2646254"/>
                <a:gd name="connsiteY304" fmla="*/ 93285 h 1250999"/>
                <a:gd name="connsiteX305" fmla="*/ 592758 w 2646254"/>
                <a:gd name="connsiteY305" fmla="*/ 93285 h 1250999"/>
                <a:gd name="connsiteX306" fmla="*/ 604952 w 2646254"/>
                <a:gd name="connsiteY306" fmla="*/ 94383 h 1250999"/>
                <a:gd name="connsiteX307" fmla="*/ 599953 w 2646254"/>
                <a:gd name="connsiteY307" fmla="*/ 101943 h 1250999"/>
                <a:gd name="connsiteX308" fmla="*/ 591173 w 2646254"/>
                <a:gd name="connsiteY308" fmla="*/ 107187 h 1250999"/>
                <a:gd name="connsiteX309" fmla="*/ 583247 w 2646254"/>
                <a:gd name="connsiteY309" fmla="*/ 114747 h 1250999"/>
                <a:gd name="connsiteX310" fmla="*/ 571052 w 2646254"/>
                <a:gd name="connsiteY310" fmla="*/ 109626 h 1250999"/>
                <a:gd name="connsiteX311" fmla="*/ 566419 w 2646254"/>
                <a:gd name="connsiteY311" fmla="*/ 113528 h 1250999"/>
                <a:gd name="connsiteX312" fmla="*/ 568858 w 2646254"/>
                <a:gd name="connsiteY312" fmla="*/ 116942 h 1250999"/>
                <a:gd name="connsiteX313" fmla="*/ 578003 w 2646254"/>
                <a:gd name="connsiteY313" fmla="*/ 116088 h 1250999"/>
                <a:gd name="connsiteX314" fmla="*/ 590197 w 2646254"/>
                <a:gd name="connsiteY314" fmla="*/ 120478 h 1250999"/>
                <a:gd name="connsiteX315" fmla="*/ 587271 w 2646254"/>
                <a:gd name="connsiteY315" fmla="*/ 127307 h 1250999"/>
                <a:gd name="connsiteX316" fmla="*/ 571662 w 2646254"/>
                <a:gd name="connsiteY316" fmla="*/ 126454 h 1250999"/>
                <a:gd name="connsiteX317" fmla="*/ 570687 w 2646254"/>
                <a:gd name="connsiteY317" fmla="*/ 128283 h 1250999"/>
                <a:gd name="connsiteX318" fmla="*/ 578125 w 2646254"/>
                <a:gd name="connsiteY318" fmla="*/ 129014 h 1250999"/>
                <a:gd name="connsiteX319" fmla="*/ 588368 w 2646254"/>
                <a:gd name="connsiteY319" fmla="*/ 135111 h 1250999"/>
                <a:gd name="connsiteX320" fmla="*/ 586905 w 2646254"/>
                <a:gd name="connsiteY320" fmla="*/ 141330 h 1250999"/>
                <a:gd name="connsiteX321" fmla="*/ 593855 w 2646254"/>
                <a:gd name="connsiteY321" fmla="*/ 147184 h 1250999"/>
                <a:gd name="connsiteX322" fmla="*/ 591661 w 2646254"/>
                <a:gd name="connsiteY322" fmla="*/ 159378 h 1250999"/>
                <a:gd name="connsiteX323" fmla="*/ 580930 w 2646254"/>
                <a:gd name="connsiteY323" fmla="*/ 151817 h 1250999"/>
                <a:gd name="connsiteX324" fmla="*/ 563858 w 2646254"/>
                <a:gd name="connsiteY324" fmla="*/ 151817 h 1250999"/>
                <a:gd name="connsiteX325" fmla="*/ 555322 w 2646254"/>
                <a:gd name="connsiteY325" fmla="*/ 156939 h 1250999"/>
                <a:gd name="connsiteX326" fmla="*/ 541055 w 2646254"/>
                <a:gd name="connsiteY326" fmla="*/ 156939 h 1250999"/>
                <a:gd name="connsiteX327" fmla="*/ 533007 w 2646254"/>
                <a:gd name="connsiteY327" fmla="*/ 155354 h 1250999"/>
                <a:gd name="connsiteX328" fmla="*/ 512033 w 2646254"/>
                <a:gd name="connsiteY328" fmla="*/ 158646 h 1250999"/>
                <a:gd name="connsiteX329" fmla="*/ 479109 w 2646254"/>
                <a:gd name="connsiteY329" fmla="*/ 162914 h 1250999"/>
                <a:gd name="connsiteX330" fmla="*/ 470085 w 2646254"/>
                <a:gd name="connsiteY330" fmla="*/ 162914 h 1250999"/>
                <a:gd name="connsiteX331" fmla="*/ 460939 w 2646254"/>
                <a:gd name="connsiteY331" fmla="*/ 172547 h 1250999"/>
                <a:gd name="connsiteX332" fmla="*/ 467158 w 2646254"/>
                <a:gd name="connsiteY332" fmla="*/ 177791 h 1250999"/>
                <a:gd name="connsiteX333" fmla="*/ 465695 w 2646254"/>
                <a:gd name="connsiteY333" fmla="*/ 193765 h 1250999"/>
                <a:gd name="connsiteX334" fmla="*/ 472890 w 2646254"/>
                <a:gd name="connsiteY334" fmla="*/ 199009 h 1250999"/>
                <a:gd name="connsiteX335" fmla="*/ 471670 w 2646254"/>
                <a:gd name="connsiteY335" fmla="*/ 206081 h 1250999"/>
                <a:gd name="connsiteX336" fmla="*/ 499716 w 2646254"/>
                <a:gd name="connsiteY336" fmla="*/ 213642 h 1250999"/>
                <a:gd name="connsiteX337" fmla="*/ 499716 w 2646254"/>
                <a:gd name="connsiteY337" fmla="*/ 223031 h 1250999"/>
                <a:gd name="connsiteX338" fmla="*/ 520325 w 2646254"/>
                <a:gd name="connsiteY338" fmla="*/ 228031 h 1250999"/>
                <a:gd name="connsiteX339" fmla="*/ 525446 w 2646254"/>
                <a:gd name="connsiteY339" fmla="*/ 241079 h 1250999"/>
                <a:gd name="connsiteX340" fmla="*/ 518130 w 2646254"/>
                <a:gd name="connsiteY340" fmla="*/ 252541 h 1250999"/>
                <a:gd name="connsiteX341" fmla="*/ 518130 w 2646254"/>
                <a:gd name="connsiteY341" fmla="*/ 261321 h 1250999"/>
                <a:gd name="connsiteX342" fmla="*/ 532519 w 2646254"/>
                <a:gd name="connsiteY342" fmla="*/ 276076 h 1250999"/>
                <a:gd name="connsiteX343" fmla="*/ 528983 w 2646254"/>
                <a:gd name="connsiteY343" fmla="*/ 286685 h 1250999"/>
                <a:gd name="connsiteX344" fmla="*/ 519106 w 2646254"/>
                <a:gd name="connsiteY344" fmla="*/ 290709 h 1250999"/>
                <a:gd name="connsiteX345" fmla="*/ 541055 w 2646254"/>
                <a:gd name="connsiteY345" fmla="*/ 305220 h 1250999"/>
                <a:gd name="connsiteX346" fmla="*/ 548006 w 2646254"/>
                <a:gd name="connsiteY346" fmla="*/ 310829 h 1250999"/>
                <a:gd name="connsiteX347" fmla="*/ 537275 w 2646254"/>
                <a:gd name="connsiteY347" fmla="*/ 315951 h 1250999"/>
                <a:gd name="connsiteX348" fmla="*/ 537275 w 2646254"/>
                <a:gd name="connsiteY348" fmla="*/ 315951 h 1250999"/>
                <a:gd name="connsiteX349" fmla="*/ 527397 w 2646254"/>
                <a:gd name="connsiteY349" fmla="*/ 314000 h 1250999"/>
                <a:gd name="connsiteX350" fmla="*/ 519959 w 2646254"/>
                <a:gd name="connsiteY350" fmla="*/ 305098 h 1250999"/>
                <a:gd name="connsiteX351" fmla="*/ 497887 w 2646254"/>
                <a:gd name="connsiteY351" fmla="*/ 289124 h 1250999"/>
                <a:gd name="connsiteX352" fmla="*/ 513496 w 2646254"/>
                <a:gd name="connsiteY352" fmla="*/ 277905 h 1250999"/>
                <a:gd name="connsiteX353" fmla="*/ 512521 w 2646254"/>
                <a:gd name="connsiteY353" fmla="*/ 267906 h 1250999"/>
                <a:gd name="connsiteX354" fmla="*/ 495449 w 2646254"/>
                <a:gd name="connsiteY354" fmla="*/ 272174 h 1250999"/>
                <a:gd name="connsiteX355" fmla="*/ 493741 w 2646254"/>
                <a:gd name="connsiteY355" fmla="*/ 259614 h 1250999"/>
                <a:gd name="connsiteX356" fmla="*/ 484230 w 2646254"/>
                <a:gd name="connsiteY356" fmla="*/ 254980 h 1250999"/>
                <a:gd name="connsiteX357" fmla="*/ 496424 w 2646254"/>
                <a:gd name="connsiteY357" fmla="*/ 247542 h 1250999"/>
                <a:gd name="connsiteX358" fmla="*/ 504472 w 2646254"/>
                <a:gd name="connsiteY358" fmla="*/ 246810 h 1250999"/>
                <a:gd name="connsiteX359" fmla="*/ 509960 w 2646254"/>
                <a:gd name="connsiteY359" fmla="*/ 239493 h 1250999"/>
                <a:gd name="connsiteX360" fmla="*/ 508984 w 2646254"/>
                <a:gd name="connsiteY360" fmla="*/ 238274 h 1250999"/>
                <a:gd name="connsiteX361" fmla="*/ 486669 w 2646254"/>
                <a:gd name="connsiteY361" fmla="*/ 240713 h 1250999"/>
                <a:gd name="connsiteX362" fmla="*/ 460695 w 2646254"/>
                <a:gd name="connsiteY362" fmla="*/ 225958 h 1250999"/>
                <a:gd name="connsiteX363" fmla="*/ 431429 w 2646254"/>
                <a:gd name="connsiteY363" fmla="*/ 213764 h 1250999"/>
                <a:gd name="connsiteX364" fmla="*/ 413748 w 2646254"/>
                <a:gd name="connsiteY364" fmla="*/ 213764 h 1250999"/>
                <a:gd name="connsiteX365" fmla="*/ 398505 w 2646254"/>
                <a:gd name="connsiteY365" fmla="*/ 219861 h 1250999"/>
                <a:gd name="connsiteX366" fmla="*/ 398505 w 2646254"/>
                <a:gd name="connsiteY366" fmla="*/ 220592 h 1250999"/>
                <a:gd name="connsiteX367" fmla="*/ 403261 w 2646254"/>
                <a:gd name="connsiteY367" fmla="*/ 220592 h 1250999"/>
                <a:gd name="connsiteX368" fmla="*/ 414114 w 2646254"/>
                <a:gd name="connsiteY368" fmla="*/ 218397 h 1250999"/>
                <a:gd name="connsiteX369" fmla="*/ 414114 w 2646254"/>
                <a:gd name="connsiteY369" fmla="*/ 218397 h 1250999"/>
                <a:gd name="connsiteX370" fmla="*/ 414114 w 2646254"/>
                <a:gd name="connsiteY370" fmla="*/ 234128 h 1250999"/>
                <a:gd name="connsiteX371" fmla="*/ 399968 w 2646254"/>
                <a:gd name="connsiteY371" fmla="*/ 234128 h 1250999"/>
                <a:gd name="connsiteX372" fmla="*/ 388750 w 2646254"/>
                <a:gd name="connsiteY372" fmla="*/ 226568 h 1250999"/>
                <a:gd name="connsiteX373" fmla="*/ 378873 w 2646254"/>
                <a:gd name="connsiteY373" fmla="*/ 228031 h 1250999"/>
                <a:gd name="connsiteX374" fmla="*/ 373873 w 2646254"/>
                <a:gd name="connsiteY374" fmla="*/ 232909 h 1250999"/>
                <a:gd name="connsiteX375" fmla="*/ 381921 w 2646254"/>
                <a:gd name="connsiteY375" fmla="*/ 241201 h 1250999"/>
                <a:gd name="connsiteX376" fmla="*/ 403749 w 2646254"/>
                <a:gd name="connsiteY376" fmla="*/ 248639 h 1250999"/>
                <a:gd name="connsiteX377" fmla="*/ 415943 w 2646254"/>
                <a:gd name="connsiteY377" fmla="*/ 247542 h 1250999"/>
                <a:gd name="connsiteX378" fmla="*/ 415943 w 2646254"/>
                <a:gd name="connsiteY378" fmla="*/ 247542 h 1250999"/>
                <a:gd name="connsiteX379" fmla="*/ 415943 w 2646254"/>
                <a:gd name="connsiteY379" fmla="*/ 253882 h 1250999"/>
                <a:gd name="connsiteX380" fmla="*/ 423137 w 2646254"/>
                <a:gd name="connsiteY380" fmla="*/ 258882 h 1250999"/>
                <a:gd name="connsiteX381" fmla="*/ 435331 w 2646254"/>
                <a:gd name="connsiteY381" fmla="*/ 260955 h 1250999"/>
                <a:gd name="connsiteX382" fmla="*/ 432771 w 2646254"/>
                <a:gd name="connsiteY382" fmla="*/ 270101 h 1250999"/>
                <a:gd name="connsiteX383" fmla="*/ 416308 w 2646254"/>
                <a:gd name="connsiteY383" fmla="*/ 268028 h 1250999"/>
                <a:gd name="connsiteX384" fmla="*/ 405090 w 2646254"/>
                <a:gd name="connsiteY384" fmla="*/ 261321 h 1250999"/>
                <a:gd name="connsiteX385" fmla="*/ 389603 w 2646254"/>
                <a:gd name="connsiteY385" fmla="*/ 261321 h 1250999"/>
                <a:gd name="connsiteX386" fmla="*/ 355582 w 2646254"/>
                <a:gd name="connsiteY386" fmla="*/ 252053 h 1250999"/>
                <a:gd name="connsiteX387" fmla="*/ 363020 w 2646254"/>
                <a:gd name="connsiteY387" fmla="*/ 239859 h 1250999"/>
                <a:gd name="connsiteX388" fmla="*/ 355338 w 2646254"/>
                <a:gd name="connsiteY388" fmla="*/ 236079 h 1250999"/>
                <a:gd name="connsiteX389" fmla="*/ 355338 w 2646254"/>
                <a:gd name="connsiteY389" fmla="*/ 226202 h 1250999"/>
                <a:gd name="connsiteX390" fmla="*/ 365215 w 2646254"/>
                <a:gd name="connsiteY390" fmla="*/ 216934 h 1250999"/>
                <a:gd name="connsiteX391" fmla="*/ 363996 w 2646254"/>
                <a:gd name="connsiteY391" fmla="*/ 200960 h 1250999"/>
                <a:gd name="connsiteX392" fmla="*/ 351802 w 2646254"/>
                <a:gd name="connsiteY392" fmla="*/ 191692 h 1250999"/>
                <a:gd name="connsiteX393" fmla="*/ 344485 w 2646254"/>
                <a:gd name="connsiteY393" fmla="*/ 190229 h 1250999"/>
                <a:gd name="connsiteX394" fmla="*/ 344485 w 2646254"/>
                <a:gd name="connsiteY394" fmla="*/ 190229 h 1250999"/>
                <a:gd name="connsiteX395" fmla="*/ 351680 w 2646254"/>
                <a:gd name="connsiteY395" fmla="*/ 195229 h 1250999"/>
                <a:gd name="connsiteX396" fmla="*/ 354728 w 2646254"/>
                <a:gd name="connsiteY396" fmla="*/ 204130 h 1250999"/>
                <a:gd name="connsiteX397" fmla="*/ 357777 w 2646254"/>
                <a:gd name="connsiteY397" fmla="*/ 208764 h 1250999"/>
                <a:gd name="connsiteX398" fmla="*/ 356069 w 2646254"/>
                <a:gd name="connsiteY398" fmla="*/ 221812 h 1250999"/>
                <a:gd name="connsiteX399" fmla="*/ 324486 w 2646254"/>
                <a:gd name="connsiteY399" fmla="*/ 234006 h 1250999"/>
                <a:gd name="connsiteX400" fmla="*/ 317170 w 2646254"/>
                <a:gd name="connsiteY400" fmla="*/ 247785 h 1250999"/>
                <a:gd name="connsiteX401" fmla="*/ 334608 w 2646254"/>
                <a:gd name="connsiteY401" fmla="*/ 261565 h 1250999"/>
                <a:gd name="connsiteX402" fmla="*/ 341071 w 2646254"/>
                <a:gd name="connsiteY402" fmla="*/ 278759 h 1250999"/>
                <a:gd name="connsiteX403" fmla="*/ 331559 w 2646254"/>
                <a:gd name="connsiteY403" fmla="*/ 288148 h 1250999"/>
                <a:gd name="connsiteX404" fmla="*/ 321560 w 2646254"/>
                <a:gd name="connsiteY404" fmla="*/ 296196 h 1250999"/>
                <a:gd name="connsiteX405" fmla="*/ 320340 w 2646254"/>
                <a:gd name="connsiteY405" fmla="*/ 304854 h 1250999"/>
                <a:gd name="connsiteX406" fmla="*/ 325828 w 2646254"/>
                <a:gd name="connsiteY406" fmla="*/ 315829 h 1250999"/>
                <a:gd name="connsiteX407" fmla="*/ 328267 w 2646254"/>
                <a:gd name="connsiteY407" fmla="*/ 324731 h 1250999"/>
                <a:gd name="connsiteX408" fmla="*/ 347656 w 2646254"/>
                <a:gd name="connsiteY408" fmla="*/ 328633 h 1250999"/>
                <a:gd name="connsiteX409" fmla="*/ 359850 w 2646254"/>
                <a:gd name="connsiteY409" fmla="*/ 322658 h 1250999"/>
                <a:gd name="connsiteX410" fmla="*/ 385336 w 2646254"/>
                <a:gd name="connsiteY410" fmla="*/ 327169 h 1250999"/>
                <a:gd name="connsiteX411" fmla="*/ 392530 w 2646254"/>
                <a:gd name="connsiteY411" fmla="*/ 334974 h 1250999"/>
                <a:gd name="connsiteX412" fmla="*/ 402529 w 2646254"/>
                <a:gd name="connsiteY412" fmla="*/ 338388 h 1250999"/>
                <a:gd name="connsiteX413" fmla="*/ 417284 w 2646254"/>
                <a:gd name="connsiteY413" fmla="*/ 356070 h 1250999"/>
                <a:gd name="connsiteX414" fmla="*/ 402285 w 2646254"/>
                <a:gd name="connsiteY414" fmla="*/ 364971 h 1250999"/>
                <a:gd name="connsiteX415" fmla="*/ 403261 w 2646254"/>
                <a:gd name="connsiteY415" fmla="*/ 369605 h 1250999"/>
                <a:gd name="connsiteX416" fmla="*/ 411797 w 2646254"/>
                <a:gd name="connsiteY416" fmla="*/ 376190 h 1250999"/>
                <a:gd name="connsiteX417" fmla="*/ 419967 w 2646254"/>
                <a:gd name="connsiteY417" fmla="*/ 374483 h 1250999"/>
                <a:gd name="connsiteX418" fmla="*/ 419967 w 2646254"/>
                <a:gd name="connsiteY418" fmla="*/ 374483 h 1250999"/>
                <a:gd name="connsiteX419" fmla="*/ 435331 w 2646254"/>
                <a:gd name="connsiteY419" fmla="*/ 380702 h 1250999"/>
                <a:gd name="connsiteX420" fmla="*/ 417040 w 2646254"/>
                <a:gd name="connsiteY420" fmla="*/ 384848 h 1250999"/>
                <a:gd name="connsiteX421" fmla="*/ 397773 w 2646254"/>
                <a:gd name="connsiteY421" fmla="*/ 382165 h 1250999"/>
                <a:gd name="connsiteX422" fmla="*/ 387530 w 2646254"/>
                <a:gd name="connsiteY422" fmla="*/ 376068 h 1250999"/>
                <a:gd name="connsiteX423" fmla="*/ 394725 w 2646254"/>
                <a:gd name="connsiteY423" fmla="*/ 353509 h 1250999"/>
                <a:gd name="connsiteX424" fmla="*/ 383994 w 2646254"/>
                <a:gd name="connsiteY424" fmla="*/ 342168 h 1250999"/>
                <a:gd name="connsiteX425" fmla="*/ 380336 w 2646254"/>
                <a:gd name="connsiteY425" fmla="*/ 337047 h 1250999"/>
                <a:gd name="connsiteX426" fmla="*/ 368142 w 2646254"/>
                <a:gd name="connsiteY426" fmla="*/ 336315 h 1250999"/>
                <a:gd name="connsiteX427" fmla="*/ 336315 w 2646254"/>
                <a:gd name="connsiteY427" fmla="*/ 347778 h 1250999"/>
                <a:gd name="connsiteX428" fmla="*/ 339729 w 2646254"/>
                <a:gd name="connsiteY428" fmla="*/ 350948 h 1250999"/>
                <a:gd name="connsiteX429" fmla="*/ 351923 w 2646254"/>
                <a:gd name="connsiteY429" fmla="*/ 369727 h 1250999"/>
                <a:gd name="connsiteX430" fmla="*/ 347046 w 2646254"/>
                <a:gd name="connsiteY430" fmla="*/ 381921 h 1250999"/>
                <a:gd name="connsiteX431" fmla="*/ 334852 w 2646254"/>
                <a:gd name="connsiteY431" fmla="*/ 388018 h 1250999"/>
                <a:gd name="connsiteX432" fmla="*/ 322657 w 2646254"/>
                <a:gd name="connsiteY432" fmla="*/ 404968 h 1250999"/>
                <a:gd name="connsiteX433" fmla="*/ 304244 w 2646254"/>
                <a:gd name="connsiteY433" fmla="*/ 415089 h 1250999"/>
                <a:gd name="connsiteX434" fmla="*/ 293514 w 2646254"/>
                <a:gd name="connsiteY434" fmla="*/ 430332 h 1250999"/>
                <a:gd name="connsiteX435" fmla="*/ 285100 w 2646254"/>
                <a:gd name="connsiteY435" fmla="*/ 423625 h 1250999"/>
                <a:gd name="connsiteX436" fmla="*/ 248517 w 2646254"/>
                <a:gd name="connsiteY436" fmla="*/ 422162 h 1250999"/>
                <a:gd name="connsiteX437" fmla="*/ 234372 w 2646254"/>
                <a:gd name="connsiteY437" fmla="*/ 410943 h 1250999"/>
                <a:gd name="connsiteX438" fmla="*/ 219983 w 2646254"/>
                <a:gd name="connsiteY438" fmla="*/ 410090 h 1250999"/>
                <a:gd name="connsiteX439" fmla="*/ 213032 w 2646254"/>
                <a:gd name="connsiteY439" fmla="*/ 403139 h 1250999"/>
                <a:gd name="connsiteX440" fmla="*/ 221934 w 2646254"/>
                <a:gd name="connsiteY440" fmla="*/ 399115 h 1250999"/>
                <a:gd name="connsiteX441" fmla="*/ 236201 w 2646254"/>
                <a:gd name="connsiteY441" fmla="*/ 399115 h 1250999"/>
                <a:gd name="connsiteX442" fmla="*/ 246566 w 2646254"/>
                <a:gd name="connsiteY442" fmla="*/ 396554 h 1250999"/>
                <a:gd name="connsiteX443" fmla="*/ 256199 w 2646254"/>
                <a:gd name="connsiteY443" fmla="*/ 400456 h 1250999"/>
                <a:gd name="connsiteX444" fmla="*/ 266564 w 2646254"/>
                <a:gd name="connsiteY444" fmla="*/ 408992 h 1250999"/>
                <a:gd name="connsiteX445" fmla="*/ 279734 w 2646254"/>
                <a:gd name="connsiteY445" fmla="*/ 403261 h 1250999"/>
                <a:gd name="connsiteX446" fmla="*/ 279734 w 2646254"/>
                <a:gd name="connsiteY446" fmla="*/ 397530 h 1250999"/>
                <a:gd name="connsiteX447" fmla="*/ 287904 w 2646254"/>
                <a:gd name="connsiteY447" fmla="*/ 392652 h 1250999"/>
                <a:gd name="connsiteX448" fmla="*/ 286441 w 2646254"/>
                <a:gd name="connsiteY448" fmla="*/ 387531 h 1250999"/>
                <a:gd name="connsiteX449" fmla="*/ 304366 w 2646254"/>
                <a:gd name="connsiteY449" fmla="*/ 376800 h 1250999"/>
                <a:gd name="connsiteX450" fmla="*/ 311926 w 2646254"/>
                <a:gd name="connsiteY450" fmla="*/ 364606 h 1250999"/>
                <a:gd name="connsiteX451" fmla="*/ 307293 w 2646254"/>
                <a:gd name="connsiteY451" fmla="*/ 358021 h 1250999"/>
                <a:gd name="connsiteX452" fmla="*/ 320463 w 2646254"/>
                <a:gd name="connsiteY452" fmla="*/ 348631 h 1250999"/>
                <a:gd name="connsiteX453" fmla="*/ 310585 w 2646254"/>
                <a:gd name="connsiteY453" fmla="*/ 346802 h 1250999"/>
                <a:gd name="connsiteX454" fmla="*/ 295830 w 2646254"/>
                <a:gd name="connsiteY454" fmla="*/ 332779 h 1250999"/>
                <a:gd name="connsiteX455" fmla="*/ 302781 w 2646254"/>
                <a:gd name="connsiteY455" fmla="*/ 322048 h 1250999"/>
                <a:gd name="connsiteX456" fmla="*/ 296440 w 2646254"/>
                <a:gd name="connsiteY456" fmla="*/ 317414 h 1250999"/>
                <a:gd name="connsiteX457" fmla="*/ 296440 w 2646254"/>
                <a:gd name="connsiteY457" fmla="*/ 289733 h 1250999"/>
                <a:gd name="connsiteX458" fmla="*/ 306927 w 2646254"/>
                <a:gd name="connsiteY458" fmla="*/ 282661 h 1250999"/>
                <a:gd name="connsiteX459" fmla="*/ 299367 w 2646254"/>
                <a:gd name="connsiteY459" fmla="*/ 279490 h 1250999"/>
                <a:gd name="connsiteX460" fmla="*/ 298025 w 2646254"/>
                <a:gd name="connsiteY460" fmla="*/ 256077 h 1250999"/>
                <a:gd name="connsiteX461" fmla="*/ 280588 w 2646254"/>
                <a:gd name="connsiteY461" fmla="*/ 253517 h 1250999"/>
                <a:gd name="connsiteX462" fmla="*/ 282417 w 2646254"/>
                <a:gd name="connsiteY462" fmla="*/ 241323 h 1250999"/>
                <a:gd name="connsiteX463" fmla="*/ 305220 w 2646254"/>
                <a:gd name="connsiteY463" fmla="*/ 224251 h 1250999"/>
                <a:gd name="connsiteX464" fmla="*/ 306195 w 2646254"/>
                <a:gd name="connsiteY464" fmla="*/ 217422 h 1250999"/>
                <a:gd name="connsiteX465" fmla="*/ 301928 w 2646254"/>
                <a:gd name="connsiteY465" fmla="*/ 215715 h 1250999"/>
                <a:gd name="connsiteX466" fmla="*/ 304732 w 2646254"/>
                <a:gd name="connsiteY466" fmla="*/ 200228 h 1250999"/>
                <a:gd name="connsiteX467" fmla="*/ 286807 w 2646254"/>
                <a:gd name="connsiteY467" fmla="*/ 191083 h 1250999"/>
                <a:gd name="connsiteX468" fmla="*/ 265711 w 2646254"/>
                <a:gd name="connsiteY468" fmla="*/ 192668 h 1250999"/>
                <a:gd name="connsiteX469" fmla="*/ 253517 w 2646254"/>
                <a:gd name="connsiteY469" fmla="*/ 188522 h 1250999"/>
                <a:gd name="connsiteX470" fmla="*/ 239737 w 2646254"/>
                <a:gd name="connsiteY470" fmla="*/ 191570 h 1250999"/>
                <a:gd name="connsiteX471" fmla="*/ 229982 w 2646254"/>
                <a:gd name="connsiteY471" fmla="*/ 224738 h 1250999"/>
                <a:gd name="connsiteX472" fmla="*/ 213886 w 2646254"/>
                <a:gd name="connsiteY472" fmla="*/ 245712 h 1250999"/>
                <a:gd name="connsiteX473" fmla="*/ 195716 w 2646254"/>
                <a:gd name="connsiteY473" fmla="*/ 261687 h 1250999"/>
                <a:gd name="connsiteX474" fmla="*/ 191082 w 2646254"/>
                <a:gd name="connsiteY474" fmla="*/ 271442 h 1250999"/>
                <a:gd name="connsiteX475" fmla="*/ 194741 w 2646254"/>
                <a:gd name="connsiteY475" fmla="*/ 273637 h 1250999"/>
                <a:gd name="connsiteX476" fmla="*/ 193155 w 2646254"/>
                <a:gd name="connsiteY476" fmla="*/ 300098 h 1250999"/>
                <a:gd name="connsiteX477" fmla="*/ 189497 w 2646254"/>
                <a:gd name="connsiteY477" fmla="*/ 301562 h 1250999"/>
                <a:gd name="connsiteX478" fmla="*/ 192546 w 2646254"/>
                <a:gd name="connsiteY478" fmla="*/ 311805 h 1250999"/>
                <a:gd name="connsiteX479" fmla="*/ 198399 w 2646254"/>
                <a:gd name="connsiteY479" fmla="*/ 309000 h 1250999"/>
                <a:gd name="connsiteX480" fmla="*/ 213764 w 2646254"/>
                <a:gd name="connsiteY480" fmla="*/ 318146 h 1250999"/>
                <a:gd name="connsiteX481" fmla="*/ 210837 w 2646254"/>
                <a:gd name="connsiteY481" fmla="*/ 325096 h 1250999"/>
                <a:gd name="connsiteX482" fmla="*/ 223031 w 2646254"/>
                <a:gd name="connsiteY482" fmla="*/ 333998 h 1250999"/>
                <a:gd name="connsiteX483" fmla="*/ 235957 w 2646254"/>
                <a:gd name="connsiteY483" fmla="*/ 334974 h 1250999"/>
                <a:gd name="connsiteX484" fmla="*/ 234128 w 2646254"/>
                <a:gd name="connsiteY484" fmla="*/ 350094 h 1250999"/>
                <a:gd name="connsiteX485" fmla="*/ 213764 w 2646254"/>
                <a:gd name="connsiteY485" fmla="*/ 362289 h 1250999"/>
                <a:gd name="connsiteX486" fmla="*/ 206203 w 2646254"/>
                <a:gd name="connsiteY486" fmla="*/ 357777 h 1250999"/>
                <a:gd name="connsiteX487" fmla="*/ 204740 w 2646254"/>
                <a:gd name="connsiteY487" fmla="*/ 349241 h 1250999"/>
                <a:gd name="connsiteX488" fmla="*/ 193278 w 2646254"/>
                <a:gd name="connsiteY488" fmla="*/ 342412 h 1250999"/>
                <a:gd name="connsiteX489" fmla="*/ 183400 w 2646254"/>
                <a:gd name="connsiteY489" fmla="*/ 342412 h 1250999"/>
                <a:gd name="connsiteX490" fmla="*/ 171816 w 2646254"/>
                <a:gd name="connsiteY490" fmla="*/ 335461 h 1250999"/>
                <a:gd name="connsiteX491" fmla="*/ 159622 w 2646254"/>
                <a:gd name="connsiteY491" fmla="*/ 332901 h 1250999"/>
                <a:gd name="connsiteX492" fmla="*/ 147427 w 2646254"/>
                <a:gd name="connsiteY492" fmla="*/ 325950 h 1250999"/>
                <a:gd name="connsiteX493" fmla="*/ 132185 w 2646254"/>
                <a:gd name="connsiteY493" fmla="*/ 319121 h 1250999"/>
                <a:gd name="connsiteX494" fmla="*/ 136940 w 2646254"/>
                <a:gd name="connsiteY494" fmla="*/ 331315 h 1250999"/>
                <a:gd name="connsiteX495" fmla="*/ 140599 w 2646254"/>
                <a:gd name="connsiteY495" fmla="*/ 340095 h 1250999"/>
                <a:gd name="connsiteX496" fmla="*/ 142428 w 2646254"/>
                <a:gd name="connsiteY496" fmla="*/ 344607 h 1250999"/>
                <a:gd name="connsiteX497" fmla="*/ 138525 w 2646254"/>
                <a:gd name="connsiteY497" fmla="*/ 347412 h 1250999"/>
                <a:gd name="connsiteX498" fmla="*/ 131209 w 2646254"/>
                <a:gd name="connsiteY498" fmla="*/ 352777 h 1250999"/>
                <a:gd name="connsiteX499" fmla="*/ 140964 w 2646254"/>
                <a:gd name="connsiteY499" fmla="*/ 395945 h 1250999"/>
                <a:gd name="connsiteX500" fmla="*/ 142916 w 2646254"/>
                <a:gd name="connsiteY500" fmla="*/ 404846 h 1250999"/>
                <a:gd name="connsiteX501" fmla="*/ 142916 w 2646254"/>
                <a:gd name="connsiteY501" fmla="*/ 406188 h 1250999"/>
                <a:gd name="connsiteX502" fmla="*/ 142916 w 2646254"/>
                <a:gd name="connsiteY502" fmla="*/ 407407 h 1250999"/>
                <a:gd name="connsiteX503" fmla="*/ 138648 w 2646254"/>
                <a:gd name="connsiteY503" fmla="*/ 427527 h 1250999"/>
                <a:gd name="connsiteX504" fmla="*/ 138038 w 2646254"/>
                <a:gd name="connsiteY504" fmla="*/ 430454 h 1250999"/>
                <a:gd name="connsiteX505" fmla="*/ 135233 w 2646254"/>
                <a:gd name="connsiteY505" fmla="*/ 431795 h 1250999"/>
                <a:gd name="connsiteX506" fmla="*/ 129868 w 2646254"/>
                <a:gd name="connsiteY506" fmla="*/ 434234 h 1250999"/>
                <a:gd name="connsiteX507" fmla="*/ 119991 w 2646254"/>
                <a:gd name="connsiteY507" fmla="*/ 438868 h 1250999"/>
                <a:gd name="connsiteX508" fmla="*/ 62556 w 2646254"/>
                <a:gd name="connsiteY508" fmla="*/ 503497 h 1250999"/>
                <a:gd name="connsiteX509" fmla="*/ 56581 w 2646254"/>
                <a:gd name="connsiteY509" fmla="*/ 570199 h 1250999"/>
                <a:gd name="connsiteX510" fmla="*/ 59995 w 2646254"/>
                <a:gd name="connsiteY510" fmla="*/ 574589 h 1250999"/>
                <a:gd name="connsiteX511" fmla="*/ 65970 w 2646254"/>
                <a:gd name="connsiteY511" fmla="*/ 582637 h 1250999"/>
                <a:gd name="connsiteX512" fmla="*/ 67677 w 2646254"/>
                <a:gd name="connsiteY512" fmla="*/ 584832 h 1250999"/>
                <a:gd name="connsiteX513" fmla="*/ 66946 w 2646254"/>
                <a:gd name="connsiteY513" fmla="*/ 587637 h 1250999"/>
                <a:gd name="connsiteX514" fmla="*/ 63409 w 2646254"/>
                <a:gd name="connsiteY514" fmla="*/ 603001 h 1250999"/>
                <a:gd name="connsiteX515" fmla="*/ 57556 w 2646254"/>
                <a:gd name="connsiteY515" fmla="*/ 628731 h 1250999"/>
                <a:gd name="connsiteX516" fmla="*/ 54874 w 2646254"/>
                <a:gd name="connsiteY516" fmla="*/ 640072 h 1250999"/>
                <a:gd name="connsiteX517" fmla="*/ 45728 w 2646254"/>
                <a:gd name="connsiteY517" fmla="*/ 710310 h 1250999"/>
                <a:gd name="connsiteX518" fmla="*/ 50606 w 2646254"/>
                <a:gd name="connsiteY518" fmla="*/ 740673 h 1250999"/>
                <a:gd name="connsiteX519" fmla="*/ 51825 w 2646254"/>
                <a:gd name="connsiteY519" fmla="*/ 747746 h 1250999"/>
                <a:gd name="connsiteX520" fmla="*/ 51825 w 2646254"/>
                <a:gd name="connsiteY520" fmla="*/ 747380 h 1250999"/>
                <a:gd name="connsiteX521" fmla="*/ 53288 w 2646254"/>
                <a:gd name="connsiteY521" fmla="*/ 796157 h 1250999"/>
                <a:gd name="connsiteX522" fmla="*/ 53288 w 2646254"/>
                <a:gd name="connsiteY522" fmla="*/ 797742 h 1250999"/>
                <a:gd name="connsiteX523" fmla="*/ 45850 w 2646254"/>
                <a:gd name="connsiteY523" fmla="*/ 828106 h 1250999"/>
                <a:gd name="connsiteX524" fmla="*/ 45240 w 2646254"/>
                <a:gd name="connsiteY524" fmla="*/ 830666 h 1250999"/>
                <a:gd name="connsiteX525" fmla="*/ 42923 w 2646254"/>
                <a:gd name="connsiteY525" fmla="*/ 831886 h 1250999"/>
                <a:gd name="connsiteX526" fmla="*/ 38777 w 2646254"/>
                <a:gd name="connsiteY526" fmla="*/ 834203 h 1250999"/>
                <a:gd name="connsiteX527" fmla="*/ 26583 w 2646254"/>
                <a:gd name="connsiteY527" fmla="*/ 841275 h 1250999"/>
                <a:gd name="connsiteX528" fmla="*/ 18901 w 2646254"/>
                <a:gd name="connsiteY528" fmla="*/ 861030 h 1250999"/>
                <a:gd name="connsiteX529" fmla="*/ 32680 w 2646254"/>
                <a:gd name="connsiteY529" fmla="*/ 873224 h 1250999"/>
                <a:gd name="connsiteX530" fmla="*/ 36095 w 2646254"/>
                <a:gd name="connsiteY530" fmla="*/ 876395 h 1250999"/>
                <a:gd name="connsiteX531" fmla="*/ 34022 w 2646254"/>
                <a:gd name="connsiteY531" fmla="*/ 880419 h 1250999"/>
                <a:gd name="connsiteX532" fmla="*/ 5609 w 2646254"/>
                <a:gd name="connsiteY532" fmla="*/ 937487 h 1250999"/>
                <a:gd name="connsiteX533" fmla="*/ 854 w 2646254"/>
                <a:gd name="connsiteY533" fmla="*/ 956632 h 1250999"/>
                <a:gd name="connsiteX534" fmla="*/ 0 w 2646254"/>
                <a:gd name="connsiteY534" fmla="*/ 960047 h 1250999"/>
                <a:gd name="connsiteX535" fmla="*/ 16096 w 2646254"/>
                <a:gd name="connsiteY535" fmla="*/ 975655 h 1250999"/>
                <a:gd name="connsiteX536" fmla="*/ 30851 w 2646254"/>
                <a:gd name="connsiteY536" fmla="*/ 989922 h 1250999"/>
                <a:gd name="connsiteX537" fmla="*/ 50484 w 2646254"/>
                <a:gd name="connsiteY537" fmla="*/ 1009311 h 1250999"/>
                <a:gd name="connsiteX538" fmla="*/ 52435 w 2646254"/>
                <a:gd name="connsiteY538" fmla="*/ 1009311 h 1250999"/>
                <a:gd name="connsiteX539" fmla="*/ 56703 w 2646254"/>
                <a:gd name="connsiteY539" fmla="*/ 1008335 h 1250999"/>
                <a:gd name="connsiteX540" fmla="*/ 59020 w 2646254"/>
                <a:gd name="connsiteY540" fmla="*/ 1011872 h 1250999"/>
                <a:gd name="connsiteX541" fmla="*/ 64385 w 2646254"/>
                <a:gd name="connsiteY541" fmla="*/ 1020042 h 1250999"/>
                <a:gd name="connsiteX542" fmla="*/ 68897 w 2646254"/>
                <a:gd name="connsiteY542" fmla="*/ 1016749 h 1250999"/>
                <a:gd name="connsiteX543" fmla="*/ 68897 w 2646254"/>
                <a:gd name="connsiteY543" fmla="*/ 1016749 h 1250999"/>
                <a:gd name="connsiteX544" fmla="*/ 67922 w 2646254"/>
                <a:gd name="connsiteY544" fmla="*/ 1005287 h 1250999"/>
                <a:gd name="connsiteX545" fmla="*/ 65483 w 2646254"/>
                <a:gd name="connsiteY545" fmla="*/ 1003458 h 1250999"/>
                <a:gd name="connsiteX546" fmla="*/ 56459 w 2646254"/>
                <a:gd name="connsiteY546" fmla="*/ 997117 h 1250999"/>
                <a:gd name="connsiteX547" fmla="*/ 53532 w 2646254"/>
                <a:gd name="connsiteY547" fmla="*/ 995044 h 1250999"/>
                <a:gd name="connsiteX548" fmla="*/ 53532 w 2646254"/>
                <a:gd name="connsiteY548" fmla="*/ 991507 h 1250999"/>
                <a:gd name="connsiteX549" fmla="*/ 54630 w 2646254"/>
                <a:gd name="connsiteY549" fmla="*/ 980045 h 1250999"/>
                <a:gd name="connsiteX550" fmla="*/ 54630 w 2646254"/>
                <a:gd name="connsiteY550" fmla="*/ 975777 h 1250999"/>
                <a:gd name="connsiteX551" fmla="*/ 58776 w 2646254"/>
                <a:gd name="connsiteY551" fmla="*/ 974679 h 1250999"/>
                <a:gd name="connsiteX552" fmla="*/ 66580 w 2646254"/>
                <a:gd name="connsiteY552" fmla="*/ 972728 h 1250999"/>
                <a:gd name="connsiteX553" fmla="*/ 67800 w 2646254"/>
                <a:gd name="connsiteY553" fmla="*/ 968948 h 1250999"/>
                <a:gd name="connsiteX554" fmla="*/ 62556 w 2646254"/>
                <a:gd name="connsiteY554" fmla="*/ 964558 h 1250999"/>
                <a:gd name="connsiteX555" fmla="*/ 59386 w 2646254"/>
                <a:gd name="connsiteY555" fmla="*/ 961876 h 1250999"/>
                <a:gd name="connsiteX556" fmla="*/ 60605 w 2646254"/>
                <a:gd name="connsiteY556" fmla="*/ 957852 h 1250999"/>
                <a:gd name="connsiteX557" fmla="*/ 62678 w 2646254"/>
                <a:gd name="connsiteY557" fmla="*/ 951754 h 1250999"/>
                <a:gd name="connsiteX558" fmla="*/ 63654 w 2646254"/>
                <a:gd name="connsiteY558" fmla="*/ 948828 h 1250999"/>
                <a:gd name="connsiteX559" fmla="*/ 66580 w 2646254"/>
                <a:gd name="connsiteY559" fmla="*/ 947852 h 1250999"/>
                <a:gd name="connsiteX560" fmla="*/ 74019 w 2646254"/>
                <a:gd name="connsiteY560" fmla="*/ 945413 h 1250999"/>
                <a:gd name="connsiteX561" fmla="*/ 67922 w 2646254"/>
                <a:gd name="connsiteY561" fmla="*/ 945413 h 1250999"/>
                <a:gd name="connsiteX562" fmla="*/ 61459 w 2646254"/>
                <a:gd name="connsiteY562" fmla="*/ 945413 h 1250999"/>
                <a:gd name="connsiteX563" fmla="*/ 61459 w 2646254"/>
                <a:gd name="connsiteY563" fmla="*/ 922123 h 1250999"/>
                <a:gd name="connsiteX564" fmla="*/ 66458 w 2646254"/>
                <a:gd name="connsiteY564" fmla="*/ 921269 h 1250999"/>
                <a:gd name="connsiteX565" fmla="*/ 89993 w 2646254"/>
                <a:gd name="connsiteY565" fmla="*/ 917367 h 1250999"/>
                <a:gd name="connsiteX566" fmla="*/ 107431 w 2646254"/>
                <a:gd name="connsiteY566" fmla="*/ 912611 h 1250999"/>
                <a:gd name="connsiteX567" fmla="*/ 120722 w 2646254"/>
                <a:gd name="connsiteY567" fmla="*/ 909075 h 1250999"/>
                <a:gd name="connsiteX568" fmla="*/ 173645 w 2646254"/>
                <a:gd name="connsiteY568" fmla="*/ 886760 h 1250999"/>
                <a:gd name="connsiteX569" fmla="*/ 196326 w 2646254"/>
                <a:gd name="connsiteY569" fmla="*/ 869322 h 1250999"/>
                <a:gd name="connsiteX570" fmla="*/ 197667 w 2646254"/>
                <a:gd name="connsiteY570" fmla="*/ 868224 h 1250999"/>
                <a:gd name="connsiteX571" fmla="*/ 199496 w 2646254"/>
                <a:gd name="connsiteY571" fmla="*/ 868224 h 1250999"/>
                <a:gd name="connsiteX572" fmla="*/ 223885 w 2646254"/>
                <a:gd name="connsiteY572" fmla="*/ 865542 h 1250999"/>
                <a:gd name="connsiteX573" fmla="*/ 225226 w 2646254"/>
                <a:gd name="connsiteY573" fmla="*/ 865542 h 1250999"/>
                <a:gd name="connsiteX574" fmla="*/ 251687 w 2646254"/>
                <a:gd name="connsiteY574" fmla="*/ 868224 h 1250999"/>
                <a:gd name="connsiteX575" fmla="*/ 252541 w 2646254"/>
                <a:gd name="connsiteY575" fmla="*/ 868224 h 1250999"/>
                <a:gd name="connsiteX576" fmla="*/ 253273 w 2646254"/>
                <a:gd name="connsiteY576" fmla="*/ 868224 h 1250999"/>
                <a:gd name="connsiteX577" fmla="*/ 266320 w 2646254"/>
                <a:gd name="connsiteY577" fmla="*/ 873346 h 1250999"/>
                <a:gd name="connsiteX578" fmla="*/ 268881 w 2646254"/>
                <a:gd name="connsiteY578" fmla="*/ 874443 h 1250999"/>
                <a:gd name="connsiteX579" fmla="*/ 269857 w 2646254"/>
                <a:gd name="connsiteY579" fmla="*/ 877126 h 1250999"/>
                <a:gd name="connsiteX580" fmla="*/ 276807 w 2646254"/>
                <a:gd name="connsiteY580" fmla="*/ 898100 h 1250999"/>
                <a:gd name="connsiteX581" fmla="*/ 288148 w 2646254"/>
                <a:gd name="connsiteY581" fmla="*/ 895052 h 1250999"/>
                <a:gd name="connsiteX582" fmla="*/ 290099 w 2646254"/>
                <a:gd name="connsiteY582" fmla="*/ 895052 h 1250999"/>
                <a:gd name="connsiteX583" fmla="*/ 292050 w 2646254"/>
                <a:gd name="connsiteY583" fmla="*/ 895783 h 1250999"/>
                <a:gd name="connsiteX584" fmla="*/ 299854 w 2646254"/>
                <a:gd name="connsiteY584" fmla="*/ 899076 h 1250999"/>
                <a:gd name="connsiteX585" fmla="*/ 317292 w 2646254"/>
                <a:gd name="connsiteY585" fmla="*/ 906392 h 1250999"/>
                <a:gd name="connsiteX586" fmla="*/ 320340 w 2646254"/>
                <a:gd name="connsiteY586" fmla="*/ 907734 h 1250999"/>
                <a:gd name="connsiteX587" fmla="*/ 320950 w 2646254"/>
                <a:gd name="connsiteY587" fmla="*/ 911026 h 1250999"/>
                <a:gd name="connsiteX588" fmla="*/ 322901 w 2646254"/>
                <a:gd name="connsiteY588" fmla="*/ 923220 h 1250999"/>
                <a:gd name="connsiteX589" fmla="*/ 340949 w 2646254"/>
                <a:gd name="connsiteY589" fmla="*/ 920050 h 1250999"/>
                <a:gd name="connsiteX590" fmla="*/ 345582 w 2646254"/>
                <a:gd name="connsiteY590" fmla="*/ 909441 h 1250999"/>
                <a:gd name="connsiteX591" fmla="*/ 345582 w 2646254"/>
                <a:gd name="connsiteY591" fmla="*/ 908587 h 1250999"/>
                <a:gd name="connsiteX592" fmla="*/ 346192 w 2646254"/>
                <a:gd name="connsiteY592" fmla="*/ 908587 h 1250999"/>
                <a:gd name="connsiteX593" fmla="*/ 355094 w 2646254"/>
                <a:gd name="connsiteY593" fmla="*/ 898222 h 1250999"/>
                <a:gd name="connsiteX594" fmla="*/ 357289 w 2646254"/>
                <a:gd name="connsiteY594" fmla="*/ 895905 h 1250999"/>
                <a:gd name="connsiteX595" fmla="*/ 360337 w 2646254"/>
                <a:gd name="connsiteY595" fmla="*/ 895905 h 1250999"/>
                <a:gd name="connsiteX596" fmla="*/ 374483 w 2646254"/>
                <a:gd name="connsiteY596" fmla="*/ 897490 h 1250999"/>
                <a:gd name="connsiteX597" fmla="*/ 382897 w 2646254"/>
                <a:gd name="connsiteY597" fmla="*/ 898344 h 1250999"/>
                <a:gd name="connsiteX598" fmla="*/ 388384 w 2646254"/>
                <a:gd name="connsiteY598" fmla="*/ 898954 h 1250999"/>
                <a:gd name="connsiteX599" fmla="*/ 388384 w 2646254"/>
                <a:gd name="connsiteY599" fmla="*/ 916269 h 1250999"/>
                <a:gd name="connsiteX600" fmla="*/ 394725 w 2646254"/>
                <a:gd name="connsiteY600" fmla="*/ 935292 h 1250999"/>
                <a:gd name="connsiteX601" fmla="*/ 419113 w 2646254"/>
                <a:gd name="connsiteY601" fmla="*/ 950535 h 1250999"/>
                <a:gd name="connsiteX602" fmla="*/ 422528 w 2646254"/>
                <a:gd name="connsiteY602" fmla="*/ 952608 h 1250999"/>
                <a:gd name="connsiteX603" fmla="*/ 424235 w 2646254"/>
                <a:gd name="connsiteY603" fmla="*/ 953706 h 1250999"/>
                <a:gd name="connsiteX604" fmla="*/ 424967 w 2646254"/>
                <a:gd name="connsiteY604" fmla="*/ 955535 h 1250999"/>
                <a:gd name="connsiteX605" fmla="*/ 434478 w 2646254"/>
                <a:gd name="connsiteY605" fmla="*/ 978582 h 1250999"/>
                <a:gd name="connsiteX606" fmla="*/ 435088 w 2646254"/>
                <a:gd name="connsiteY606" fmla="*/ 979557 h 1250999"/>
                <a:gd name="connsiteX607" fmla="*/ 451672 w 2646254"/>
                <a:gd name="connsiteY607" fmla="*/ 1009067 h 1250999"/>
                <a:gd name="connsiteX608" fmla="*/ 524837 w 2646254"/>
                <a:gd name="connsiteY608" fmla="*/ 1009067 h 1250999"/>
                <a:gd name="connsiteX609" fmla="*/ 526666 w 2646254"/>
                <a:gd name="connsiteY609" fmla="*/ 1011262 h 1250999"/>
                <a:gd name="connsiteX610" fmla="*/ 554590 w 2646254"/>
                <a:gd name="connsiteY610" fmla="*/ 1044308 h 1250999"/>
                <a:gd name="connsiteX611" fmla="*/ 556420 w 2646254"/>
                <a:gd name="connsiteY611" fmla="*/ 1046503 h 1250999"/>
                <a:gd name="connsiteX612" fmla="*/ 568614 w 2646254"/>
                <a:gd name="connsiteY612" fmla="*/ 1049796 h 1250999"/>
                <a:gd name="connsiteX613" fmla="*/ 594100 w 2646254"/>
                <a:gd name="connsiteY613" fmla="*/ 1057112 h 1250999"/>
                <a:gd name="connsiteX614" fmla="*/ 597392 w 2646254"/>
                <a:gd name="connsiteY614" fmla="*/ 1058088 h 1250999"/>
                <a:gd name="connsiteX615" fmla="*/ 598368 w 2646254"/>
                <a:gd name="connsiteY615" fmla="*/ 1061380 h 1250999"/>
                <a:gd name="connsiteX616" fmla="*/ 600075 w 2646254"/>
                <a:gd name="connsiteY616" fmla="*/ 1067233 h 1250999"/>
                <a:gd name="connsiteX617" fmla="*/ 600075 w 2646254"/>
                <a:gd name="connsiteY617" fmla="*/ 1067233 h 1250999"/>
                <a:gd name="connsiteX618" fmla="*/ 605562 w 2646254"/>
                <a:gd name="connsiteY618" fmla="*/ 1058575 h 1250999"/>
                <a:gd name="connsiteX619" fmla="*/ 606903 w 2646254"/>
                <a:gd name="connsiteY619" fmla="*/ 1056380 h 1250999"/>
                <a:gd name="connsiteX620" fmla="*/ 609464 w 2646254"/>
                <a:gd name="connsiteY620" fmla="*/ 1056380 h 1250999"/>
                <a:gd name="connsiteX621" fmla="*/ 626536 w 2646254"/>
                <a:gd name="connsiteY621" fmla="*/ 1052844 h 1250999"/>
                <a:gd name="connsiteX622" fmla="*/ 641169 w 2646254"/>
                <a:gd name="connsiteY622" fmla="*/ 1049796 h 1250999"/>
                <a:gd name="connsiteX623" fmla="*/ 655314 w 2646254"/>
                <a:gd name="connsiteY623" fmla="*/ 1030529 h 1250999"/>
                <a:gd name="connsiteX624" fmla="*/ 656899 w 2646254"/>
                <a:gd name="connsiteY624" fmla="*/ 1028456 h 1250999"/>
                <a:gd name="connsiteX625" fmla="*/ 659460 w 2646254"/>
                <a:gd name="connsiteY625" fmla="*/ 1028456 h 1250999"/>
                <a:gd name="connsiteX626" fmla="*/ 668606 w 2646254"/>
                <a:gd name="connsiteY626" fmla="*/ 1027358 h 1250999"/>
                <a:gd name="connsiteX627" fmla="*/ 674337 w 2646254"/>
                <a:gd name="connsiteY627" fmla="*/ 1022115 h 1250999"/>
                <a:gd name="connsiteX628" fmla="*/ 682751 w 2646254"/>
                <a:gd name="connsiteY628" fmla="*/ 1014554 h 1250999"/>
                <a:gd name="connsiteX629" fmla="*/ 684458 w 2646254"/>
                <a:gd name="connsiteY629" fmla="*/ 1012969 h 1250999"/>
                <a:gd name="connsiteX630" fmla="*/ 699579 w 2646254"/>
                <a:gd name="connsiteY630" fmla="*/ 1012969 h 1250999"/>
                <a:gd name="connsiteX631" fmla="*/ 701042 w 2646254"/>
                <a:gd name="connsiteY631" fmla="*/ 1013945 h 1250999"/>
                <a:gd name="connsiteX632" fmla="*/ 716407 w 2646254"/>
                <a:gd name="connsiteY632" fmla="*/ 1024188 h 1250999"/>
                <a:gd name="connsiteX633" fmla="*/ 732503 w 2646254"/>
                <a:gd name="connsiteY633" fmla="*/ 1022968 h 1250999"/>
                <a:gd name="connsiteX634" fmla="*/ 735308 w 2646254"/>
                <a:gd name="connsiteY634" fmla="*/ 1022968 h 1250999"/>
                <a:gd name="connsiteX635" fmla="*/ 737259 w 2646254"/>
                <a:gd name="connsiteY635" fmla="*/ 1024919 h 1250999"/>
                <a:gd name="connsiteX636" fmla="*/ 759574 w 2646254"/>
                <a:gd name="connsiteY636" fmla="*/ 1047235 h 1250999"/>
                <a:gd name="connsiteX637" fmla="*/ 762257 w 2646254"/>
                <a:gd name="connsiteY637" fmla="*/ 1047235 h 1250999"/>
                <a:gd name="connsiteX638" fmla="*/ 762989 w 2646254"/>
                <a:gd name="connsiteY638" fmla="*/ 1045162 h 1250999"/>
                <a:gd name="connsiteX639" fmla="*/ 764940 w 2646254"/>
                <a:gd name="connsiteY639" fmla="*/ 1039796 h 1250999"/>
                <a:gd name="connsiteX640" fmla="*/ 766525 w 2646254"/>
                <a:gd name="connsiteY640" fmla="*/ 1035894 h 1250999"/>
                <a:gd name="connsiteX641" fmla="*/ 788352 w 2646254"/>
                <a:gd name="connsiteY641" fmla="*/ 1035894 h 1250999"/>
                <a:gd name="connsiteX642" fmla="*/ 789084 w 2646254"/>
                <a:gd name="connsiteY642" fmla="*/ 1041138 h 1250999"/>
                <a:gd name="connsiteX643" fmla="*/ 789694 w 2646254"/>
                <a:gd name="connsiteY643" fmla="*/ 1045406 h 1250999"/>
                <a:gd name="connsiteX644" fmla="*/ 800912 w 2646254"/>
                <a:gd name="connsiteY644" fmla="*/ 1044064 h 1250999"/>
                <a:gd name="connsiteX645" fmla="*/ 808229 w 2646254"/>
                <a:gd name="connsiteY645" fmla="*/ 1043333 h 1250999"/>
                <a:gd name="connsiteX646" fmla="*/ 809204 w 2646254"/>
                <a:gd name="connsiteY646" fmla="*/ 1036138 h 1250999"/>
                <a:gd name="connsiteX647" fmla="*/ 810546 w 2646254"/>
                <a:gd name="connsiteY647" fmla="*/ 1026261 h 1250999"/>
                <a:gd name="connsiteX648" fmla="*/ 806400 w 2646254"/>
                <a:gd name="connsiteY648" fmla="*/ 1017359 h 1250999"/>
                <a:gd name="connsiteX649" fmla="*/ 803107 w 2646254"/>
                <a:gd name="connsiteY649" fmla="*/ 1010286 h 1250999"/>
                <a:gd name="connsiteX650" fmla="*/ 801278 w 2646254"/>
                <a:gd name="connsiteY650" fmla="*/ 1006262 h 1250999"/>
                <a:gd name="connsiteX651" fmla="*/ 804571 w 2646254"/>
                <a:gd name="connsiteY651" fmla="*/ 1003214 h 1250999"/>
                <a:gd name="connsiteX652" fmla="*/ 818594 w 2646254"/>
                <a:gd name="connsiteY652" fmla="*/ 991020 h 1250999"/>
                <a:gd name="connsiteX653" fmla="*/ 822740 w 2646254"/>
                <a:gd name="connsiteY653" fmla="*/ 985288 h 1250999"/>
                <a:gd name="connsiteX654" fmla="*/ 828959 w 2646254"/>
                <a:gd name="connsiteY654" fmla="*/ 976752 h 1250999"/>
                <a:gd name="connsiteX655" fmla="*/ 831520 w 2646254"/>
                <a:gd name="connsiteY655" fmla="*/ 973338 h 1250999"/>
                <a:gd name="connsiteX656" fmla="*/ 835544 w 2646254"/>
                <a:gd name="connsiteY656" fmla="*/ 974558 h 1250999"/>
                <a:gd name="connsiteX657" fmla="*/ 856274 w 2646254"/>
                <a:gd name="connsiteY657" fmla="*/ 980411 h 1250999"/>
                <a:gd name="connsiteX658" fmla="*/ 883101 w 2646254"/>
                <a:gd name="connsiteY658" fmla="*/ 988093 h 1250999"/>
                <a:gd name="connsiteX659" fmla="*/ 885052 w 2646254"/>
                <a:gd name="connsiteY659" fmla="*/ 988703 h 1250999"/>
                <a:gd name="connsiteX660" fmla="*/ 886394 w 2646254"/>
                <a:gd name="connsiteY660" fmla="*/ 990410 h 1250999"/>
                <a:gd name="connsiteX661" fmla="*/ 904197 w 2646254"/>
                <a:gd name="connsiteY661" fmla="*/ 1014798 h 1250999"/>
                <a:gd name="connsiteX662" fmla="*/ 918220 w 2646254"/>
                <a:gd name="connsiteY662" fmla="*/ 1033943 h 1250999"/>
                <a:gd name="connsiteX663" fmla="*/ 930414 w 2646254"/>
                <a:gd name="connsiteY663" fmla="*/ 1029309 h 1250999"/>
                <a:gd name="connsiteX664" fmla="*/ 952974 w 2646254"/>
                <a:gd name="connsiteY664" fmla="*/ 1021017 h 1250999"/>
                <a:gd name="connsiteX665" fmla="*/ 954925 w 2646254"/>
                <a:gd name="connsiteY665" fmla="*/ 1020286 h 1250999"/>
                <a:gd name="connsiteX666" fmla="*/ 956876 w 2646254"/>
                <a:gd name="connsiteY666" fmla="*/ 1020286 h 1250999"/>
                <a:gd name="connsiteX667" fmla="*/ 983947 w 2646254"/>
                <a:gd name="connsiteY667" fmla="*/ 1028334 h 1250999"/>
                <a:gd name="connsiteX668" fmla="*/ 1007604 w 2646254"/>
                <a:gd name="connsiteY668" fmla="*/ 1035406 h 1250999"/>
                <a:gd name="connsiteX669" fmla="*/ 1010530 w 2646254"/>
                <a:gd name="connsiteY669" fmla="*/ 1036260 h 1250999"/>
                <a:gd name="connsiteX670" fmla="*/ 1011628 w 2646254"/>
                <a:gd name="connsiteY670" fmla="*/ 1039065 h 1250999"/>
                <a:gd name="connsiteX671" fmla="*/ 1014920 w 2646254"/>
                <a:gd name="connsiteY671" fmla="*/ 1047722 h 1250999"/>
                <a:gd name="connsiteX672" fmla="*/ 1023334 w 2646254"/>
                <a:gd name="connsiteY672" fmla="*/ 1051015 h 1250999"/>
                <a:gd name="connsiteX673" fmla="*/ 1038455 w 2646254"/>
                <a:gd name="connsiteY673" fmla="*/ 1056868 h 1250999"/>
                <a:gd name="connsiteX674" fmla="*/ 1039308 w 2646254"/>
                <a:gd name="connsiteY674" fmla="*/ 1056868 h 1250999"/>
                <a:gd name="connsiteX675" fmla="*/ 1040162 w 2646254"/>
                <a:gd name="connsiteY675" fmla="*/ 1056868 h 1250999"/>
                <a:gd name="connsiteX676" fmla="*/ 1046869 w 2646254"/>
                <a:gd name="connsiteY676" fmla="*/ 1062599 h 1250999"/>
                <a:gd name="connsiteX677" fmla="*/ 1074549 w 2646254"/>
                <a:gd name="connsiteY677" fmla="*/ 1057356 h 1250999"/>
                <a:gd name="connsiteX678" fmla="*/ 1076135 w 2646254"/>
                <a:gd name="connsiteY678" fmla="*/ 1057356 h 1250999"/>
                <a:gd name="connsiteX679" fmla="*/ 1095767 w 2646254"/>
                <a:gd name="connsiteY679" fmla="*/ 1058697 h 1250999"/>
                <a:gd name="connsiteX680" fmla="*/ 1104547 w 2646254"/>
                <a:gd name="connsiteY680" fmla="*/ 1052966 h 1250999"/>
                <a:gd name="connsiteX681" fmla="*/ 1117961 w 2646254"/>
                <a:gd name="connsiteY681" fmla="*/ 1044308 h 1250999"/>
                <a:gd name="connsiteX682" fmla="*/ 1125155 w 2646254"/>
                <a:gd name="connsiteY682" fmla="*/ 1032114 h 1250999"/>
                <a:gd name="connsiteX683" fmla="*/ 1126740 w 2646254"/>
                <a:gd name="connsiteY683" fmla="*/ 1029431 h 1250999"/>
                <a:gd name="connsiteX684" fmla="*/ 1128814 w 2646254"/>
                <a:gd name="connsiteY684" fmla="*/ 1025895 h 1250999"/>
                <a:gd name="connsiteX685" fmla="*/ 1132960 w 2646254"/>
                <a:gd name="connsiteY685" fmla="*/ 1025895 h 1250999"/>
                <a:gd name="connsiteX686" fmla="*/ 1148080 w 2646254"/>
                <a:gd name="connsiteY686" fmla="*/ 1028456 h 1250999"/>
                <a:gd name="connsiteX687" fmla="*/ 1149543 w 2646254"/>
                <a:gd name="connsiteY687" fmla="*/ 1028456 h 1250999"/>
                <a:gd name="connsiteX688" fmla="*/ 1150885 w 2646254"/>
                <a:gd name="connsiteY688" fmla="*/ 1029431 h 1250999"/>
                <a:gd name="connsiteX689" fmla="*/ 1152592 w 2646254"/>
                <a:gd name="connsiteY689" fmla="*/ 1030895 h 1250999"/>
                <a:gd name="connsiteX690" fmla="*/ 1170395 w 2646254"/>
                <a:gd name="connsiteY690" fmla="*/ 1045040 h 1250999"/>
                <a:gd name="connsiteX691" fmla="*/ 1181005 w 2646254"/>
                <a:gd name="connsiteY691" fmla="*/ 1043820 h 1250999"/>
                <a:gd name="connsiteX692" fmla="*/ 1188199 w 2646254"/>
                <a:gd name="connsiteY692" fmla="*/ 1042967 h 1250999"/>
                <a:gd name="connsiteX693" fmla="*/ 1190028 w 2646254"/>
                <a:gd name="connsiteY693" fmla="*/ 1042967 h 1250999"/>
                <a:gd name="connsiteX694" fmla="*/ 1191613 w 2646254"/>
                <a:gd name="connsiteY694" fmla="*/ 1039796 h 1250999"/>
                <a:gd name="connsiteX695" fmla="*/ 1194052 w 2646254"/>
                <a:gd name="connsiteY695" fmla="*/ 1042479 h 1250999"/>
                <a:gd name="connsiteX696" fmla="*/ 1199540 w 2646254"/>
                <a:gd name="connsiteY696" fmla="*/ 1041747 h 1250999"/>
                <a:gd name="connsiteX697" fmla="*/ 1197345 w 2646254"/>
                <a:gd name="connsiteY697" fmla="*/ 1045893 h 1250999"/>
                <a:gd name="connsiteX698" fmla="*/ 1197345 w 2646254"/>
                <a:gd name="connsiteY698" fmla="*/ 1045893 h 1250999"/>
                <a:gd name="connsiteX699" fmla="*/ 1203564 w 2646254"/>
                <a:gd name="connsiteY699" fmla="*/ 1052478 h 1250999"/>
                <a:gd name="connsiteX700" fmla="*/ 1216490 w 2646254"/>
                <a:gd name="connsiteY700" fmla="*/ 1043698 h 1250999"/>
                <a:gd name="connsiteX701" fmla="*/ 1230025 w 2646254"/>
                <a:gd name="connsiteY701" fmla="*/ 1034553 h 1250999"/>
                <a:gd name="connsiteX702" fmla="*/ 1229415 w 2646254"/>
                <a:gd name="connsiteY702" fmla="*/ 1027114 h 1250999"/>
                <a:gd name="connsiteX703" fmla="*/ 1229415 w 2646254"/>
                <a:gd name="connsiteY703" fmla="*/ 1021139 h 1250999"/>
                <a:gd name="connsiteX704" fmla="*/ 1229415 w 2646254"/>
                <a:gd name="connsiteY704" fmla="*/ 1017237 h 1250999"/>
                <a:gd name="connsiteX705" fmla="*/ 1232830 w 2646254"/>
                <a:gd name="connsiteY705" fmla="*/ 1015408 h 1250999"/>
                <a:gd name="connsiteX706" fmla="*/ 1240146 w 2646254"/>
                <a:gd name="connsiteY706" fmla="*/ 1011140 h 1250999"/>
                <a:gd name="connsiteX707" fmla="*/ 1241488 w 2646254"/>
                <a:gd name="connsiteY707" fmla="*/ 1006994 h 1250999"/>
                <a:gd name="connsiteX708" fmla="*/ 1248072 w 2646254"/>
                <a:gd name="connsiteY708" fmla="*/ 984923 h 1250999"/>
                <a:gd name="connsiteX709" fmla="*/ 1248072 w 2646254"/>
                <a:gd name="connsiteY709" fmla="*/ 983093 h 1250999"/>
                <a:gd name="connsiteX710" fmla="*/ 1249657 w 2646254"/>
                <a:gd name="connsiteY710" fmla="*/ 981874 h 1250999"/>
                <a:gd name="connsiteX711" fmla="*/ 1258316 w 2646254"/>
                <a:gd name="connsiteY711" fmla="*/ 974923 h 1250999"/>
                <a:gd name="connsiteX712" fmla="*/ 1261974 w 2646254"/>
                <a:gd name="connsiteY712" fmla="*/ 972119 h 1250999"/>
                <a:gd name="connsiteX713" fmla="*/ 1262827 w 2646254"/>
                <a:gd name="connsiteY713" fmla="*/ 962973 h 1250999"/>
                <a:gd name="connsiteX714" fmla="*/ 1257584 w 2646254"/>
                <a:gd name="connsiteY714" fmla="*/ 962973 h 1250999"/>
                <a:gd name="connsiteX715" fmla="*/ 1245390 w 2646254"/>
                <a:gd name="connsiteY715" fmla="*/ 964192 h 1250999"/>
                <a:gd name="connsiteX716" fmla="*/ 1251853 w 2646254"/>
                <a:gd name="connsiteY716" fmla="*/ 953706 h 1250999"/>
                <a:gd name="connsiteX717" fmla="*/ 1263315 w 2646254"/>
                <a:gd name="connsiteY717" fmla="*/ 934926 h 1250999"/>
                <a:gd name="connsiteX718" fmla="*/ 1268924 w 2646254"/>
                <a:gd name="connsiteY718" fmla="*/ 925659 h 1250999"/>
                <a:gd name="connsiteX719" fmla="*/ 1270510 w 2646254"/>
                <a:gd name="connsiteY719" fmla="*/ 923098 h 1250999"/>
                <a:gd name="connsiteX720" fmla="*/ 1273314 w 2646254"/>
                <a:gd name="connsiteY720" fmla="*/ 923098 h 1250999"/>
                <a:gd name="connsiteX721" fmla="*/ 1292459 w 2646254"/>
                <a:gd name="connsiteY721" fmla="*/ 920781 h 1250999"/>
                <a:gd name="connsiteX722" fmla="*/ 1316847 w 2646254"/>
                <a:gd name="connsiteY722" fmla="*/ 917611 h 1250999"/>
                <a:gd name="connsiteX723" fmla="*/ 1318189 w 2646254"/>
                <a:gd name="connsiteY723" fmla="*/ 917611 h 1250999"/>
                <a:gd name="connsiteX724" fmla="*/ 1319408 w 2646254"/>
                <a:gd name="connsiteY724" fmla="*/ 917611 h 1250999"/>
                <a:gd name="connsiteX725" fmla="*/ 1322701 w 2646254"/>
                <a:gd name="connsiteY725" fmla="*/ 918708 h 1250999"/>
                <a:gd name="connsiteX726" fmla="*/ 1349893 w 2646254"/>
                <a:gd name="connsiteY726" fmla="*/ 927366 h 1250999"/>
                <a:gd name="connsiteX727" fmla="*/ 1362088 w 2646254"/>
                <a:gd name="connsiteY727" fmla="*/ 929805 h 1250999"/>
                <a:gd name="connsiteX728" fmla="*/ 1369770 w 2646254"/>
                <a:gd name="connsiteY728" fmla="*/ 931390 h 1250999"/>
                <a:gd name="connsiteX729" fmla="*/ 1372575 w 2646254"/>
                <a:gd name="connsiteY729" fmla="*/ 931390 h 1250999"/>
                <a:gd name="connsiteX730" fmla="*/ 1374038 w 2646254"/>
                <a:gd name="connsiteY730" fmla="*/ 933951 h 1250999"/>
                <a:gd name="connsiteX731" fmla="*/ 1383915 w 2646254"/>
                <a:gd name="connsiteY731" fmla="*/ 953096 h 1250999"/>
                <a:gd name="connsiteX732" fmla="*/ 1391720 w 2646254"/>
                <a:gd name="connsiteY732" fmla="*/ 968095 h 1250999"/>
                <a:gd name="connsiteX733" fmla="*/ 1392329 w 2646254"/>
                <a:gd name="connsiteY733" fmla="*/ 969192 h 1250999"/>
                <a:gd name="connsiteX734" fmla="*/ 1392329 w 2646254"/>
                <a:gd name="connsiteY734" fmla="*/ 970290 h 1250999"/>
                <a:gd name="connsiteX735" fmla="*/ 1393671 w 2646254"/>
                <a:gd name="connsiteY735" fmla="*/ 984801 h 1250999"/>
                <a:gd name="connsiteX736" fmla="*/ 1402084 w 2646254"/>
                <a:gd name="connsiteY736" fmla="*/ 1002726 h 1250999"/>
                <a:gd name="connsiteX737" fmla="*/ 1407328 w 2646254"/>
                <a:gd name="connsiteY737" fmla="*/ 1013701 h 1250999"/>
                <a:gd name="connsiteX738" fmla="*/ 1407328 w 2646254"/>
                <a:gd name="connsiteY738" fmla="*/ 1014432 h 1250999"/>
                <a:gd name="connsiteX739" fmla="*/ 1407328 w 2646254"/>
                <a:gd name="connsiteY739" fmla="*/ 1015408 h 1250999"/>
                <a:gd name="connsiteX740" fmla="*/ 1411108 w 2646254"/>
                <a:gd name="connsiteY740" fmla="*/ 1039796 h 1250999"/>
                <a:gd name="connsiteX741" fmla="*/ 1426107 w 2646254"/>
                <a:gd name="connsiteY741" fmla="*/ 1040894 h 1250999"/>
                <a:gd name="connsiteX742" fmla="*/ 1426961 w 2646254"/>
                <a:gd name="connsiteY742" fmla="*/ 1040894 h 1250999"/>
                <a:gd name="connsiteX743" fmla="*/ 1427814 w 2646254"/>
                <a:gd name="connsiteY743" fmla="*/ 1040894 h 1250999"/>
                <a:gd name="connsiteX744" fmla="*/ 1445496 w 2646254"/>
                <a:gd name="connsiteY744" fmla="*/ 1047722 h 1250999"/>
                <a:gd name="connsiteX745" fmla="*/ 1446715 w 2646254"/>
                <a:gd name="connsiteY745" fmla="*/ 1047722 h 1250999"/>
                <a:gd name="connsiteX746" fmla="*/ 1447691 w 2646254"/>
                <a:gd name="connsiteY746" fmla="*/ 1048698 h 1250999"/>
                <a:gd name="connsiteX747" fmla="*/ 1459885 w 2646254"/>
                <a:gd name="connsiteY747" fmla="*/ 1060892 h 1250999"/>
                <a:gd name="connsiteX748" fmla="*/ 1471103 w 2646254"/>
                <a:gd name="connsiteY748" fmla="*/ 1072111 h 1250999"/>
                <a:gd name="connsiteX749" fmla="*/ 1472201 w 2646254"/>
                <a:gd name="connsiteY749" fmla="*/ 1073208 h 1250999"/>
                <a:gd name="connsiteX750" fmla="*/ 1472201 w 2646254"/>
                <a:gd name="connsiteY750" fmla="*/ 1074672 h 1250999"/>
                <a:gd name="connsiteX751" fmla="*/ 1476103 w 2646254"/>
                <a:gd name="connsiteY751" fmla="*/ 1086866 h 1250999"/>
                <a:gd name="connsiteX752" fmla="*/ 1479639 w 2646254"/>
                <a:gd name="connsiteY752" fmla="*/ 1099060 h 1250999"/>
                <a:gd name="connsiteX753" fmla="*/ 1491224 w 2646254"/>
                <a:gd name="connsiteY753" fmla="*/ 1097963 h 1250999"/>
                <a:gd name="connsiteX754" fmla="*/ 1499882 w 2646254"/>
                <a:gd name="connsiteY754" fmla="*/ 1092963 h 1250999"/>
                <a:gd name="connsiteX755" fmla="*/ 1501101 w 2646254"/>
                <a:gd name="connsiteY755" fmla="*/ 1092231 h 1250999"/>
                <a:gd name="connsiteX756" fmla="*/ 1504394 w 2646254"/>
                <a:gd name="connsiteY756" fmla="*/ 1092231 h 1250999"/>
                <a:gd name="connsiteX757" fmla="*/ 1514759 w 2646254"/>
                <a:gd name="connsiteY757" fmla="*/ 1091500 h 1250999"/>
                <a:gd name="connsiteX758" fmla="*/ 1522685 w 2646254"/>
                <a:gd name="connsiteY758" fmla="*/ 1091500 h 1250999"/>
                <a:gd name="connsiteX759" fmla="*/ 1543781 w 2646254"/>
                <a:gd name="connsiteY759" fmla="*/ 1078330 h 1250999"/>
                <a:gd name="connsiteX760" fmla="*/ 1546220 w 2646254"/>
                <a:gd name="connsiteY760" fmla="*/ 1076867 h 1250999"/>
                <a:gd name="connsiteX761" fmla="*/ 1548902 w 2646254"/>
                <a:gd name="connsiteY761" fmla="*/ 1077720 h 1250999"/>
                <a:gd name="connsiteX762" fmla="*/ 1554756 w 2646254"/>
                <a:gd name="connsiteY762" fmla="*/ 1079671 h 1250999"/>
                <a:gd name="connsiteX763" fmla="*/ 1559755 w 2646254"/>
                <a:gd name="connsiteY763" fmla="*/ 1081378 h 1250999"/>
                <a:gd name="connsiteX764" fmla="*/ 1558779 w 2646254"/>
                <a:gd name="connsiteY764" fmla="*/ 1086622 h 1250999"/>
                <a:gd name="connsiteX765" fmla="*/ 1552195 w 2646254"/>
                <a:gd name="connsiteY765" fmla="*/ 1122229 h 1250999"/>
                <a:gd name="connsiteX766" fmla="*/ 1552195 w 2646254"/>
                <a:gd name="connsiteY766" fmla="*/ 1124546 h 1250999"/>
                <a:gd name="connsiteX767" fmla="*/ 1550244 w 2646254"/>
                <a:gd name="connsiteY767" fmla="*/ 1126009 h 1250999"/>
                <a:gd name="connsiteX768" fmla="*/ 1549512 w 2646254"/>
                <a:gd name="connsiteY768" fmla="*/ 1126009 h 1250999"/>
                <a:gd name="connsiteX769" fmla="*/ 1536586 w 2646254"/>
                <a:gd name="connsiteY769" fmla="*/ 1135521 h 1250999"/>
                <a:gd name="connsiteX770" fmla="*/ 1533660 w 2646254"/>
                <a:gd name="connsiteY770" fmla="*/ 1147715 h 1250999"/>
                <a:gd name="connsiteX771" fmla="*/ 1527197 w 2646254"/>
                <a:gd name="connsiteY771" fmla="*/ 1176493 h 1250999"/>
                <a:gd name="connsiteX772" fmla="*/ 1526465 w 2646254"/>
                <a:gd name="connsiteY772" fmla="*/ 1179663 h 1250999"/>
                <a:gd name="connsiteX773" fmla="*/ 1523660 w 2646254"/>
                <a:gd name="connsiteY773" fmla="*/ 1180883 h 1250999"/>
                <a:gd name="connsiteX774" fmla="*/ 1508296 w 2646254"/>
                <a:gd name="connsiteY774" fmla="*/ 1187224 h 1250999"/>
                <a:gd name="connsiteX775" fmla="*/ 1506345 w 2646254"/>
                <a:gd name="connsiteY775" fmla="*/ 1188077 h 1250999"/>
                <a:gd name="connsiteX776" fmla="*/ 1504272 w 2646254"/>
                <a:gd name="connsiteY776" fmla="*/ 1188077 h 1250999"/>
                <a:gd name="connsiteX777" fmla="*/ 1490736 w 2646254"/>
                <a:gd name="connsiteY777" fmla="*/ 1184419 h 1250999"/>
                <a:gd name="connsiteX778" fmla="*/ 1478542 w 2646254"/>
                <a:gd name="connsiteY778" fmla="*/ 1189541 h 1250999"/>
                <a:gd name="connsiteX779" fmla="*/ 1481346 w 2646254"/>
                <a:gd name="connsiteY779" fmla="*/ 1197833 h 1250999"/>
                <a:gd name="connsiteX780" fmla="*/ 1485737 w 2646254"/>
                <a:gd name="connsiteY780" fmla="*/ 1211124 h 1250999"/>
                <a:gd name="connsiteX781" fmla="*/ 1485737 w 2646254"/>
                <a:gd name="connsiteY781" fmla="*/ 1212344 h 1250999"/>
                <a:gd name="connsiteX782" fmla="*/ 1485737 w 2646254"/>
                <a:gd name="connsiteY782" fmla="*/ 1213807 h 1250999"/>
                <a:gd name="connsiteX783" fmla="*/ 1483054 w 2646254"/>
                <a:gd name="connsiteY783" fmla="*/ 1234537 h 1250999"/>
                <a:gd name="connsiteX784" fmla="*/ 1483054 w 2646254"/>
                <a:gd name="connsiteY784" fmla="*/ 1238561 h 1250999"/>
                <a:gd name="connsiteX785" fmla="*/ 1479274 w 2646254"/>
                <a:gd name="connsiteY785" fmla="*/ 1239659 h 1250999"/>
                <a:gd name="connsiteX786" fmla="*/ 1463299 w 2646254"/>
                <a:gd name="connsiteY786" fmla="*/ 1244536 h 1250999"/>
                <a:gd name="connsiteX787" fmla="*/ 1466104 w 2646254"/>
                <a:gd name="connsiteY787" fmla="*/ 1246365 h 1250999"/>
                <a:gd name="connsiteX788" fmla="*/ 1470250 w 2646254"/>
                <a:gd name="connsiteY788" fmla="*/ 1249170 h 1250999"/>
                <a:gd name="connsiteX789" fmla="*/ 1472811 w 2646254"/>
                <a:gd name="connsiteY789" fmla="*/ 1250999 h 1250999"/>
                <a:gd name="connsiteX790" fmla="*/ 1482566 w 2646254"/>
                <a:gd name="connsiteY790" fmla="*/ 1248317 h 1250999"/>
                <a:gd name="connsiteX791" fmla="*/ 1485249 w 2646254"/>
                <a:gd name="connsiteY791" fmla="*/ 1240268 h 1250999"/>
                <a:gd name="connsiteX792" fmla="*/ 1493419 w 2646254"/>
                <a:gd name="connsiteY792" fmla="*/ 1234415 h 1250999"/>
                <a:gd name="connsiteX793" fmla="*/ 1504637 w 2646254"/>
                <a:gd name="connsiteY793" fmla="*/ 1240024 h 1250999"/>
                <a:gd name="connsiteX794" fmla="*/ 1507198 w 2646254"/>
                <a:gd name="connsiteY794" fmla="*/ 1244292 h 1250999"/>
                <a:gd name="connsiteX795" fmla="*/ 1519393 w 2646254"/>
                <a:gd name="connsiteY795" fmla="*/ 1245268 h 1250999"/>
                <a:gd name="connsiteX796" fmla="*/ 1524880 w 2646254"/>
                <a:gd name="connsiteY796" fmla="*/ 1248438 h 1250999"/>
                <a:gd name="connsiteX797" fmla="*/ 1533538 w 2646254"/>
                <a:gd name="connsiteY797" fmla="*/ 1238805 h 1250999"/>
                <a:gd name="connsiteX798" fmla="*/ 1555121 w 2646254"/>
                <a:gd name="connsiteY798" fmla="*/ 1231367 h 1250999"/>
                <a:gd name="connsiteX799" fmla="*/ 1575851 w 2646254"/>
                <a:gd name="connsiteY799" fmla="*/ 1197589 h 1250999"/>
                <a:gd name="connsiteX800" fmla="*/ 1592801 w 2646254"/>
                <a:gd name="connsiteY800" fmla="*/ 1179663 h 1250999"/>
                <a:gd name="connsiteX801" fmla="*/ 1610361 w 2646254"/>
                <a:gd name="connsiteY801" fmla="*/ 1163079 h 1250999"/>
                <a:gd name="connsiteX802" fmla="*/ 1613166 w 2646254"/>
                <a:gd name="connsiteY802" fmla="*/ 1140764 h 1250999"/>
                <a:gd name="connsiteX803" fmla="*/ 1624018 w 2646254"/>
                <a:gd name="connsiteY803" fmla="*/ 1121009 h 1250999"/>
                <a:gd name="connsiteX804" fmla="*/ 1643773 w 2646254"/>
                <a:gd name="connsiteY804" fmla="*/ 1100401 h 1250999"/>
                <a:gd name="connsiteX805" fmla="*/ 1649260 w 2646254"/>
                <a:gd name="connsiteY805" fmla="*/ 1093207 h 1250999"/>
                <a:gd name="connsiteX806" fmla="*/ 1659382 w 2646254"/>
                <a:gd name="connsiteY806" fmla="*/ 1065404 h 1250999"/>
                <a:gd name="connsiteX807" fmla="*/ 1659382 w 2646254"/>
                <a:gd name="connsiteY807" fmla="*/ 1055161 h 1250999"/>
                <a:gd name="connsiteX808" fmla="*/ 1662186 w 2646254"/>
                <a:gd name="connsiteY808" fmla="*/ 1034797 h 1250999"/>
                <a:gd name="connsiteX809" fmla="*/ 1659382 w 2646254"/>
                <a:gd name="connsiteY809" fmla="*/ 1024432 h 1250999"/>
                <a:gd name="connsiteX810" fmla="*/ 1662308 w 2646254"/>
                <a:gd name="connsiteY810" fmla="*/ 1000775 h 1250999"/>
                <a:gd name="connsiteX811" fmla="*/ 1678282 w 2646254"/>
                <a:gd name="connsiteY811" fmla="*/ 976387 h 1250999"/>
                <a:gd name="connsiteX812" fmla="*/ 1678282 w 2646254"/>
                <a:gd name="connsiteY812" fmla="*/ 961022 h 1250999"/>
                <a:gd name="connsiteX813" fmla="*/ 1667064 w 2646254"/>
                <a:gd name="connsiteY813" fmla="*/ 951633 h 1250999"/>
                <a:gd name="connsiteX814" fmla="*/ 1665357 w 2646254"/>
                <a:gd name="connsiteY814" fmla="*/ 939438 h 1250999"/>
                <a:gd name="connsiteX815" fmla="*/ 1674868 w 2646254"/>
                <a:gd name="connsiteY815" fmla="*/ 944682 h 1250999"/>
                <a:gd name="connsiteX816" fmla="*/ 1674868 w 2646254"/>
                <a:gd name="connsiteY816" fmla="*/ 940902 h 1250999"/>
                <a:gd name="connsiteX817" fmla="*/ 1667796 w 2646254"/>
                <a:gd name="connsiteY817" fmla="*/ 928708 h 1250999"/>
                <a:gd name="connsiteX818" fmla="*/ 1658284 w 2646254"/>
                <a:gd name="connsiteY818" fmla="*/ 919196 h 1250999"/>
                <a:gd name="connsiteX819" fmla="*/ 1652065 w 2646254"/>
                <a:gd name="connsiteY819" fmla="*/ 907002 h 1250999"/>
                <a:gd name="connsiteX820" fmla="*/ 1631335 w 2646254"/>
                <a:gd name="connsiteY820" fmla="*/ 902856 h 1250999"/>
                <a:gd name="connsiteX821" fmla="*/ 1626823 w 2646254"/>
                <a:gd name="connsiteY821" fmla="*/ 921269 h 1250999"/>
                <a:gd name="connsiteX822" fmla="*/ 1617190 w 2646254"/>
                <a:gd name="connsiteY822" fmla="*/ 922367 h 1250999"/>
                <a:gd name="connsiteX823" fmla="*/ 1606215 w 2646254"/>
                <a:gd name="connsiteY823" fmla="*/ 927854 h 1250999"/>
                <a:gd name="connsiteX824" fmla="*/ 1602922 w 2646254"/>
                <a:gd name="connsiteY824" fmla="*/ 921391 h 1250999"/>
                <a:gd name="connsiteX825" fmla="*/ 1606703 w 2646254"/>
                <a:gd name="connsiteY825" fmla="*/ 911880 h 1250999"/>
                <a:gd name="connsiteX826" fmla="*/ 1603410 w 2646254"/>
                <a:gd name="connsiteY826" fmla="*/ 904563 h 1250999"/>
                <a:gd name="connsiteX827" fmla="*/ 1597191 w 2646254"/>
                <a:gd name="connsiteY827" fmla="*/ 908709 h 1250999"/>
                <a:gd name="connsiteX828" fmla="*/ 1587192 w 2646254"/>
                <a:gd name="connsiteY828" fmla="*/ 920050 h 1250999"/>
                <a:gd name="connsiteX829" fmla="*/ 1586216 w 2646254"/>
                <a:gd name="connsiteY829" fmla="*/ 891759 h 1250999"/>
                <a:gd name="connsiteX830" fmla="*/ 1573047 w 2646254"/>
                <a:gd name="connsiteY830" fmla="*/ 888467 h 1250999"/>
                <a:gd name="connsiteX831" fmla="*/ 1565121 w 2646254"/>
                <a:gd name="connsiteY831" fmla="*/ 890418 h 1250999"/>
                <a:gd name="connsiteX832" fmla="*/ 1552927 w 2646254"/>
                <a:gd name="connsiteY832" fmla="*/ 882492 h 1250999"/>
                <a:gd name="connsiteX833" fmla="*/ 1555487 w 2646254"/>
                <a:gd name="connsiteY833" fmla="*/ 873346 h 1250999"/>
                <a:gd name="connsiteX834" fmla="*/ 1569388 w 2646254"/>
                <a:gd name="connsiteY834" fmla="*/ 868346 h 1250999"/>
                <a:gd name="connsiteX835" fmla="*/ 1580607 w 2646254"/>
                <a:gd name="connsiteY835" fmla="*/ 857128 h 1250999"/>
                <a:gd name="connsiteX836" fmla="*/ 1597313 w 2646254"/>
                <a:gd name="connsiteY836" fmla="*/ 844934 h 1250999"/>
                <a:gd name="connsiteX837" fmla="*/ 1602922 w 2646254"/>
                <a:gd name="connsiteY837" fmla="*/ 836642 h 1250999"/>
                <a:gd name="connsiteX838" fmla="*/ 1617677 w 2646254"/>
                <a:gd name="connsiteY838" fmla="*/ 819082 h 1250999"/>
                <a:gd name="connsiteX839" fmla="*/ 1618653 w 2646254"/>
                <a:gd name="connsiteY839" fmla="*/ 809327 h 1250999"/>
                <a:gd name="connsiteX840" fmla="*/ 1641822 w 2646254"/>
                <a:gd name="connsiteY840" fmla="*/ 792865 h 1250999"/>
                <a:gd name="connsiteX841" fmla="*/ 1659382 w 2646254"/>
                <a:gd name="connsiteY841" fmla="*/ 772622 h 1250999"/>
                <a:gd name="connsiteX842" fmla="*/ 1663284 w 2646254"/>
                <a:gd name="connsiteY842" fmla="*/ 761160 h 1250999"/>
                <a:gd name="connsiteX843" fmla="*/ 1684989 w 2646254"/>
                <a:gd name="connsiteY843" fmla="*/ 742259 h 1250999"/>
                <a:gd name="connsiteX844" fmla="*/ 1688769 w 2646254"/>
                <a:gd name="connsiteY844" fmla="*/ 730796 h 1250999"/>
                <a:gd name="connsiteX845" fmla="*/ 1706695 w 2646254"/>
                <a:gd name="connsiteY845" fmla="*/ 716895 h 1250999"/>
                <a:gd name="connsiteX846" fmla="*/ 1725352 w 2646254"/>
                <a:gd name="connsiteY846" fmla="*/ 712993 h 1250999"/>
                <a:gd name="connsiteX847" fmla="*/ 1741326 w 2646254"/>
                <a:gd name="connsiteY847" fmla="*/ 713846 h 1250999"/>
                <a:gd name="connsiteX848" fmla="*/ 1751692 w 2646254"/>
                <a:gd name="connsiteY848" fmla="*/ 710188 h 1250999"/>
                <a:gd name="connsiteX849" fmla="*/ 1776080 w 2646254"/>
                <a:gd name="connsiteY849" fmla="*/ 711286 h 1250999"/>
                <a:gd name="connsiteX850" fmla="*/ 1768641 w 2646254"/>
                <a:gd name="connsiteY850" fmla="*/ 719943 h 1250999"/>
                <a:gd name="connsiteX851" fmla="*/ 1771567 w 2646254"/>
                <a:gd name="connsiteY851" fmla="*/ 723968 h 1250999"/>
                <a:gd name="connsiteX852" fmla="*/ 1779006 w 2646254"/>
                <a:gd name="connsiteY852" fmla="*/ 721773 h 1250999"/>
                <a:gd name="connsiteX853" fmla="*/ 1788395 w 2646254"/>
                <a:gd name="connsiteY853" fmla="*/ 711286 h 1250999"/>
                <a:gd name="connsiteX854" fmla="*/ 1796809 w 2646254"/>
                <a:gd name="connsiteY854" fmla="*/ 717627 h 1250999"/>
                <a:gd name="connsiteX855" fmla="*/ 1818149 w 2646254"/>
                <a:gd name="connsiteY855" fmla="*/ 715797 h 1250999"/>
                <a:gd name="connsiteX856" fmla="*/ 1824612 w 2646254"/>
                <a:gd name="connsiteY856" fmla="*/ 717383 h 1250999"/>
                <a:gd name="connsiteX857" fmla="*/ 1834734 w 2646254"/>
                <a:gd name="connsiteY857" fmla="*/ 701774 h 1250999"/>
                <a:gd name="connsiteX858" fmla="*/ 1850220 w 2646254"/>
                <a:gd name="connsiteY858" fmla="*/ 700677 h 1250999"/>
                <a:gd name="connsiteX859" fmla="*/ 1861682 w 2646254"/>
                <a:gd name="connsiteY859" fmla="*/ 702628 h 1250999"/>
                <a:gd name="connsiteX860" fmla="*/ 1886071 w 2646254"/>
                <a:gd name="connsiteY860" fmla="*/ 703603 h 1250999"/>
                <a:gd name="connsiteX861" fmla="*/ 1892168 w 2646254"/>
                <a:gd name="connsiteY861" fmla="*/ 716895 h 1250999"/>
                <a:gd name="connsiteX862" fmla="*/ 1883388 w 2646254"/>
                <a:gd name="connsiteY862" fmla="*/ 722382 h 1250999"/>
                <a:gd name="connsiteX863" fmla="*/ 1880096 w 2646254"/>
                <a:gd name="connsiteY863" fmla="*/ 726894 h 1250999"/>
                <a:gd name="connsiteX864" fmla="*/ 1883998 w 2646254"/>
                <a:gd name="connsiteY864" fmla="*/ 729577 h 1250999"/>
                <a:gd name="connsiteX865" fmla="*/ 1893997 w 2646254"/>
                <a:gd name="connsiteY865" fmla="*/ 724211 h 1250999"/>
                <a:gd name="connsiteX866" fmla="*/ 1906191 w 2646254"/>
                <a:gd name="connsiteY866" fmla="*/ 727870 h 1250999"/>
                <a:gd name="connsiteX867" fmla="*/ 1921068 w 2646254"/>
                <a:gd name="connsiteY867" fmla="*/ 715675 h 1250999"/>
                <a:gd name="connsiteX868" fmla="*/ 1930458 w 2646254"/>
                <a:gd name="connsiteY868" fmla="*/ 727016 h 1250999"/>
                <a:gd name="connsiteX869" fmla="*/ 1935214 w 2646254"/>
                <a:gd name="connsiteY869" fmla="*/ 727016 h 1250999"/>
                <a:gd name="connsiteX870" fmla="*/ 1937042 w 2646254"/>
                <a:gd name="connsiteY870" fmla="*/ 719090 h 1250999"/>
                <a:gd name="connsiteX871" fmla="*/ 1951797 w 2646254"/>
                <a:gd name="connsiteY871" fmla="*/ 716285 h 1250999"/>
                <a:gd name="connsiteX872" fmla="*/ 1951797 w 2646254"/>
                <a:gd name="connsiteY872" fmla="*/ 707993 h 1250999"/>
                <a:gd name="connsiteX873" fmla="*/ 1945213 w 2646254"/>
                <a:gd name="connsiteY873" fmla="*/ 704335 h 1250999"/>
                <a:gd name="connsiteX874" fmla="*/ 1933994 w 2646254"/>
                <a:gd name="connsiteY874" fmla="*/ 708725 h 1250999"/>
                <a:gd name="connsiteX875" fmla="*/ 1932775 w 2646254"/>
                <a:gd name="connsiteY875" fmla="*/ 692507 h 1250999"/>
                <a:gd name="connsiteX876" fmla="*/ 1940944 w 2646254"/>
                <a:gd name="connsiteY876" fmla="*/ 685434 h 1250999"/>
                <a:gd name="connsiteX877" fmla="*/ 1948505 w 2646254"/>
                <a:gd name="connsiteY877" fmla="*/ 673971 h 1250999"/>
                <a:gd name="connsiteX878" fmla="*/ 1963138 w 2646254"/>
                <a:gd name="connsiteY878" fmla="*/ 663119 h 1250999"/>
                <a:gd name="connsiteX879" fmla="*/ 1963138 w 2646254"/>
                <a:gd name="connsiteY879" fmla="*/ 655680 h 1250999"/>
                <a:gd name="connsiteX880" fmla="*/ 1982770 w 2646254"/>
                <a:gd name="connsiteY880" fmla="*/ 638852 h 1250999"/>
                <a:gd name="connsiteX881" fmla="*/ 1979966 w 2646254"/>
                <a:gd name="connsiteY881" fmla="*/ 629097 h 1250999"/>
                <a:gd name="connsiteX882" fmla="*/ 1981064 w 2646254"/>
                <a:gd name="connsiteY882" fmla="*/ 628365 h 1250999"/>
                <a:gd name="connsiteX883" fmla="*/ 1984844 w 2646254"/>
                <a:gd name="connsiteY883" fmla="*/ 625561 h 1250999"/>
                <a:gd name="connsiteX884" fmla="*/ 1995209 w 2646254"/>
                <a:gd name="connsiteY884" fmla="*/ 617878 h 1250999"/>
                <a:gd name="connsiteX885" fmla="*/ 1995209 w 2646254"/>
                <a:gd name="connsiteY885" fmla="*/ 617878 h 1250999"/>
                <a:gd name="connsiteX886" fmla="*/ 2019597 w 2646254"/>
                <a:gd name="connsiteY886" fmla="*/ 617025 h 1250999"/>
                <a:gd name="connsiteX887" fmla="*/ 2028865 w 2646254"/>
                <a:gd name="connsiteY887" fmla="*/ 608733 h 1250999"/>
                <a:gd name="connsiteX888" fmla="*/ 2040327 w 2646254"/>
                <a:gd name="connsiteY888" fmla="*/ 617390 h 1250999"/>
                <a:gd name="connsiteX889" fmla="*/ 2042644 w 2646254"/>
                <a:gd name="connsiteY889" fmla="*/ 615561 h 1250999"/>
                <a:gd name="connsiteX890" fmla="*/ 2048497 w 2646254"/>
                <a:gd name="connsiteY890" fmla="*/ 608489 h 1250999"/>
                <a:gd name="connsiteX891" fmla="*/ 2058618 w 2646254"/>
                <a:gd name="connsiteY891" fmla="*/ 617269 h 1250999"/>
                <a:gd name="connsiteX892" fmla="*/ 2056424 w 2646254"/>
                <a:gd name="connsiteY892" fmla="*/ 632267 h 1250999"/>
                <a:gd name="connsiteX893" fmla="*/ 2046790 w 2646254"/>
                <a:gd name="connsiteY893" fmla="*/ 643608 h 1250999"/>
                <a:gd name="connsiteX894" fmla="*/ 2050082 w 2646254"/>
                <a:gd name="connsiteY894" fmla="*/ 647510 h 1250999"/>
                <a:gd name="connsiteX895" fmla="*/ 2055570 w 2646254"/>
                <a:gd name="connsiteY895" fmla="*/ 649705 h 1250999"/>
                <a:gd name="connsiteX896" fmla="*/ 2056424 w 2646254"/>
                <a:gd name="connsiteY896" fmla="*/ 663241 h 1250999"/>
                <a:gd name="connsiteX897" fmla="*/ 2061423 w 2646254"/>
                <a:gd name="connsiteY897" fmla="*/ 663241 h 1250999"/>
                <a:gd name="connsiteX898" fmla="*/ 2066788 w 2646254"/>
                <a:gd name="connsiteY898" fmla="*/ 647998 h 1250999"/>
                <a:gd name="connsiteX899" fmla="*/ 2086909 w 2646254"/>
                <a:gd name="connsiteY899" fmla="*/ 631780 h 1250999"/>
                <a:gd name="connsiteX900" fmla="*/ 2090811 w 2646254"/>
                <a:gd name="connsiteY900" fmla="*/ 626048 h 1250999"/>
                <a:gd name="connsiteX901" fmla="*/ 2090811 w 2646254"/>
                <a:gd name="connsiteY901" fmla="*/ 626048 h 1250999"/>
                <a:gd name="connsiteX902" fmla="*/ 2091664 w 2646254"/>
                <a:gd name="connsiteY902" fmla="*/ 626048 h 1250999"/>
                <a:gd name="connsiteX903" fmla="*/ 2107273 w 2646254"/>
                <a:gd name="connsiteY903" fmla="*/ 625195 h 1250999"/>
                <a:gd name="connsiteX904" fmla="*/ 2109346 w 2646254"/>
                <a:gd name="connsiteY904" fmla="*/ 619098 h 1250999"/>
                <a:gd name="connsiteX905" fmla="*/ 2104590 w 2646254"/>
                <a:gd name="connsiteY905" fmla="*/ 612391 h 1250999"/>
                <a:gd name="connsiteX906" fmla="*/ 2115687 w 2646254"/>
                <a:gd name="connsiteY906" fmla="*/ 584100 h 1250999"/>
                <a:gd name="connsiteX907" fmla="*/ 2136661 w 2646254"/>
                <a:gd name="connsiteY907" fmla="*/ 574589 h 1250999"/>
                <a:gd name="connsiteX908" fmla="*/ 2152879 w 2646254"/>
                <a:gd name="connsiteY908" fmla="*/ 588856 h 1250999"/>
                <a:gd name="connsiteX909" fmla="*/ 2137514 w 2646254"/>
                <a:gd name="connsiteY909" fmla="*/ 594344 h 1250999"/>
                <a:gd name="connsiteX910" fmla="*/ 2133003 w 2646254"/>
                <a:gd name="connsiteY910" fmla="*/ 610440 h 1250999"/>
                <a:gd name="connsiteX911" fmla="*/ 2129344 w 2646254"/>
                <a:gd name="connsiteY911" fmla="*/ 619707 h 1250999"/>
                <a:gd name="connsiteX912" fmla="*/ 2128491 w 2646254"/>
                <a:gd name="connsiteY912" fmla="*/ 627024 h 1250999"/>
                <a:gd name="connsiteX913" fmla="*/ 2126540 w 2646254"/>
                <a:gd name="connsiteY913" fmla="*/ 642998 h 1250999"/>
                <a:gd name="connsiteX914" fmla="*/ 2126540 w 2646254"/>
                <a:gd name="connsiteY914" fmla="*/ 642998 h 1250999"/>
                <a:gd name="connsiteX915" fmla="*/ 2123735 w 2646254"/>
                <a:gd name="connsiteY915" fmla="*/ 647632 h 1250999"/>
                <a:gd name="connsiteX916" fmla="*/ 2122760 w 2646254"/>
                <a:gd name="connsiteY916" fmla="*/ 658851 h 1250999"/>
                <a:gd name="connsiteX917" fmla="*/ 2089713 w 2646254"/>
                <a:gd name="connsiteY917" fmla="*/ 673240 h 1250999"/>
                <a:gd name="connsiteX918" fmla="*/ 2085079 w 2646254"/>
                <a:gd name="connsiteY918" fmla="*/ 684215 h 1250999"/>
                <a:gd name="connsiteX919" fmla="*/ 2065691 w 2646254"/>
                <a:gd name="connsiteY919" fmla="*/ 709456 h 1250999"/>
                <a:gd name="connsiteX920" fmla="*/ 2056057 w 2646254"/>
                <a:gd name="connsiteY920" fmla="*/ 711164 h 1250999"/>
                <a:gd name="connsiteX921" fmla="*/ 2054229 w 2646254"/>
                <a:gd name="connsiteY921" fmla="*/ 726528 h 1250999"/>
                <a:gd name="connsiteX922" fmla="*/ 2032401 w 2646254"/>
                <a:gd name="connsiteY922" fmla="*/ 745429 h 1250999"/>
                <a:gd name="connsiteX923" fmla="*/ 2031425 w 2646254"/>
                <a:gd name="connsiteY923" fmla="*/ 752014 h 1250999"/>
                <a:gd name="connsiteX924" fmla="*/ 2018256 w 2646254"/>
                <a:gd name="connsiteY924" fmla="*/ 763233 h 1250999"/>
                <a:gd name="connsiteX925" fmla="*/ 2010939 w 2646254"/>
                <a:gd name="connsiteY925" fmla="*/ 766037 h 1250999"/>
                <a:gd name="connsiteX926" fmla="*/ 2004110 w 2646254"/>
                <a:gd name="connsiteY926" fmla="*/ 774817 h 1250999"/>
                <a:gd name="connsiteX927" fmla="*/ 1987892 w 2646254"/>
                <a:gd name="connsiteY927" fmla="*/ 774817 h 1250999"/>
                <a:gd name="connsiteX928" fmla="*/ 1984356 w 2646254"/>
                <a:gd name="connsiteY928" fmla="*/ 806400 h 1250999"/>
                <a:gd name="connsiteX929" fmla="*/ 1981064 w 2646254"/>
                <a:gd name="connsiteY929" fmla="*/ 812863 h 1250999"/>
                <a:gd name="connsiteX930" fmla="*/ 1967772 w 2646254"/>
                <a:gd name="connsiteY930" fmla="*/ 829325 h 1250999"/>
                <a:gd name="connsiteX931" fmla="*/ 1964967 w 2646254"/>
                <a:gd name="connsiteY931" fmla="*/ 863469 h 1250999"/>
                <a:gd name="connsiteX932" fmla="*/ 1967772 w 2646254"/>
                <a:gd name="connsiteY932" fmla="*/ 897247 h 1250999"/>
                <a:gd name="connsiteX933" fmla="*/ 1968747 w 2646254"/>
                <a:gd name="connsiteY933" fmla="*/ 914928 h 1250999"/>
                <a:gd name="connsiteX934" fmla="*/ 1973381 w 2646254"/>
                <a:gd name="connsiteY934" fmla="*/ 927122 h 1250999"/>
                <a:gd name="connsiteX935" fmla="*/ 1981064 w 2646254"/>
                <a:gd name="connsiteY935" fmla="*/ 959437 h 1250999"/>
                <a:gd name="connsiteX936" fmla="*/ 1982892 w 2646254"/>
                <a:gd name="connsiteY936" fmla="*/ 976631 h 1250999"/>
                <a:gd name="connsiteX937" fmla="*/ 1982039 w 2646254"/>
                <a:gd name="connsiteY937" fmla="*/ 994312 h 1250999"/>
                <a:gd name="connsiteX938" fmla="*/ 1986917 w 2646254"/>
                <a:gd name="connsiteY938" fmla="*/ 1008213 h 1250999"/>
                <a:gd name="connsiteX939" fmla="*/ 1985453 w 2646254"/>
                <a:gd name="connsiteY939" fmla="*/ 1010408 h 1250999"/>
                <a:gd name="connsiteX940" fmla="*/ 1988136 w 2646254"/>
                <a:gd name="connsiteY940" fmla="*/ 1010408 h 1250999"/>
                <a:gd name="connsiteX941" fmla="*/ 2019475 w 2646254"/>
                <a:gd name="connsiteY941" fmla="*/ 969802 h 1250999"/>
                <a:gd name="connsiteX942" fmla="*/ 2021304 w 2646254"/>
                <a:gd name="connsiteY942" fmla="*/ 959925 h 1250999"/>
                <a:gd name="connsiteX943" fmla="*/ 2025328 w 2646254"/>
                <a:gd name="connsiteY943" fmla="*/ 940658 h 1250999"/>
                <a:gd name="connsiteX944" fmla="*/ 2039473 w 2646254"/>
                <a:gd name="connsiteY944" fmla="*/ 936390 h 1250999"/>
                <a:gd name="connsiteX945" fmla="*/ 2049716 w 2646254"/>
                <a:gd name="connsiteY945" fmla="*/ 939804 h 1250999"/>
                <a:gd name="connsiteX946" fmla="*/ 2052399 w 2646254"/>
                <a:gd name="connsiteY946" fmla="*/ 934439 h 1250999"/>
                <a:gd name="connsiteX947" fmla="*/ 2047521 w 2646254"/>
                <a:gd name="connsiteY947" fmla="*/ 910050 h 1250999"/>
                <a:gd name="connsiteX948" fmla="*/ 2075812 w 2646254"/>
                <a:gd name="connsiteY948" fmla="*/ 887003 h 1250999"/>
                <a:gd name="connsiteX949" fmla="*/ 2080080 w 2646254"/>
                <a:gd name="connsiteY949" fmla="*/ 893222 h 1250999"/>
                <a:gd name="connsiteX950" fmla="*/ 2086055 w 2646254"/>
                <a:gd name="connsiteY950" fmla="*/ 891149 h 1250999"/>
                <a:gd name="connsiteX951" fmla="*/ 2090932 w 2646254"/>
                <a:gd name="connsiteY951" fmla="*/ 878955 h 1250999"/>
                <a:gd name="connsiteX952" fmla="*/ 2084835 w 2646254"/>
                <a:gd name="connsiteY952" fmla="*/ 870176 h 1250999"/>
                <a:gd name="connsiteX953" fmla="*/ 2081543 w 2646254"/>
                <a:gd name="connsiteY953" fmla="*/ 863713 h 1250999"/>
                <a:gd name="connsiteX954" fmla="*/ 2090567 w 2646254"/>
                <a:gd name="connsiteY954" fmla="*/ 839324 h 1250999"/>
                <a:gd name="connsiteX955" fmla="*/ 2107638 w 2646254"/>
                <a:gd name="connsiteY955" fmla="*/ 820545 h 1250999"/>
                <a:gd name="connsiteX956" fmla="*/ 2107638 w 2646254"/>
                <a:gd name="connsiteY956" fmla="*/ 837983 h 1250999"/>
                <a:gd name="connsiteX957" fmla="*/ 2115077 w 2646254"/>
                <a:gd name="connsiteY957" fmla="*/ 837983 h 1250999"/>
                <a:gd name="connsiteX958" fmla="*/ 2118248 w 2646254"/>
                <a:gd name="connsiteY958" fmla="*/ 834691 h 1250999"/>
                <a:gd name="connsiteX959" fmla="*/ 2113126 w 2646254"/>
                <a:gd name="connsiteY959" fmla="*/ 817009 h 1250999"/>
                <a:gd name="connsiteX960" fmla="*/ 2103493 w 2646254"/>
                <a:gd name="connsiteY960" fmla="*/ 812131 h 1250999"/>
                <a:gd name="connsiteX961" fmla="*/ 2101908 w 2646254"/>
                <a:gd name="connsiteY961" fmla="*/ 792621 h 1250999"/>
                <a:gd name="connsiteX962" fmla="*/ 2114833 w 2646254"/>
                <a:gd name="connsiteY962" fmla="*/ 780426 h 1250999"/>
                <a:gd name="connsiteX963" fmla="*/ 2113736 w 2646254"/>
                <a:gd name="connsiteY963" fmla="*/ 777866 h 1250999"/>
                <a:gd name="connsiteX964" fmla="*/ 2103249 w 2646254"/>
                <a:gd name="connsiteY964" fmla="*/ 773354 h 1250999"/>
                <a:gd name="connsiteX965" fmla="*/ 2100078 w 2646254"/>
                <a:gd name="connsiteY965" fmla="*/ 780914 h 1250999"/>
                <a:gd name="connsiteX966" fmla="*/ 2086543 w 2646254"/>
                <a:gd name="connsiteY966" fmla="*/ 767501 h 1250999"/>
                <a:gd name="connsiteX967" fmla="*/ 2092762 w 2646254"/>
                <a:gd name="connsiteY967" fmla="*/ 743112 h 1250999"/>
                <a:gd name="connsiteX968" fmla="*/ 2100688 w 2646254"/>
                <a:gd name="connsiteY968" fmla="*/ 739210 h 1250999"/>
                <a:gd name="connsiteX969" fmla="*/ 2110566 w 2646254"/>
                <a:gd name="connsiteY969" fmla="*/ 723968 h 1250999"/>
                <a:gd name="connsiteX970" fmla="*/ 2114468 w 2646254"/>
                <a:gd name="connsiteY970" fmla="*/ 704823 h 1250999"/>
                <a:gd name="connsiteX971" fmla="*/ 2129711 w 2646254"/>
                <a:gd name="connsiteY971" fmla="*/ 689458 h 1250999"/>
                <a:gd name="connsiteX972" fmla="*/ 2140685 w 2646254"/>
                <a:gd name="connsiteY972" fmla="*/ 690555 h 1250999"/>
                <a:gd name="connsiteX973" fmla="*/ 2147026 w 2646254"/>
                <a:gd name="connsiteY973" fmla="*/ 694458 h 1250999"/>
                <a:gd name="connsiteX974" fmla="*/ 2153855 w 2646254"/>
                <a:gd name="connsiteY974" fmla="*/ 685312 h 1250999"/>
                <a:gd name="connsiteX975" fmla="*/ 2162391 w 2646254"/>
                <a:gd name="connsiteY975" fmla="*/ 678605 h 1250999"/>
                <a:gd name="connsiteX976" fmla="*/ 2174585 w 2646254"/>
                <a:gd name="connsiteY976" fmla="*/ 667387 h 1250999"/>
                <a:gd name="connsiteX977" fmla="*/ 2178243 w 2646254"/>
                <a:gd name="connsiteY977" fmla="*/ 674703 h 1250999"/>
                <a:gd name="connsiteX978" fmla="*/ 2170439 w 2646254"/>
                <a:gd name="connsiteY978" fmla="*/ 689336 h 1250999"/>
                <a:gd name="connsiteX979" fmla="*/ 2171048 w 2646254"/>
                <a:gd name="connsiteY979" fmla="*/ 699091 h 1250999"/>
                <a:gd name="connsiteX980" fmla="*/ 2177999 w 2646254"/>
                <a:gd name="connsiteY980" fmla="*/ 694092 h 1250999"/>
                <a:gd name="connsiteX981" fmla="*/ 2186535 w 2646254"/>
                <a:gd name="connsiteY981" fmla="*/ 676776 h 1250999"/>
                <a:gd name="connsiteX982" fmla="*/ 2223118 w 2646254"/>
                <a:gd name="connsiteY982" fmla="*/ 660070 h 1250999"/>
                <a:gd name="connsiteX983" fmla="*/ 2242628 w 2646254"/>
                <a:gd name="connsiteY983" fmla="*/ 670313 h 1250999"/>
                <a:gd name="connsiteX984" fmla="*/ 2247871 w 2646254"/>
                <a:gd name="connsiteY984" fmla="*/ 680922 h 1250999"/>
                <a:gd name="connsiteX985" fmla="*/ 2249213 w 2646254"/>
                <a:gd name="connsiteY985" fmla="*/ 689214 h 1250999"/>
                <a:gd name="connsiteX986" fmla="*/ 2255310 w 2646254"/>
                <a:gd name="connsiteY986" fmla="*/ 685556 h 1250999"/>
                <a:gd name="connsiteX987" fmla="*/ 2258115 w 2646254"/>
                <a:gd name="connsiteY987" fmla="*/ 676410 h 1250999"/>
                <a:gd name="connsiteX988" fmla="*/ 2272626 w 2646254"/>
                <a:gd name="connsiteY988" fmla="*/ 662021 h 1250999"/>
                <a:gd name="connsiteX989" fmla="*/ 2292258 w 2646254"/>
                <a:gd name="connsiteY989" fmla="*/ 651778 h 1250999"/>
                <a:gd name="connsiteX990" fmla="*/ 2297990 w 2646254"/>
                <a:gd name="connsiteY990" fmla="*/ 639584 h 1250999"/>
                <a:gd name="connsiteX991" fmla="*/ 2308721 w 2646254"/>
                <a:gd name="connsiteY991" fmla="*/ 636657 h 1250999"/>
                <a:gd name="connsiteX992" fmla="*/ 2317256 w 2646254"/>
                <a:gd name="connsiteY992" fmla="*/ 625926 h 1250999"/>
                <a:gd name="connsiteX993" fmla="*/ 2320061 w 2646254"/>
                <a:gd name="connsiteY993" fmla="*/ 622390 h 1250999"/>
                <a:gd name="connsiteX994" fmla="*/ 2331524 w 2646254"/>
                <a:gd name="connsiteY994" fmla="*/ 620439 h 1250999"/>
                <a:gd name="connsiteX995" fmla="*/ 2345791 w 2646254"/>
                <a:gd name="connsiteY995" fmla="*/ 606416 h 1250999"/>
                <a:gd name="connsiteX996" fmla="*/ 2371033 w 2646254"/>
                <a:gd name="connsiteY996" fmla="*/ 600806 h 1250999"/>
                <a:gd name="connsiteX997" fmla="*/ 2378715 w 2646254"/>
                <a:gd name="connsiteY997" fmla="*/ 588612 h 1250999"/>
                <a:gd name="connsiteX998" fmla="*/ 2403103 w 2646254"/>
                <a:gd name="connsiteY998" fmla="*/ 584588 h 1250999"/>
                <a:gd name="connsiteX999" fmla="*/ 2415298 w 2646254"/>
                <a:gd name="connsiteY999" fmla="*/ 591417 h 1250999"/>
                <a:gd name="connsiteX1000" fmla="*/ 2431516 w 2646254"/>
                <a:gd name="connsiteY1000" fmla="*/ 594709 h 1250999"/>
                <a:gd name="connsiteX1001" fmla="*/ 2432369 w 2646254"/>
                <a:gd name="connsiteY1001" fmla="*/ 587881 h 1250999"/>
                <a:gd name="connsiteX1002" fmla="*/ 2437491 w 2646254"/>
                <a:gd name="connsiteY1002" fmla="*/ 575686 h 1250999"/>
                <a:gd name="connsiteX1003" fmla="*/ 2431150 w 2646254"/>
                <a:gd name="connsiteY1003" fmla="*/ 570565 h 1250999"/>
                <a:gd name="connsiteX1004" fmla="*/ 2429687 w 2646254"/>
                <a:gd name="connsiteY1004" fmla="*/ 552274 h 1250999"/>
                <a:gd name="connsiteX1005" fmla="*/ 2422004 w 2646254"/>
                <a:gd name="connsiteY1005" fmla="*/ 545567 h 1250999"/>
                <a:gd name="connsiteX1006" fmla="*/ 2422004 w 2646254"/>
                <a:gd name="connsiteY1006" fmla="*/ 521179 h 1250999"/>
                <a:gd name="connsiteX1007" fmla="*/ 2414322 w 2646254"/>
                <a:gd name="connsiteY1007" fmla="*/ 515447 h 1250999"/>
                <a:gd name="connsiteX1008" fmla="*/ 2415298 w 2646254"/>
                <a:gd name="connsiteY1008" fmla="*/ 507277 h 1250999"/>
                <a:gd name="connsiteX1009" fmla="*/ 2412249 w 2646254"/>
                <a:gd name="connsiteY1009" fmla="*/ 505936 h 1250999"/>
                <a:gd name="connsiteX1010" fmla="*/ 2409079 w 2646254"/>
                <a:gd name="connsiteY1010" fmla="*/ 515203 h 1250999"/>
                <a:gd name="connsiteX1011" fmla="*/ 2395421 w 2646254"/>
                <a:gd name="connsiteY1011" fmla="*/ 503863 h 1250999"/>
                <a:gd name="connsiteX1012" fmla="*/ 2389202 w 2646254"/>
                <a:gd name="connsiteY1012" fmla="*/ 499473 h 1250999"/>
                <a:gd name="connsiteX1013" fmla="*/ 2376276 w 2646254"/>
                <a:gd name="connsiteY1013" fmla="*/ 496424 h 1250999"/>
                <a:gd name="connsiteX1014" fmla="*/ 2368838 w 2646254"/>
                <a:gd name="connsiteY1014" fmla="*/ 479109 h 1250999"/>
                <a:gd name="connsiteX1015" fmla="*/ 2381032 w 2646254"/>
                <a:gd name="connsiteY1015" fmla="*/ 480328 h 1250999"/>
                <a:gd name="connsiteX1016" fmla="*/ 2377617 w 2646254"/>
                <a:gd name="connsiteY1016" fmla="*/ 477280 h 1250999"/>
                <a:gd name="connsiteX1017" fmla="*/ 2389812 w 2646254"/>
                <a:gd name="connsiteY1017" fmla="*/ 470329 h 1250999"/>
                <a:gd name="connsiteX1018" fmla="*/ 2400787 w 2646254"/>
                <a:gd name="connsiteY1018" fmla="*/ 482523 h 1250999"/>
                <a:gd name="connsiteX1019" fmla="*/ 2404811 w 2646254"/>
                <a:gd name="connsiteY1019" fmla="*/ 490693 h 1250999"/>
                <a:gd name="connsiteX1020" fmla="*/ 2429199 w 2646254"/>
                <a:gd name="connsiteY1020" fmla="*/ 488986 h 1250999"/>
                <a:gd name="connsiteX1021" fmla="*/ 2437613 w 2646254"/>
                <a:gd name="connsiteY1021" fmla="*/ 478865 h 1250999"/>
                <a:gd name="connsiteX1022" fmla="*/ 2443100 w 2646254"/>
                <a:gd name="connsiteY1022" fmla="*/ 475207 h 1250999"/>
                <a:gd name="connsiteX1023" fmla="*/ 2457246 w 2646254"/>
                <a:gd name="connsiteY1023" fmla="*/ 458379 h 1250999"/>
                <a:gd name="connsiteX1024" fmla="*/ 2453831 w 2646254"/>
                <a:gd name="connsiteY1024" fmla="*/ 447160 h 1250999"/>
                <a:gd name="connsiteX1025" fmla="*/ 2445661 w 2646254"/>
                <a:gd name="connsiteY1025" fmla="*/ 424967 h 1250999"/>
                <a:gd name="connsiteX1026" fmla="*/ 2459318 w 2646254"/>
                <a:gd name="connsiteY1026" fmla="*/ 415821 h 1250999"/>
                <a:gd name="connsiteX1027" fmla="*/ 2464318 w 2646254"/>
                <a:gd name="connsiteY1027" fmla="*/ 417772 h 1250999"/>
                <a:gd name="connsiteX1028" fmla="*/ 2476512 w 2646254"/>
                <a:gd name="connsiteY1028" fmla="*/ 412285 h 1250999"/>
                <a:gd name="connsiteX1029" fmla="*/ 2477854 w 2646254"/>
                <a:gd name="connsiteY1029" fmla="*/ 424479 h 1250999"/>
                <a:gd name="connsiteX1030" fmla="*/ 2475902 w 2646254"/>
                <a:gd name="connsiteY1030" fmla="*/ 433137 h 1250999"/>
                <a:gd name="connsiteX1031" fmla="*/ 2475049 w 2646254"/>
                <a:gd name="connsiteY1031" fmla="*/ 447282 h 1250999"/>
                <a:gd name="connsiteX1032" fmla="*/ 2480414 w 2646254"/>
                <a:gd name="connsiteY1032" fmla="*/ 453379 h 1250999"/>
                <a:gd name="connsiteX1033" fmla="*/ 2493462 w 2646254"/>
                <a:gd name="connsiteY1033" fmla="*/ 452525 h 1250999"/>
                <a:gd name="connsiteX1034" fmla="*/ 2507119 w 2646254"/>
                <a:gd name="connsiteY1034" fmla="*/ 450574 h 1250999"/>
                <a:gd name="connsiteX1035" fmla="*/ 2523338 w 2646254"/>
                <a:gd name="connsiteY1035" fmla="*/ 456671 h 1250999"/>
                <a:gd name="connsiteX1036" fmla="*/ 2527850 w 2646254"/>
                <a:gd name="connsiteY1036" fmla="*/ 463256 h 1250999"/>
                <a:gd name="connsiteX1037" fmla="*/ 2530411 w 2646254"/>
                <a:gd name="connsiteY1037" fmla="*/ 485206 h 1250999"/>
                <a:gd name="connsiteX1038" fmla="*/ 2545044 w 2646254"/>
                <a:gd name="connsiteY1038" fmla="*/ 482645 h 1250999"/>
                <a:gd name="connsiteX1039" fmla="*/ 2557238 w 2646254"/>
                <a:gd name="connsiteY1039" fmla="*/ 488864 h 1250999"/>
                <a:gd name="connsiteX1040" fmla="*/ 2566505 w 2646254"/>
                <a:gd name="connsiteY1040" fmla="*/ 503497 h 1250999"/>
                <a:gd name="connsiteX1041" fmla="*/ 2576504 w 2646254"/>
                <a:gd name="connsiteY1041" fmla="*/ 509350 h 1250999"/>
                <a:gd name="connsiteX1042" fmla="*/ 2590528 w 2646254"/>
                <a:gd name="connsiteY1042" fmla="*/ 503497 h 1250999"/>
                <a:gd name="connsiteX1043" fmla="*/ 2582723 w 2646254"/>
                <a:gd name="connsiteY1043" fmla="*/ 496424 h 1250999"/>
                <a:gd name="connsiteX1044" fmla="*/ 2583821 w 2646254"/>
                <a:gd name="connsiteY1044" fmla="*/ 483133 h 1250999"/>
                <a:gd name="connsiteX1045" fmla="*/ 2596015 w 2646254"/>
                <a:gd name="connsiteY1045" fmla="*/ 473621 h 1250999"/>
                <a:gd name="connsiteX1046" fmla="*/ 2588455 w 2646254"/>
                <a:gd name="connsiteY1046" fmla="*/ 465085 h 1250999"/>
                <a:gd name="connsiteX1047" fmla="*/ 2594552 w 2646254"/>
                <a:gd name="connsiteY1047" fmla="*/ 460208 h 1250999"/>
                <a:gd name="connsiteX1048" fmla="*/ 2597600 w 2646254"/>
                <a:gd name="connsiteY1048" fmla="*/ 453135 h 1250999"/>
                <a:gd name="connsiteX1049" fmla="*/ 2623452 w 2646254"/>
                <a:gd name="connsiteY1049" fmla="*/ 447404 h 1250999"/>
                <a:gd name="connsiteX1050" fmla="*/ 2629305 w 2646254"/>
                <a:gd name="connsiteY1050" fmla="*/ 440819 h 1250999"/>
                <a:gd name="connsiteX1051" fmla="*/ 2631378 w 2646254"/>
                <a:gd name="connsiteY1051" fmla="*/ 429356 h 1250999"/>
                <a:gd name="connsiteX1052" fmla="*/ 2644182 w 2646254"/>
                <a:gd name="connsiteY1052" fmla="*/ 428015 h 1250999"/>
                <a:gd name="connsiteX1053" fmla="*/ 2646255 w 2646254"/>
                <a:gd name="connsiteY1053" fmla="*/ 421064 h 125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</a:cxnLst>
              <a:rect l="l" t="t" r="r" b="b"/>
              <a:pathLst>
                <a:path w="2646254" h="1250999">
                  <a:moveTo>
                    <a:pt x="2623452" y="409114"/>
                  </a:moveTo>
                  <a:lnTo>
                    <a:pt x="2600039" y="392530"/>
                  </a:lnTo>
                  <a:lnTo>
                    <a:pt x="2589674" y="393750"/>
                  </a:lnTo>
                  <a:lnTo>
                    <a:pt x="2578211" y="391189"/>
                  </a:lnTo>
                  <a:lnTo>
                    <a:pt x="2561993" y="391189"/>
                  </a:lnTo>
                  <a:lnTo>
                    <a:pt x="2565042" y="397286"/>
                  </a:lnTo>
                  <a:lnTo>
                    <a:pt x="2563822" y="402651"/>
                  </a:lnTo>
                  <a:lnTo>
                    <a:pt x="2570164" y="407407"/>
                  </a:lnTo>
                  <a:lnTo>
                    <a:pt x="2563213" y="415577"/>
                  </a:lnTo>
                  <a:lnTo>
                    <a:pt x="2540775" y="401066"/>
                  </a:lnTo>
                  <a:lnTo>
                    <a:pt x="2550530" y="393262"/>
                  </a:lnTo>
                  <a:lnTo>
                    <a:pt x="2548214" y="383506"/>
                  </a:lnTo>
                  <a:lnTo>
                    <a:pt x="2531142" y="371312"/>
                  </a:lnTo>
                  <a:lnTo>
                    <a:pt x="2519558" y="373263"/>
                  </a:lnTo>
                  <a:lnTo>
                    <a:pt x="2519558" y="365825"/>
                  </a:lnTo>
                  <a:lnTo>
                    <a:pt x="2509680" y="364118"/>
                  </a:lnTo>
                  <a:lnTo>
                    <a:pt x="2509680" y="359728"/>
                  </a:lnTo>
                  <a:lnTo>
                    <a:pt x="2498096" y="357411"/>
                  </a:lnTo>
                  <a:lnTo>
                    <a:pt x="2467732" y="343997"/>
                  </a:lnTo>
                  <a:lnTo>
                    <a:pt x="2467732" y="339607"/>
                  </a:lnTo>
                  <a:lnTo>
                    <a:pt x="2459440" y="334608"/>
                  </a:lnTo>
                  <a:lnTo>
                    <a:pt x="2445783" y="334608"/>
                  </a:lnTo>
                  <a:lnTo>
                    <a:pt x="2444076" y="328755"/>
                  </a:lnTo>
                  <a:lnTo>
                    <a:pt x="2426760" y="318390"/>
                  </a:lnTo>
                  <a:lnTo>
                    <a:pt x="2413834" y="316560"/>
                  </a:lnTo>
                  <a:lnTo>
                    <a:pt x="2400055" y="309976"/>
                  </a:lnTo>
                  <a:lnTo>
                    <a:pt x="2389934" y="309976"/>
                  </a:lnTo>
                  <a:lnTo>
                    <a:pt x="2366521" y="302537"/>
                  </a:lnTo>
                  <a:lnTo>
                    <a:pt x="2360789" y="304244"/>
                  </a:lnTo>
                  <a:lnTo>
                    <a:pt x="2351888" y="301562"/>
                  </a:lnTo>
                  <a:lnTo>
                    <a:pt x="2339694" y="300708"/>
                  </a:lnTo>
                  <a:lnTo>
                    <a:pt x="2324329" y="299123"/>
                  </a:lnTo>
                  <a:lnTo>
                    <a:pt x="2315793" y="301684"/>
                  </a:lnTo>
                  <a:lnTo>
                    <a:pt x="2303599" y="299854"/>
                  </a:lnTo>
                  <a:lnTo>
                    <a:pt x="2260432" y="291441"/>
                  </a:lnTo>
                  <a:lnTo>
                    <a:pt x="2257383" y="294611"/>
                  </a:lnTo>
                  <a:lnTo>
                    <a:pt x="2264821" y="299123"/>
                  </a:lnTo>
                  <a:lnTo>
                    <a:pt x="2257749" y="304732"/>
                  </a:lnTo>
                  <a:lnTo>
                    <a:pt x="2252505" y="305586"/>
                  </a:lnTo>
                  <a:lnTo>
                    <a:pt x="2251408" y="307171"/>
                  </a:lnTo>
                  <a:lnTo>
                    <a:pt x="2273724" y="319365"/>
                  </a:lnTo>
                  <a:lnTo>
                    <a:pt x="2268358" y="334486"/>
                  </a:lnTo>
                  <a:lnTo>
                    <a:pt x="2236897" y="333510"/>
                  </a:lnTo>
                  <a:lnTo>
                    <a:pt x="2234093" y="324121"/>
                  </a:lnTo>
                  <a:lnTo>
                    <a:pt x="2216045" y="323267"/>
                  </a:lnTo>
                  <a:lnTo>
                    <a:pt x="2207143" y="309122"/>
                  </a:lnTo>
                  <a:lnTo>
                    <a:pt x="2201656" y="305830"/>
                  </a:lnTo>
                  <a:lnTo>
                    <a:pt x="2189462" y="314853"/>
                  </a:lnTo>
                  <a:lnTo>
                    <a:pt x="2147269" y="312293"/>
                  </a:lnTo>
                  <a:lnTo>
                    <a:pt x="2129222" y="304732"/>
                  </a:lnTo>
                  <a:lnTo>
                    <a:pt x="2119467" y="308147"/>
                  </a:lnTo>
                  <a:lnTo>
                    <a:pt x="2107273" y="305586"/>
                  </a:lnTo>
                  <a:lnTo>
                    <a:pt x="2095079" y="310585"/>
                  </a:lnTo>
                  <a:lnTo>
                    <a:pt x="2088006" y="309732"/>
                  </a:lnTo>
                  <a:lnTo>
                    <a:pt x="2083738" y="311439"/>
                  </a:lnTo>
                  <a:lnTo>
                    <a:pt x="2076665" y="310585"/>
                  </a:lnTo>
                  <a:lnTo>
                    <a:pt x="2071788" y="312536"/>
                  </a:lnTo>
                  <a:lnTo>
                    <a:pt x="2067154" y="309000"/>
                  </a:lnTo>
                  <a:lnTo>
                    <a:pt x="2060447" y="309732"/>
                  </a:lnTo>
                  <a:lnTo>
                    <a:pt x="2046180" y="304122"/>
                  </a:lnTo>
                  <a:lnTo>
                    <a:pt x="2042766" y="291928"/>
                  </a:lnTo>
                  <a:lnTo>
                    <a:pt x="2051180" y="284368"/>
                  </a:lnTo>
                  <a:lnTo>
                    <a:pt x="2047643" y="274613"/>
                  </a:lnTo>
                  <a:lnTo>
                    <a:pt x="2024596" y="261565"/>
                  </a:lnTo>
                  <a:lnTo>
                    <a:pt x="2007159" y="259614"/>
                  </a:lnTo>
                  <a:lnTo>
                    <a:pt x="1988989" y="255468"/>
                  </a:lnTo>
                  <a:lnTo>
                    <a:pt x="1966918" y="256199"/>
                  </a:lnTo>
                  <a:lnTo>
                    <a:pt x="1932652" y="266443"/>
                  </a:lnTo>
                  <a:lnTo>
                    <a:pt x="1906679" y="269003"/>
                  </a:lnTo>
                  <a:lnTo>
                    <a:pt x="1890949" y="263394"/>
                  </a:lnTo>
                  <a:lnTo>
                    <a:pt x="1889485" y="256321"/>
                  </a:lnTo>
                  <a:lnTo>
                    <a:pt x="1874852" y="247542"/>
                  </a:lnTo>
                  <a:lnTo>
                    <a:pt x="1853878" y="239128"/>
                  </a:lnTo>
                  <a:lnTo>
                    <a:pt x="1834368" y="235591"/>
                  </a:lnTo>
                  <a:lnTo>
                    <a:pt x="1831929" y="225348"/>
                  </a:lnTo>
                  <a:lnTo>
                    <a:pt x="1843391" y="226568"/>
                  </a:lnTo>
                  <a:lnTo>
                    <a:pt x="1849854" y="227787"/>
                  </a:lnTo>
                  <a:lnTo>
                    <a:pt x="1850708" y="221202"/>
                  </a:lnTo>
                  <a:lnTo>
                    <a:pt x="1843757" y="220349"/>
                  </a:lnTo>
                  <a:lnTo>
                    <a:pt x="1828515" y="213764"/>
                  </a:lnTo>
                  <a:lnTo>
                    <a:pt x="1798761" y="213764"/>
                  </a:lnTo>
                  <a:lnTo>
                    <a:pt x="1789127" y="225958"/>
                  </a:lnTo>
                  <a:lnTo>
                    <a:pt x="1771202" y="234006"/>
                  </a:lnTo>
                  <a:lnTo>
                    <a:pt x="1755350" y="237176"/>
                  </a:lnTo>
                  <a:lnTo>
                    <a:pt x="1740961" y="242542"/>
                  </a:lnTo>
                  <a:lnTo>
                    <a:pt x="1747667" y="237420"/>
                  </a:lnTo>
                  <a:lnTo>
                    <a:pt x="1744009" y="223031"/>
                  </a:lnTo>
                  <a:lnTo>
                    <a:pt x="1759252" y="223031"/>
                  </a:lnTo>
                  <a:lnTo>
                    <a:pt x="1759983" y="220592"/>
                  </a:lnTo>
                  <a:lnTo>
                    <a:pt x="1718279" y="220592"/>
                  </a:lnTo>
                  <a:lnTo>
                    <a:pt x="1735351" y="216934"/>
                  </a:lnTo>
                  <a:lnTo>
                    <a:pt x="1730473" y="213276"/>
                  </a:lnTo>
                  <a:lnTo>
                    <a:pt x="1741692" y="204252"/>
                  </a:lnTo>
                  <a:lnTo>
                    <a:pt x="1756447" y="204252"/>
                  </a:lnTo>
                  <a:lnTo>
                    <a:pt x="1742058" y="199984"/>
                  </a:lnTo>
                  <a:lnTo>
                    <a:pt x="1722425" y="198643"/>
                  </a:lnTo>
                  <a:lnTo>
                    <a:pt x="1696939" y="195229"/>
                  </a:lnTo>
                  <a:lnTo>
                    <a:pt x="1680355" y="196204"/>
                  </a:lnTo>
                  <a:lnTo>
                    <a:pt x="1677307" y="191570"/>
                  </a:lnTo>
                  <a:lnTo>
                    <a:pt x="1673893" y="190473"/>
                  </a:lnTo>
                  <a:lnTo>
                    <a:pt x="1672795" y="192058"/>
                  </a:lnTo>
                  <a:lnTo>
                    <a:pt x="1677916" y="197180"/>
                  </a:lnTo>
                  <a:lnTo>
                    <a:pt x="1659382" y="206325"/>
                  </a:lnTo>
                  <a:lnTo>
                    <a:pt x="1647188" y="207179"/>
                  </a:lnTo>
                  <a:lnTo>
                    <a:pt x="1640237" y="205837"/>
                  </a:lnTo>
                  <a:lnTo>
                    <a:pt x="1638529" y="210837"/>
                  </a:lnTo>
                  <a:lnTo>
                    <a:pt x="1659991" y="209862"/>
                  </a:lnTo>
                  <a:lnTo>
                    <a:pt x="1650479" y="218397"/>
                  </a:lnTo>
                  <a:lnTo>
                    <a:pt x="1649260" y="229494"/>
                  </a:lnTo>
                  <a:lnTo>
                    <a:pt x="1657796" y="241688"/>
                  </a:lnTo>
                  <a:lnTo>
                    <a:pt x="1634140" y="245956"/>
                  </a:lnTo>
                  <a:lnTo>
                    <a:pt x="1632554" y="239371"/>
                  </a:lnTo>
                  <a:lnTo>
                    <a:pt x="1624872" y="237420"/>
                  </a:lnTo>
                  <a:lnTo>
                    <a:pt x="1619140" y="242176"/>
                  </a:lnTo>
                  <a:lnTo>
                    <a:pt x="1616092" y="252297"/>
                  </a:lnTo>
                  <a:lnTo>
                    <a:pt x="1603898" y="253395"/>
                  </a:lnTo>
                  <a:lnTo>
                    <a:pt x="1586582" y="242176"/>
                  </a:lnTo>
                  <a:lnTo>
                    <a:pt x="1563535" y="239737"/>
                  </a:lnTo>
                  <a:lnTo>
                    <a:pt x="1543781" y="247420"/>
                  </a:lnTo>
                  <a:lnTo>
                    <a:pt x="1527075" y="246444"/>
                  </a:lnTo>
                  <a:lnTo>
                    <a:pt x="1509150" y="234250"/>
                  </a:lnTo>
                  <a:lnTo>
                    <a:pt x="1505125" y="229372"/>
                  </a:lnTo>
                  <a:lnTo>
                    <a:pt x="1495614" y="240713"/>
                  </a:lnTo>
                  <a:lnTo>
                    <a:pt x="1488419" y="261321"/>
                  </a:lnTo>
                  <a:lnTo>
                    <a:pt x="1478420" y="270345"/>
                  </a:lnTo>
                  <a:lnTo>
                    <a:pt x="1433911" y="245956"/>
                  </a:lnTo>
                  <a:lnTo>
                    <a:pt x="1431229" y="235225"/>
                  </a:lnTo>
                  <a:lnTo>
                    <a:pt x="1436106" y="232421"/>
                  </a:lnTo>
                  <a:lnTo>
                    <a:pt x="1432082" y="228641"/>
                  </a:lnTo>
                  <a:lnTo>
                    <a:pt x="1426717" y="231933"/>
                  </a:lnTo>
                  <a:lnTo>
                    <a:pt x="1416352" y="224617"/>
                  </a:lnTo>
                  <a:lnTo>
                    <a:pt x="1414157" y="212422"/>
                  </a:lnTo>
                  <a:lnTo>
                    <a:pt x="1431472" y="217544"/>
                  </a:lnTo>
                  <a:lnTo>
                    <a:pt x="1437692" y="217544"/>
                  </a:lnTo>
                  <a:lnTo>
                    <a:pt x="1438545" y="210593"/>
                  </a:lnTo>
                  <a:lnTo>
                    <a:pt x="1424522" y="208154"/>
                  </a:lnTo>
                  <a:lnTo>
                    <a:pt x="1417571" y="205106"/>
                  </a:lnTo>
                  <a:lnTo>
                    <a:pt x="1417571" y="196936"/>
                  </a:lnTo>
                  <a:lnTo>
                    <a:pt x="1433302" y="199740"/>
                  </a:lnTo>
                  <a:lnTo>
                    <a:pt x="1438179" y="195838"/>
                  </a:lnTo>
                  <a:lnTo>
                    <a:pt x="1428912" y="192424"/>
                  </a:lnTo>
                  <a:lnTo>
                    <a:pt x="1428912" y="185107"/>
                  </a:lnTo>
                  <a:lnTo>
                    <a:pt x="1410133" y="167426"/>
                  </a:lnTo>
                  <a:lnTo>
                    <a:pt x="1401597" y="165963"/>
                  </a:lnTo>
                  <a:lnTo>
                    <a:pt x="1388305" y="173035"/>
                  </a:lnTo>
                  <a:lnTo>
                    <a:pt x="1375380" y="164377"/>
                  </a:lnTo>
                  <a:lnTo>
                    <a:pt x="1372575" y="165475"/>
                  </a:lnTo>
                  <a:lnTo>
                    <a:pt x="1372575" y="166328"/>
                  </a:lnTo>
                  <a:lnTo>
                    <a:pt x="1371112" y="166328"/>
                  </a:lnTo>
                  <a:lnTo>
                    <a:pt x="1364283" y="168889"/>
                  </a:lnTo>
                  <a:lnTo>
                    <a:pt x="1352089" y="162548"/>
                  </a:lnTo>
                  <a:lnTo>
                    <a:pt x="1353308" y="158036"/>
                  </a:lnTo>
                  <a:lnTo>
                    <a:pt x="1336358" y="155110"/>
                  </a:lnTo>
                  <a:lnTo>
                    <a:pt x="1330627" y="157671"/>
                  </a:lnTo>
                  <a:lnTo>
                    <a:pt x="1323920" y="156085"/>
                  </a:lnTo>
                  <a:lnTo>
                    <a:pt x="1321481" y="158036"/>
                  </a:lnTo>
                  <a:lnTo>
                    <a:pt x="1322457" y="162914"/>
                  </a:lnTo>
                  <a:lnTo>
                    <a:pt x="1326847" y="167426"/>
                  </a:lnTo>
                  <a:lnTo>
                    <a:pt x="1326847" y="181083"/>
                  </a:lnTo>
                  <a:lnTo>
                    <a:pt x="1314653" y="183156"/>
                  </a:lnTo>
                  <a:lnTo>
                    <a:pt x="1308433" y="183156"/>
                  </a:lnTo>
                  <a:lnTo>
                    <a:pt x="1301361" y="189010"/>
                  </a:lnTo>
                  <a:lnTo>
                    <a:pt x="1287216" y="189010"/>
                  </a:lnTo>
                  <a:lnTo>
                    <a:pt x="1270388" y="184742"/>
                  </a:lnTo>
                  <a:lnTo>
                    <a:pt x="1259779" y="184010"/>
                  </a:lnTo>
                  <a:lnTo>
                    <a:pt x="1253925" y="186571"/>
                  </a:lnTo>
                  <a:lnTo>
                    <a:pt x="1211612" y="175718"/>
                  </a:lnTo>
                  <a:lnTo>
                    <a:pt x="1213563" y="164865"/>
                  </a:lnTo>
                  <a:lnTo>
                    <a:pt x="1221001" y="162670"/>
                  </a:lnTo>
                  <a:lnTo>
                    <a:pt x="1228684" y="162670"/>
                  </a:lnTo>
                  <a:lnTo>
                    <a:pt x="1228684" y="162670"/>
                  </a:lnTo>
                  <a:lnTo>
                    <a:pt x="1211246" y="161085"/>
                  </a:lnTo>
                  <a:lnTo>
                    <a:pt x="1178444" y="159378"/>
                  </a:lnTo>
                  <a:lnTo>
                    <a:pt x="1163201" y="156939"/>
                  </a:lnTo>
                  <a:lnTo>
                    <a:pt x="1131008" y="163402"/>
                  </a:lnTo>
                  <a:lnTo>
                    <a:pt x="1129545" y="170231"/>
                  </a:lnTo>
                  <a:lnTo>
                    <a:pt x="1115156" y="172425"/>
                  </a:lnTo>
                  <a:lnTo>
                    <a:pt x="1110888" y="163280"/>
                  </a:lnTo>
                  <a:lnTo>
                    <a:pt x="1119180" y="158280"/>
                  </a:lnTo>
                  <a:lnTo>
                    <a:pt x="1122229" y="153403"/>
                  </a:lnTo>
                  <a:lnTo>
                    <a:pt x="1118204" y="149866"/>
                  </a:lnTo>
                  <a:lnTo>
                    <a:pt x="1111376" y="148159"/>
                  </a:lnTo>
                  <a:lnTo>
                    <a:pt x="1111376" y="156695"/>
                  </a:lnTo>
                  <a:lnTo>
                    <a:pt x="1096377" y="157671"/>
                  </a:lnTo>
                  <a:lnTo>
                    <a:pt x="1075647" y="153890"/>
                  </a:lnTo>
                  <a:lnTo>
                    <a:pt x="1076988" y="145232"/>
                  </a:lnTo>
                  <a:lnTo>
                    <a:pt x="1063819" y="146696"/>
                  </a:lnTo>
                  <a:lnTo>
                    <a:pt x="1054429" y="145111"/>
                  </a:lnTo>
                  <a:lnTo>
                    <a:pt x="1045405" y="151208"/>
                  </a:lnTo>
                  <a:lnTo>
                    <a:pt x="1046747" y="153525"/>
                  </a:lnTo>
                  <a:lnTo>
                    <a:pt x="1055283" y="153525"/>
                  </a:lnTo>
                  <a:lnTo>
                    <a:pt x="1072476" y="150476"/>
                  </a:lnTo>
                  <a:lnTo>
                    <a:pt x="1050527" y="169621"/>
                  </a:lnTo>
                  <a:lnTo>
                    <a:pt x="1037479" y="168767"/>
                  </a:lnTo>
                  <a:lnTo>
                    <a:pt x="1031870" y="172182"/>
                  </a:lnTo>
                  <a:lnTo>
                    <a:pt x="1021871" y="172182"/>
                  </a:lnTo>
                  <a:lnTo>
                    <a:pt x="1012969" y="176815"/>
                  </a:lnTo>
                  <a:lnTo>
                    <a:pt x="1009798" y="181449"/>
                  </a:lnTo>
                  <a:lnTo>
                    <a:pt x="987361" y="182303"/>
                  </a:lnTo>
                  <a:lnTo>
                    <a:pt x="984801" y="189497"/>
                  </a:lnTo>
                  <a:lnTo>
                    <a:pt x="965168" y="197667"/>
                  </a:lnTo>
                  <a:lnTo>
                    <a:pt x="943340" y="199131"/>
                  </a:lnTo>
                  <a:lnTo>
                    <a:pt x="966753" y="184985"/>
                  </a:lnTo>
                  <a:lnTo>
                    <a:pt x="966753" y="173035"/>
                  </a:lnTo>
                  <a:lnTo>
                    <a:pt x="976874" y="167914"/>
                  </a:lnTo>
                  <a:lnTo>
                    <a:pt x="984069" y="167914"/>
                  </a:lnTo>
                  <a:lnTo>
                    <a:pt x="985410" y="159134"/>
                  </a:lnTo>
                  <a:lnTo>
                    <a:pt x="996873" y="155232"/>
                  </a:lnTo>
                  <a:lnTo>
                    <a:pt x="1007725" y="155232"/>
                  </a:lnTo>
                  <a:lnTo>
                    <a:pt x="1019919" y="143038"/>
                  </a:lnTo>
                  <a:lnTo>
                    <a:pt x="1039064" y="134258"/>
                  </a:lnTo>
                  <a:lnTo>
                    <a:pt x="1046381" y="133526"/>
                  </a:lnTo>
                  <a:lnTo>
                    <a:pt x="1047600" y="127185"/>
                  </a:lnTo>
                  <a:lnTo>
                    <a:pt x="1075891" y="111211"/>
                  </a:lnTo>
                  <a:lnTo>
                    <a:pt x="1089792" y="111211"/>
                  </a:lnTo>
                  <a:lnTo>
                    <a:pt x="1091133" y="103407"/>
                  </a:lnTo>
                  <a:lnTo>
                    <a:pt x="1111498" y="92066"/>
                  </a:lnTo>
                  <a:lnTo>
                    <a:pt x="1117961" y="83774"/>
                  </a:lnTo>
                  <a:lnTo>
                    <a:pt x="1100157" y="76701"/>
                  </a:lnTo>
                  <a:lnTo>
                    <a:pt x="1094548" y="70238"/>
                  </a:lnTo>
                  <a:lnTo>
                    <a:pt x="1097352" y="65483"/>
                  </a:lnTo>
                  <a:lnTo>
                    <a:pt x="1103450" y="65483"/>
                  </a:lnTo>
                  <a:lnTo>
                    <a:pt x="1112107" y="71092"/>
                  </a:lnTo>
                  <a:lnTo>
                    <a:pt x="1124301" y="74141"/>
                  </a:lnTo>
                  <a:lnTo>
                    <a:pt x="1124301" y="66824"/>
                  </a:lnTo>
                  <a:lnTo>
                    <a:pt x="1116985" y="65605"/>
                  </a:lnTo>
                  <a:lnTo>
                    <a:pt x="1118326" y="54508"/>
                  </a:lnTo>
                  <a:lnTo>
                    <a:pt x="1114180" y="53532"/>
                  </a:lnTo>
                  <a:lnTo>
                    <a:pt x="1102718" y="60971"/>
                  </a:lnTo>
                  <a:lnTo>
                    <a:pt x="1094914" y="58654"/>
                  </a:lnTo>
                  <a:lnTo>
                    <a:pt x="1099426" y="51581"/>
                  </a:lnTo>
                  <a:lnTo>
                    <a:pt x="1080524" y="42314"/>
                  </a:lnTo>
                  <a:lnTo>
                    <a:pt x="1070526" y="41094"/>
                  </a:lnTo>
                  <a:lnTo>
                    <a:pt x="1065038" y="38046"/>
                  </a:lnTo>
                  <a:lnTo>
                    <a:pt x="1008457" y="40485"/>
                  </a:lnTo>
                  <a:lnTo>
                    <a:pt x="1004189" y="45362"/>
                  </a:lnTo>
                  <a:lnTo>
                    <a:pt x="984434" y="47313"/>
                  </a:lnTo>
                  <a:lnTo>
                    <a:pt x="967851" y="41704"/>
                  </a:lnTo>
                  <a:lnTo>
                    <a:pt x="987971" y="33778"/>
                  </a:lnTo>
                  <a:lnTo>
                    <a:pt x="989800" y="28412"/>
                  </a:lnTo>
                  <a:lnTo>
                    <a:pt x="978581" y="26461"/>
                  </a:lnTo>
                  <a:lnTo>
                    <a:pt x="968826" y="30729"/>
                  </a:lnTo>
                  <a:lnTo>
                    <a:pt x="957851" y="29998"/>
                  </a:lnTo>
                  <a:lnTo>
                    <a:pt x="957851" y="24510"/>
                  </a:lnTo>
                  <a:lnTo>
                    <a:pt x="936511" y="24510"/>
                  </a:lnTo>
                  <a:lnTo>
                    <a:pt x="936511" y="17438"/>
                  </a:lnTo>
                  <a:lnTo>
                    <a:pt x="961875" y="15487"/>
                  </a:lnTo>
                  <a:lnTo>
                    <a:pt x="969436" y="9511"/>
                  </a:lnTo>
                  <a:lnTo>
                    <a:pt x="964802" y="5487"/>
                  </a:lnTo>
                  <a:lnTo>
                    <a:pt x="952608" y="6097"/>
                  </a:lnTo>
                  <a:lnTo>
                    <a:pt x="931268" y="0"/>
                  </a:lnTo>
                  <a:lnTo>
                    <a:pt x="905294" y="6585"/>
                  </a:lnTo>
                  <a:lnTo>
                    <a:pt x="899563" y="10853"/>
                  </a:lnTo>
                  <a:lnTo>
                    <a:pt x="882126" y="19023"/>
                  </a:lnTo>
                  <a:lnTo>
                    <a:pt x="880662" y="25242"/>
                  </a:lnTo>
                  <a:lnTo>
                    <a:pt x="870663" y="29510"/>
                  </a:lnTo>
                  <a:lnTo>
                    <a:pt x="873102" y="32924"/>
                  </a:lnTo>
                  <a:lnTo>
                    <a:pt x="886637" y="37680"/>
                  </a:lnTo>
                  <a:lnTo>
                    <a:pt x="877492" y="39631"/>
                  </a:lnTo>
                  <a:lnTo>
                    <a:pt x="879687" y="41826"/>
                  </a:lnTo>
                  <a:lnTo>
                    <a:pt x="890783" y="42558"/>
                  </a:lnTo>
                  <a:lnTo>
                    <a:pt x="900295" y="45484"/>
                  </a:lnTo>
                  <a:lnTo>
                    <a:pt x="923464" y="43655"/>
                  </a:lnTo>
                  <a:lnTo>
                    <a:pt x="930414" y="49630"/>
                  </a:lnTo>
                  <a:lnTo>
                    <a:pt x="906026" y="53410"/>
                  </a:lnTo>
                  <a:lnTo>
                    <a:pt x="877370" y="49752"/>
                  </a:lnTo>
                  <a:lnTo>
                    <a:pt x="865176" y="47313"/>
                  </a:lnTo>
                  <a:lnTo>
                    <a:pt x="846641" y="49142"/>
                  </a:lnTo>
                  <a:lnTo>
                    <a:pt x="832983" y="45606"/>
                  </a:lnTo>
                  <a:lnTo>
                    <a:pt x="832983" y="45606"/>
                  </a:lnTo>
                  <a:lnTo>
                    <a:pt x="835178" y="46826"/>
                  </a:lnTo>
                  <a:lnTo>
                    <a:pt x="855420" y="54264"/>
                  </a:lnTo>
                  <a:lnTo>
                    <a:pt x="860786" y="60605"/>
                  </a:lnTo>
                  <a:lnTo>
                    <a:pt x="857128" y="71458"/>
                  </a:lnTo>
                  <a:lnTo>
                    <a:pt x="838958" y="74994"/>
                  </a:lnTo>
                  <a:lnTo>
                    <a:pt x="832861" y="65361"/>
                  </a:lnTo>
                  <a:lnTo>
                    <a:pt x="839446" y="60971"/>
                  </a:lnTo>
                  <a:lnTo>
                    <a:pt x="824447" y="55849"/>
                  </a:lnTo>
                  <a:lnTo>
                    <a:pt x="815424" y="59264"/>
                  </a:lnTo>
                  <a:lnTo>
                    <a:pt x="806522" y="64873"/>
                  </a:lnTo>
                  <a:lnTo>
                    <a:pt x="782133" y="72555"/>
                  </a:lnTo>
                  <a:lnTo>
                    <a:pt x="782133" y="66946"/>
                  </a:lnTo>
                  <a:lnTo>
                    <a:pt x="774939" y="66946"/>
                  </a:lnTo>
                  <a:lnTo>
                    <a:pt x="766159" y="71336"/>
                  </a:lnTo>
                  <a:lnTo>
                    <a:pt x="753965" y="68775"/>
                  </a:lnTo>
                  <a:lnTo>
                    <a:pt x="766159" y="61581"/>
                  </a:lnTo>
                  <a:lnTo>
                    <a:pt x="750916" y="59020"/>
                  </a:lnTo>
                  <a:lnTo>
                    <a:pt x="738722" y="60849"/>
                  </a:lnTo>
                  <a:lnTo>
                    <a:pt x="716285" y="61459"/>
                  </a:lnTo>
                  <a:lnTo>
                    <a:pt x="710554" y="62800"/>
                  </a:lnTo>
                  <a:lnTo>
                    <a:pt x="711164" y="63410"/>
                  </a:lnTo>
                  <a:lnTo>
                    <a:pt x="718846" y="64507"/>
                  </a:lnTo>
                  <a:lnTo>
                    <a:pt x="734942" y="64507"/>
                  </a:lnTo>
                  <a:lnTo>
                    <a:pt x="734942" y="64507"/>
                  </a:lnTo>
                  <a:lnTo>
                    <a:pt x="727991" y="72068"/>
                  </a:lnTo>
                  <a:lnTo>
                    <a:pt x="708725" y="73897"/>
                  </a:lnTo>
                  <a:lnTo>
                    <a:pt x="680800" y="75116"/>
                  </a:lnTo>
                  <a:lnTo>
                    <a:pt x="673483" y="79506"/>
                  </a:lnTo>
                  <a:lnTo>
                    <a:pt x="673483" y="79506"/>
                  </a:lnTo>
                  <a:lnTo>
                    <a:pt x="661289" y="78287"/>
                  </a:lnTo>
                  <a:lnTo>
                    <a:pt x="645803" y="81945"/>
                  </a:lnTo>
                  <a:lnTo>
                    <a:pt x="626414" y="83774"/>
                  </a:lnTo>
                  <a:lnTo>
                    <a:pt x="610806" y="93285"/>
                  </a:lnTo>
                  <a:lnTo>
                    <a:pt x="598611" y="93285"/>
                  </a:lnTo>
                  <a:lnTo>
                    <a:pt x="598611" y="93285"/>
                  </a:lnTo>
                  <a:lnTo>
                    <a:pt x="592758" y="93285"/>
                  </a:lnTo>
                  <a:lnTo>
                    <a:pt x="604952" y="94383"/>
                  </a:lnTo>
                  <a:lnTo>
                    <a:pt x="599953" y="101943"/>
                  </a:lnTo>
                  <a:lnTo>
                    <a:pt x="591173" y="107187"/>
                  </a:lnTo>
                  <a:lnTo>
                    <a:pt x="583247" y="114747"/>
                  </a:lnTo>
                  <a:lnTo>
                    <a:pt x="571052" y="109626"/>
                  </a:lnTo>
                  <a:lnTo>
                    <a:pt x="566419" y="113528"/>
                  </a:lnTo>
                  <a:lnTo>
                    <a:pt x="568858" y="116942"/>
                  </a:lnTo>
                  <a:lnTo>
                    <a:pt x="578003" y="116088"/>
                  </a:lnTo>
                  <a:lnTo>
                    <a:pt x="590197" y="120478"/>
                  </a:lnTo>
                  <a:lnTo>
                    <a:pt x="587271" y="127307"/>
                  </a:lnTo>
                  <a:lnTo>
                    <a:pt x="571662" y="126454"/>
                  </a:lnTo>
                  <a:lnTo>
                    <a:pt x="570687" y="128283"/>
                  </a:lnTo>
                  <a:lnTo>
                    <a:pt x="578125" y="129014"/>
                  </a:lnTo>
                  <a:lnTo>
                    <a:pt x="588368" y="135111"/>
                  </a:lnTo>
                  <a:lnTo>
                    <a:pt x="586905" y="141330"/>
                  </a:lnTo>
                  <a:lnTo>
                    <a:pt x="593855" y="147184"/>
                  </a:lnTo>
                  <a:lnTo>
                    <a:pt x="591661" y="159378"/>
                  </a:lnTo>
                  <a:lnTo>
                    <a:pt x="580930" y="151817"/>
                  </a:lnTo>
                  <a:lnTo>
                    <a:pt x="563858" y="151817"/>
                  </a:lnTo>
                  <a:lnTo>
                    <a:pt x="555322" y="156939"/>
                  </a:lnTo>
                  <a:lnTo>
                    <a:pt x="541055" y="156939"/>
                  </a:lnTo>
                  <a:lnTo>
                    <a:pt x="533007" y="155354"/>
                  </a:lnTo>
                  <a:lnTo>
                    <a:pt x="512033" y="158646"/>
                  </a:lnTo>
                  <a:lnTo>
                    <a:pt x="479109" y="162914"/>
                  </a:lnTo>
                  <a:lnTo>
                    <a:pt x="470085" y="162914"/>
                  </a:lnTo>
                  <a:lnTo>
                    <a:pt x="460939" y="172547"/>
                  </a:lnTo>
                  <a:lnTo>
                    <a:pt x="467158" y="177791"/>
                  </a:lnTo>
                  <a:lnTo>
                    <a:pt x="465695" y="193765"/>
                  </a:lnTo>
                  <a:lnTo>
                    <a:pt x="472890" y="199009"/>
                  </a:lnTo>
                  <a:lnTo>
                    <a:pt x="471670" y="206081"/>
                  </a:lnTo>
                  <a:lnTo>
                    <a:pt x="499716" y="213642"/>
                  </a:lnTo>
                  <a:lnTo>
                    <a:pt x="499716" y="223031"/>
                  </a:lnTo>
                  <a:lnTo>
                    <a:pt x="520325" y="228031"/>
                  </a:lnTo>
                  <a:lnTo>
                    <a:pt x="525446" y="241079"/>
                  </a:lnTo>
                  <a:lnTo>
                    <a:pt x="518130" y="252541"/>
                  </a:lnTo>
                  <a:lnTo>
                    <a:pt x="518130" y="261321"/>
                  </a:lnTo>
                  <a:lnTo>
                    <a:pt x="532519" y="276076"/>
                  </a:lnTo>
                  <a:lnTo>
                    <a:pt x="528983" y="286685"/>
                  </a:lnTo>
                  <a:lnTo>
                    <a:pt x="519106" y="290709"/>
                  </a:lnTo>
                  <a:lnTo>
                    <a:pt x="541055" y="305220"/>
                  </a:lnTo>
                  <a:lnTo>
                    <a:pt x="548006" y="310829"/>
                  </a:lnTo>
                  <a:lnTo>
                    <a:pt x="537275" y="315951"/>
                  </a:lnTo>
                  <a:lnTo>
                    <a:pt x="537275" y="315951"/>
                  </a:lnTo>
                  <a:lnTo>
                    <a:pt x="527397" y="314000"/>
                  </a:lnTo>
                  <a:lnTo>
                    <a:pt x="519959" y="305098"/>
                  </a:lnTo>
                  <a:lnTo>
                    <a:pt x="497887" y="289124"/>
                  </a:lnTo>
                  <a:lnTo>
                    <a:pt x="513496" y="277905"/>
                  </a:lnTo>
                  <a:lnTo>
                    <a:pt x="512521" y="267906"/>
                  </a:lnTo>
                  <a:lnTo>
                    <a:pt x="495449" y="272174"/>
                  </a:lnTo>
                  <a:lnTo>
                    <a:pt x="493741" y="259614"/>
                  </a:lnTo>
                  <a:lnTo>
                    <a:pt x="484230" y="254980"/>
                  </a:lnTo>
                  <a:lnTo>
                    <a:pt x="496424" y="247542"/>
                  </a:lnTo>
                  <a:lnTo>
                    <a:pt x="504472" y="246810"/>
                  </a:lnTo>
                  <a:lnTo>
                    <a:pt x="509960" y="239493"/>
                  </a:lnTo>
                  <a:lnTo>
                    <a:pt x="508984" y="238274"/>
                  </a:lnTo>
                  <a:lnTo>
                    <a:pt x="486669" y="240713"/>
                  </a:lnTo>
                  <a:lnTo>
                    <a:pt x="460695" y="225958"/>
                  </a:lnTo>
                  <a:lnTo>
                    <a:pt x="431429" y="213764"/>
                  </a:lnTo>
                  <a:lnTo>
                    <a:pt x="413748" y="213764"/>
                  </a:lnTo>
                  <a:lnTo>
                    <a:pt x="398505" y="219861"/>
                  </a:lnTo>
                  <a:lnTo>
                    <a:pt x="398505" y="220592"/>
                  </a:lnTo>
                  <a:lnTo>
                    <a:pt x="403261" y="220592"/>
                  </a:lnTo>
                  <a:lnTo>
                    <a:pt x="414114" y="218397"/>
                  </a:lnTo>
                  <a:lnTo>
                    <a:pt x="414114" y="218397"/>
                  </a:lnTo>
                  <a:lnTo>
                    <a:pt x="414114" y="234128"/>
                  </a:lnTo>
                  <a:lnTo>
                    <a:pt x="399968" y="234128"/>
                  </a:lnTo>
                  <a:lnTo>
                    <a:pt x="388750" y="226568"/>
                  </a:lnTo>
                  <a:lnTo>
                    <a:pt x="378873" y="228031"/>
                  </a:lnTo>
                  <a:lnTo>
                    <a:pt x="373873" y="232909"/>
                  </a:lnTo>
                  <a:lnTo>
                    <a:pt x="381921" y="241201"/>
                  </a:lnTo>
                  <a:lnTo>
                    <a:pt x="403749" y="248639"/>
                  </a:lnTo>
                  <a:lnTo>
                    <a:pt x="415943" y="247542"/>
                  </a:lnTo>
                  <a:lnTo>
                    <a:pt x="415943" y="247542"/>
                  </a:lnTo>
                  <a:lnTo>
                    <a:pt x="415943" y="253882"/>
                  </a:lnTo>
                  <a:lnTo>
                    <a:pt x="423137" y="258882"/>
                  </a:lnTo>
                  <a:lnTo>
                    <a:pt x="435331" y="260955"/>
                  </a:lnTo>
                  <a:lnTo>
                    <a:pt x="432771" y="270101"/>
                  </a:lnTo>
                  <a:lnTo>
                    <a:pt x="416308" y="268028"/>
                  </a:lnTo>
                  <a:lnTo>
                    <a:pt x="405090" y="261321"/>
                  </a:lnTo>
                  <a:lnTo>
                    <a:pt x="389603" y="261321"/>
                  </a:lnTo>
                  <a:lnTo>
                    <a:pt x="355582" y="252053"/>
                  </a:lnTo>
                  <a:lnTo>
                    <a:pt x="363020" y="239859"/>
                  </a:lnTo>
                  <a:lnTo>
                    <a:pt x="355338" y="236079"/>
                  </a:lnTo>
                  <a:lnTo>
                    <a:pt x="355338" y="226202"/>
                  </a:lnTo>
                  <a:lnTo>
                    <a:pt x="365215" y="216934"/>
                  </a:lnTo>
                  <a:lnTo>
                    <a:pt x="363996" y="200960"/>
                  </a:lnTo>
                  <a:lnTo>
                    <a:pt x="351802" y="191692"/>
                  </a:lnTo>
                  <a:lnTo>
                    <a:pt x="344485" y="190229"/>
                  </a:lnTo>
                  <a:lnTo>
                    <a:pt x="344485" y="190229"/>
                  </a:lnTo>
                  <a:lnTo>
                    <a:pt x="351680" y="195229"/>
                  </a:lnTo>
                  <a:lnTo>
                    <a:pt x="354728" y="204130"/>
                  </a:lnTo>
                  <a:lnTo>
                    <a:pt x="357777" y="208764"/>
                  </a:lnTo>
                  <a:lnTo>
                    <a:pt x="356069" y="221812"/>
                  </a:lnTo>
                  <a:lnTo>
                    <a:pt x="324486" y="234006"/>
                  </a:lnTo>
                  <a:lnTo>
                    <a:pt x="317170" y="247785"/>
                  </a:lnTo>
                  <a:lnTo>
                    <a:pt x="334608" y="261565"/>
                  </a:lnTo>
                  <a:lnTo>
                    <a:pt x="341071" y="278759"/>
                  </a:lnTo>
                  <a:lnTo>
                    <a:pt x="331559" y="288148"/>
                  </a:lnTo>
                  <a:lnTo>
                    <a:pt x="321560" y="296196"/>
                  </a:lnTo>
                  <a:lnTo>
                    <a:pt x="320340" y="304854"/>
                  </a:lnTo>
                  <a:lnTo>
                    <a:pt x="325828" y="315829"/>
                  </a:lnTo>
                  <a:lnTo>
                    <a:pt x="328267" y="324731"/>
                  </a:lnTo>
                  <a:lnTo>
                    <a:pt x="347656" y="328633"/>
                  </a:lnTo>
                  <a:lnTo>
                    <a:pt x="359850" y="322658"/>
                  </a:lnTo>
                  <a:lnTo>
                    <a:pt x="385336" y="327169"/>
                  </a:lnTo>
                  <a:lnTo>
                    <a:pt x="392530" y="334974"/>
                  </a:lnTo>
                  <a:lnTo>
                    <a:pt x="402529" y="338388"/>
                  </a:lnTo>
                  <a:lnTo>
                    <a:pt x="417284" y="356070"/>
                  </a:lnTo>
                  <a:lnTo>
                    <a:pt x="402285" y="364971"/>
                  </a:lnTo>
                  <a:lnTo>
                    <a:pt x="403261" y="369605"/>
                  </a:lnTo>
                  <a:lnTo>
                    <a:pt x="411797" y="376190"/>
                  </a:lnTo>
                  <a:lnTo>
                    <a:pt x="419967" y="374483"/>
                  </a:lnTo>
                  <a:lnTo>
                    <a:pt x="419967" y="374483"/>
                  </a:lnTo>
                  <a:lnTo>
                    <a:pt x="435331" y="380702"/>
                  </a:lnTo>
                  <a:lnTo>
                    <a:pt x="417040" y="384848"/>
                  </a:lnTo>
                  <a:lnTo>
                    <a:pt x="397773" y="382165"/>
                  </a:lnTo>
                  <a:lnTo>
                    <a:pt x="387530" y="376068"/>
                  </a:lnTo>
                  <a:lnTo>
                    <a:pt x="394725" y="353509"/>
                  </a:lnTo>
                  <a:lnTo>
                    <a:pt x="383994" y="342168"/>
                  </a:lnTo>
                  <a:lnTo>
                    <a:pt x="380336" y="337047"/>
                  </a:lnTo>
                  <a:lnTo>
                    <a:pt x="368142" y="336315"/>
                  </a:lnTo>
                  <a:lnTo>
                    <a:pt x="336315" y="347778"/>
                  </a:lnTo>
                  <a:lnTo>
                    <a:pt x="339729" y="350948"/>
                  </a:lnTo>
                  <a:lnTo>
                    <a:pt x="351923" y="369727"/>
                  </a:lnTo>
                  <a:lnTo>
                    <a:pt x="347046" y="381921"/>
                  </a:lnTo>
                  <a:lnTo>
                    <a:pt x="334852" y="388018"/>
                  </a:lnTo>
                  <a:lnTo>
                    <a:pt x="322657" y="404968"/>
                  </a:lnTo>
                  <a:lnTo>
                    <a:pt x="304244" y="415089"/>
                  </a:lnTo>
                  <a:lnTo>
                    <a:pt x="293514" y="430332"/>
                  </a:lnTo>
                  <a:lnTo>
                    <a:pt x="285100" y="423625"/>
                  </a:lnTo>
                  <a:lnTo>
                    <a:pt x="248517" y="422162"/>
                  </a:lnTo>
                  <a:lnTo>
                    <a:pt x="234372" y="410943"/>
                  </a:lnTo>
                  <a:lnTo>
                    <a:pt x="219983" y="410090"/>
                  </a:lnTo>
                  <a:lnTo>
                    <a:pt x="213032" y="403139"/>
                  </a:lnTo>
                  <a:lnTo>
                    <a:pt x="221934" y="399115"/>
                  </a:lnTo>
                  <a:lnTo>
                    <a:pt x="236201" y="399115"/>
                  </a:lnTo>
                  <a:lnTo>
                    <a:pt x="246566" y="396554"/>
                  </a:lnTo>
                  <a:lnTo>
                    <a:pt x="256199" y="400456"/>
                  </a:lnTo>
                  <a:lnTo>
                    <a:pt x="266564" y="408992"/>
                  </a:lnTo>
                  <a:lnTo>
                    <a:pt x="279734" y="403261"/>
                  </a:lnTo>
                  <a:lnTo>
                    <a:pt x="279734" y="397530"/>
                  </a:lnTo>
                  <a:lnTo>
                    <a:pt x="287904" y="392652"/>
                  </a:lnTo>
                  <a:lnTo>
                    <a:pt x="286441" y="387531"/>
                  </a:lnTo>
                  <a:lnTo>
                    <a:pt x="304366" y="376800"/>
                  </a:lnTo>
                  <a:lnTo>
                    <a:pt x="311926" y="364606"/>
                  </a:lnTo>
                  <a:lnTo>
                    <a:pt x="307293" y="358021"/>
                  </a:lnTo>
                  <a:lnTo>
                    <a:pt x="320463" y="348631"/>
                  </a:lnTo>
                  <a:lnTo>
                    <a:pt x="310585" y="346802"/>
                  </a:lnTo>
                  <a:lnTo>
                    <a:pt x="295830" y="332779"/>
                  </a:lnTo>
                  <a:lnTo>
                    <a:pt x="302781" y="322048"/>
                  </a:lnTo>
                  <a:lnTo>
                    <a:pt x="296440" y="317414"/>
                  </a:lnTo>
                  <a:lnTo>
                    <a:pt x="296440" y="289733"/>
                  </a:lnTo>
                  <a:lnTo>
                    <a:pt x="306927" y="282661"/>
                  </a:lnTo>
                  <a:lnTo>
                    <a:pt x="299367" y="279490"/>
                  </a:lnTo>
                  <a:lnTo>
                    <a:pt x="298025" y="256077"/>
                  </a:lnTo>
                  <a:lnTo>
                    <a:pt x="280588" y="253517"/>
                  </a:lnTo>
                  <a:lnTo>
                    <a:pt x="282417" y="241323"/>
                  </a:lnTo>
                  <a:lnTo>
                    <a:pt x="305220" y="224251"/>
                  </a:lnTo>
                  <a:lnTo>
                    <a:pt x="306195" y="217422"/>
                  </a:lnTo>
                  <a:lnTo>
                    <a:pt x="301928" y="215715"/>
                  </a:lnTo>
                  <a:lnTo>
                    <a:pt x="304732" y="200228"/>
                  </a:lnTo>
                  <a:lnTo>
                    <a:pt x="286807" y="191083"/>
                  </a:lnTo>
                  <a:lnTo>
                    <a:pt x="265711" y="192668"/>
                  </a:lnTo>
                  <a:lnTo>
                    <a:pt x="253517" y="188522"/>
                  </a:lnTo>
                  <a:lnTo>
                    <a:pt x="239737" y="191570"/>
                  </a:lnTo>
                  <a:lnTo>
                    <a:pt x="229982" y="224738"/>
                  </a:lnTo>
                  <a:lnTo>
                    <a:pt x="213886" y="245712"/>
                  </a:lnTo>
                  <a:lnTo>
                    <a:pt x="195716" y="261687"/>
                  </a:lnTo>
                  <a:lnTo>
                    <a:pt x="191082" y="271442"/>
                  </a:lnTo>
                  <a:lnTo>
                    <a:pt x="194741" y="273637"/>
                  </a:lnTo>
                  <a:lnTo>
                    <a:pt x="193155" y="300098"/>
                  </a:lnTo>
                  <a:lnTo>
                    <a:pt x="189497" y="301562"/>
                  </a:lnTo>
                  <a:lnTo>
                    <a:pt x="192546" y="311805"/>
                  </a:lnTo>
                  <a:lnTo>
                    <a:pt x="198399" y="309000"/>
                  </a:lnTo>
                  <a:lnTo>
                    <a:pt x="213764" y="318146"/>
                  </a:lnTo>
                  <a:lnTo>
                    <a:pt x="210837" y="325096"/>
                  </a:lnTo>
                  <a:lnTo>
                    <a:pt x="223031" y="333998"/>
                  </a:lnTo>
                  <a:lnTo>
                    <a:pt x="235957" y="334974"/>
                  </a:lnTo>
                  <a:lnTo>
                    <a:pt x="234128" y="350094"/>
                  </a:lnTo>
                  <a:lnTo>
                    <a:pt x="213764" y="362289"/>
                  </a:lnTo>
                  <a:lnTo>
                    <a:pt x="206203" y="357777"/>
                  </a:lnTo>
                  <a:lnTo>
                    <a:pt x="204740" y="349241"/>
                  </a:lnTo>
                  <a:lnTo>
                    <a:pt x="193278" y="342412"/>
                  </a:lnTo>
                  <a:lnTo>
                    <a:pt x="183400" y="342412"/>
                  </a:lnTo>
                  <a:lnTo>
                    <a:pt x="171816" y="335461"/>
                  </a:lnTo>
                  <a:lnTo>
                    <a:pt x="159622" y="332901"/>
                  </a:lnTo>
                  <a:lnTo>
                    <a:pt x="147427" y="325950"/>
                  </a:lnTo>
                  <a:lnTo>
                    <a:pt x="132185" y="319121"/>
                  </a:lnTo>
                  <a:lnTo>
                    <a:pt x="136940" y="331315"/>
                  </a:lnTo>
                  <a:lnTo>
                    <a:pt x="140599" y="340095"/>
                  </a:lnTo>
                  <a:lnTo>
                    <a:pt x="142428" y="344607"/>
                  </a:lnTo>
                  <a:lnTo>
                    <a:pt x="138525" y="347412"/>
                  </a:lnTo>
                  <a:lnTo>
                    <a:pt x="131209" y="352777"/>
                  </a:lnTo>
                  <a:lnTo>
                    <a:pt x="140964" y="395945"/>
                  </a:lnTo>
                  <a:lnTo>
                    <a:pt x="142916" y="404846"/>
                  </a:lnTo>
                  <a:lnTo>
                    <a:pt x="142916" y="406188"/>
                  </a:lnTo>
                  <a:lnTo>
                    <a:pt x="142916" y="407407"/>
                  </a:lnTo>
                  <a:lnTo>
                    <a:pt x="138648" y="427527"/>
                  </a:lnTo>
                  <a:lnTo>
                    <a:pt x="138038" y="430454"/>
                  </a:lnTo>
                  <a:lnTo>
                    <a:pt x="135233" y="431795"/>
                  </a:lnTo>
                  <a:lnTo>
                    <a:pt x="129868" y="434234"/>
                  </a:lnTo>
                  <a:lnTo>
                    <a:pt x="119991" y="438868"/>
                  </a:lnTo>
                  <a:lnTo>
                    <a:pt x="62556" y="503497"/>
                  </a:lnTo>
                  <a:lnTo>
                    <a:pt x="56581" y="570199"/>
                  </a:lnTo>
                  <a:lnTo>
                    <a:pt x="59995" y="574589"/>
                  </a:lnTo>
                  <a:lnTo>
                    <a:pt x="65970" y="582637"/>
                  </a:lnTo>
                  <a:lnTo>
                    <a:pt x="67677" y="584832"/>
                  </a:lnTo>
                  <a:lnTo>
                    <a:pt x="66946" y="587637"/>
                  </a:lnTo>
                  <a:lnTo>
                    <a:pt x="63409" y="603001"/>
                  </a:lnTo>
                  <a:lnTo>
                    <a:pt x="57556" y="628731"/>
                  </a:lnTo>
                  <a:lnTo>
                    <a:pt x="54874" y="640072"/>
                  </a:lnTo>
                  <a:lnTo>
                    <a:pt x="45728" y="710310"/>
                  </a:lnTo>
                  <a:lnTo>
                    <a:pt x="50606" y="740673"/>
                  </a:lnTo>
                  <a:lnTo>
                    <a:pt x="51825" y="747746"/>
                  </a:lnTo>
                  <a:lnTo>
                    <a:pt x="51825" y="747380"/>
                  </a:lnTo>
                  <a:lnTo>
                    <a:pt x="53288" y="796157"/>
                  </a:lnTo>
                  <a:lnTo>
                    <a:pt x="53288" y="797742"/>
                  </a:lnTo>
                  <a:lnTo>
                    <a:pt x="45850" y="828106"/>
                  </a:lnTo>
                  <a:lnTo>
                    <a:pt x="45240" y="830666"/>
                  </a:lnTo>
                  <a:lnTo>
                    <a:pt x="42923" y="831886"/>
                  </a:lnTo>
                  <a:lnTo>
                    <a:pt x="38777" y="834203"/>
                  </a:lnTo>
                  <a:lnTo>
                    <a:pt x="26583" y="841275"/>
                  </a:lnTo>
                  <a:lnTo>
                    <a:pt x="18901" y="861030"/>
                  </a:lnTo>
                  <a:lnTo>
                    <a:pt x="32680" y="873224"/>
                  </a:lnTo>
                  <a:lnTo>
                    <a:pt x="36095" y="876395"/>
                  </a:lnTo>
                  <a:lnTo>
                    <a:pt x="34022" y="880419"/>
                  </a:lnTo>
                  <a:lnTo>
                    <a:pt x="5609" y="937487"/>
                  </a:lnTo>
                  <a:lnTo>
                    <a:pt x="854" y="956632"/>
                  </a:lnTo>
                  <a:lnTo>
                    <a:pt x="0" y="960047"/>
                  </a:lnTo>
                  <a:lnTo>
                    <a:pt x="16096" y="975655"/>
                  </a:lnTo>
                  <a:lnTo>
                    <a:pt x="30851" y="989922"/>
                  </a:lnTo>
                  <a:lnTo>
                    <a:pt x="50484" y="1009311"/>
                  </a:lnTo>
                  <a:lnTo>
                    <a:pt x="52435" y="1009311"/>
                  </a:lnTo>
                  <a:lnTo>
                    <a:pt x="56703" y="1008335"/>
                  </a:lnTo>
                  <a:lnTo>
                    <a:pt x="59020" y="1011872"/>
                  </a:lnTo>
                  <a:lnTo>
                    <a:pt x="64385" y="1020042"/>
                  </a:lnTo>
                  <a:lnTo>
                    <a:pt x="68897" y="1016749"/>
                  </a:lnTo>
                  <a:lnTo>
                    <a:pt x="68897" y="1016749"/>
                  </a:lnTo>
                  <a:lnTo>
                    <a:pt x="67922" y="1005287"/>
                  </a:lnTo>
                  <a:lnTo>
                    <a:pt x="65483" y="1003458"/>
                  </a:lnTo>
                  <a:lnTo>
                    <a:pt x="56459" y="997117"/>
                  </a:lnTo>
                  <a:lnTo>
                    <a:pt x="53532" y="995044"/>
                  </a:lnTo>
                  <a:lnTo>
                    <a:pt x="53532" y="991507"/>
                  </a:lnTo>
                  <a:lnTo>
                    <a:pt x="54630" y="980045"/>
                  </a:lnTo>
                  <a:lnTo>
                    <a:pt x="54630" y="975777"/>
                  </a:lnTo>
                  <a:lnTo>
                    <a:pt x="58776" y="974679"/>
                  </a:lnTo>
                  <a:lnTo>
                    <a:pt x="66580" y="972728"/>
                  </a:lnTo>
                  <a:lnTo>
                    <a:pt x="67800" y="968948"/>
                  </a:lnTo>
                  <a:lnTo>
                    <a:pt x="62556" y="964558"/>
                  </a:lnTo>
                  <a:lnTo>
                    <a:pt x="59386" y="961876"/>
                  </a:lnTo>
                  <a:lnTo>
                    <a:pt x="60605" y="957852"/>
                  </a:lnTo>
                  <a:lnTo>
                    <a:pt x="62678" y="951754"/>
                  </a:lnTo>
                  <a:lnTo>
                    <a:pt x="63654" y="948828"/>
                  </a:lnTo>
                  <a:lnTo>
                    <a:pt x="66580" y="947852"/>
                  </a:lnTo>
                  <a:lnTo>
                    <a:pt x="74019" y="945413"/>
                  </a:lnTo>
                  <a:lnTo>
                    <a:pt x="67922" y="945413"/>
                  </a:lnTo>
                  <a:lnTo>
                    <a:pt x="61459" y="945413"/>
                  </a:lnTo>
                  <a:lnTo>
                    <a:pt x="61459" y="922123"/>
                  </a:lnTo>
                  <a:lnTo>
                    <a:pt x="66458" y="921269"/>
                  </a:lnTo>
                  <a:lnTo>
                    <a:pt x="89993" y="917367"/>
                  </a:lnTo>
                  <a:lnTo>
                    <a:pt x="107431" y="912611"/>
                  </a:lnTo>
                  <a:lnTo>
                    <a:pt x="120722" y="909075"/>
                  </a:lnTo>
                  <a:lnTo>
                    <a:pt x="173645" y="886760"/>
                  </a:lnTo>
                  <a:lnTo>
                    <a:pt x="196326" y="869322"/>
                  </a:lnTo>
                  <a:lnTo>
                    <a:pt x="197667" y="868224"/>
                  </a:lnTo>
                  <a:lnTo>
                    <a:pt x="199496" y="868224"/>
                  </a:lnTo>
                  <a:lnTo>
                    <a:pt x="223885" y="865542"/>
                  </a:lnTo>
                  <a:lnTo>
                    <a:pt x="225226" y="865542"/>
                  </a:lnTo>
                  <a:lnTo>
                    <a:pt x="251687" y="868224"/>
                  </a:lnTo>
                  <a:lnTo>
                    <a:pt x="252541" y="868224"/>
                  </a:lnTo>
                  <a:lnTo>
                    <a:pt x="253273" y="868224"/>
                  </a:lnTo>
                  <a:lnTo>
                    <a:pt x="266320" y="873346"/>
                  </a:lnTo>
                  <a:lnTo>
                    <a:pt x="268881" y="874443"/>
                  </a:lnTo>
                  <a:lnTo>
                    <a:pt x="269857" y="877126"/>
                  </a:lnTo>
                  <a:lnTo>
                    <a:pt x="276807" y="898100"/>
                  </a:lnTo>
                  <a:lnTo>
                    <a:pt x="288148" y="895052"/>
                  </a:lnTo>
                  <a:lnTo>
                    <a:pt x="290099" y="895052"/>
                  </a:lnTo>
                  <a:lnTo>
                    <a:pt x="292050" y="895783"/>
                  </a:lnTo>
                  <a:lnTo>
                    <a:pt x="299854" y="899076"/>
                  </a:lnTo>
                  <a:lnTo>
                    <a:pt x="317292" y="906392"/>
                  </a:lnTo>
                  <a:lnTo>
                    <a:pt x="320340" y="907734"/>
                  </a:lnTo>
                  <a:lnTo>
                    <a:pt x="320950" y="911026"/>
                  </a:lnTo>
                  <a:lnTo>
                    <a:pt x="322901" y="923220"/>
                  </a:lnTo>
                  <a:lnTo>
                    <a:pt x="340949" y="920050"/>
                  </a:lnTo>
                  <a:lnTo>
                    <a:pt x="345582" y="909441"/>
                  </a:lnTo>
                  <a:lnTo>
                    <a:pt x="345582" y="908587"/>
                  </a:lnTo>
                  <a:lnTo>
                    <a:pt x="346192" y="908587"/>
                  </a:lnTo>
                  <a:lnTo>
                    <a:pt x="355094" y="898222"/>
                  </a:lnTo>
                  <a:lnTo>
                    <a:pt x="357289" y="895905"/>
                  </a:lnTo>
                  <a:lnTo>
                    <a:pt x="360337" y="895905"/>
                  </a:lnTo>
                  <a:lnTo>
                    <a:pt x="374483" y="897490"/>
                  </a:lnTo>
                  <a:lnTo>
                    <a:pt x="382897" y="898344"/>
                  </a:lnTo>
                  <a:lnTo>
                    <a:pt x="388384" y="898954"/>
                  </a:lnTo>
                  <a:lnTo>
                    <a:pt x="388384" y="916269"/>
                  </a:lnTo>
                  <a:lnTo>
                    <a:pt x="394725" y="935292"/>
                  </a:lnTo>
                  <a:lnTo>
                    <a:pt x="419113" y="950535"/>
                  </a:lnTo>
                  <a:lnTo>
                    <a:pt x="422528" y="952608"/>
                  </a:lnTo>
                  <a:lnTo>
                    <a:pt x="424235" y="953706"/>
                  </a:lnTo>
                  <a:lnTo>
                    <a:pt x="424967" y="955535"/>
                  </a:lnTo>
                  <a:lnTo>
                    <a:pt x="434478" y="978582"/>
                  </a:lnTo>
                  <a:lnTo>
                    <a:pt x="435088" y="979557"/>
                  </a:lnTo>
                  <a:lnTo>
                    <a:pt x="451672" y="1009067"/>
                  </a:lnTo>
                  <a:lnTo>
                    <a:pt x="524837" y="1009067"/>
                  </a:lnTo>
                  <a:lnTo>
                    <a:pt x="526666" y="1011262"/>
                  </a:lnTo>
                  <a:lnTo>
                    <a:pt x="554590" y="1044308"/>
                  </a:lnTo>
                  <a:lnTo>
                    <a:pt x="556420" y="1046503"/>
                  </a:lnTo>
                  <a:lnTo>
                    <a:pt x="568614" y="1049796"/>
                  </a:lnTo>
                  <a:lnTo>
                    <a:pt x="594100" y="1057112"/>
                  </a:lnTo>
                  <a:lnTo>
                    <a:pt x="597392" y="1058088"/>
                  </a:lnTo>
                  <a:lnTo>
                    <a:pt x="598368" y="1061380"/>
                  </a:lnTo>
                  <a:lnTo>
                    <a:pt x="600075" y="1067233"/>
                  </a:lnTo>
                  <a:lnTo>
                    <a:pt x="600075" y="1067233"/>
                  </a:lnTo>
                  <a:lnTo>
                    <a:pt x="605562" y="1058575"/>
                  </a:lnTo>
                  <a:lnTo>
                    <a:pt x="606903" y="1056380"/>
                  </a:lnTo>
                  <a:lnTo>
                    <a:pt x="609464" y="1056380"/>
                  </a:lnTo>
                  <a:lnTo>
                    <a:pt x="626536" y="1052844"/>
                  </a:lnTo>
                  <a:lnTo>
                    <a:pt x="641169" y="1049796"/>
                  </a:lnTo>
                  <a:lnTo>
                    <a:pt x="655314" y="1030529"/>
                  </a:lnTo>
                  <a:lnTo>
                    <a:pt x="656899" y="1028456"/>
                  </a:lnTo>
                  <a:lnTo>
                    <a:pt x="659460" y="1028456"/>
                  </a:lnTo>
                  <a:lnTo>
                    <a:pt x="668606" y="1027358"/>
                  </a:lnTo>
                  <a:lnTo>
                    <a:pt x="674337" y="1022115"/>
                  </a:lnTo>
                  <a:lnTo>
                    <a:pt x="682751" y="1014554"/>
                  </a:lnTo>
                  <a:lnTo>
                    <a:pt x="684458" y="1012969"/>
                  </a:lnTo>
                  <a:lnTo>
                    <a:pt x="699579" y="1012969"/>
                  </a:lnTo>
                  <a:lnTo>
                    <a:pt x="701042" y="1013945"/>
                  </a:lnTo>
                  <a:lnTo>
                    <a:pt x="716407" y="1024188"/>
                  </a:lnTo>
                  <a:lnTo>
                    <a:pt x="732503" y="1022968"/>
                  </a:lnTo>
                  <a:lnTo>
                    <a:pt x="735308" y="1022968"/>
                  </a:lnTo>
                  <a:lnTo>
                    <a:pt x="737259" y="1024919"/>
                  </a:lnTo>
                  <a:lnTo>
                    <a:pt x="759574" y="1047235"/>
                  </a:lnTo>
                  <a:lnTo>
                    <a:pt x="762257" y="1047235"/>
                  </a:lnTo>
                  <a:lnTo>
                    <a:pt x="762989" y="1045162"/>
                  </a:lnTo>
                  <a:lnTo>
                    <a:pt x="764940" y="1039796"/>
                  </a:lnTo>
                  <a:lnTo>
                    <a:pt x="766525" y="1035894"/>
                  </a:lnTo>
                  <a:lnTo>
                    <a:pt x="788352" y="1035894"/>
                  </a:lnTo>
                  <a:lnTo>
                    <a:pt x="789084" y="1041138"/>
                  </a:lnTo>
                  <a:lnTo>
                    <a:pt x="789694" y="1045406"/>
                  </a:lnTo>
                  <a:lnTo>
                    <a:pt x="800912" y="1044064"/>
                  </a:lnTo>
                  <a:lnTo>
                    <a:pt x="808229" y="1043333"/>
                  </a:lnTo>
                  <a:lnTo>
                    <a:pt x="809204" y="1036138"/>
                  </a:lnTo>
                  <a:lnTo>
                    <a:pt x="810546" y="1026261"/>
                  </a:lnTo>
                  <a:lnTo>
                    <a:pt x="806400" y="1017359"/>
                  </a:lnTo>
                  <a:lnTo>
                    <a:pt x="803107" y="1010286"/>
                  </a:lnTo>
                  <a:lnTo>
                    <a:pt x="801278" y="1006262"/>
                  </a:lnTo>
                  <a:lnTo>
                    <a:pt x="804571" y="1003214"/>
                  </a:lnTo>
                  <a:lnTo>
                    <a:pt x="818594" y="991020"/>
                  </a:lnTo>
                  <a:lnTo>
                    <a:pt x="822740" y="985288"/>
                  </a:lnTo>
                  <a:lnTo>
                    <a:pt x="828959" y="976752"/>
                  </a:lnTo>
                  <a:lnTo>
                    <a:pt x="831520" y="973338"/>
                  </a:lnTo>
                  <a:lnTo>
                    <a:pt x="835544" y="974558"/>
                  </a:lnTo>
                  <a:lnTo>
                    <a:pt x="856274" y="980411"/>
                  </a:lnTo>
                  <a:lnTo>
                    <a:pt x="883101" y="988093"/>
                  </a:lnTo>
                  <a:lnTo>
                    <a:pt x="885052" y="988703"/>
                  </a:lnTo>
                  <a:lnTo>
                    <a:pt x="886394" y="990410"/>
                  </a:lnTo>
                  <a:lnTo>
                    <a:pt x="904197" y="1014798"/>
                  </a:lnTo>
                  <a:lnTo>
                    <a:pt x="918220" y="1033943"/>
                  </a:lnTo>
                  <a:lnTo>
                    <a:pt x="930414" y="1029309"/>
                  </a:lnTo>
                  <a:lnTo>
                    <a:pt x="952974" y="1021017"/>
                  </a:lnTo>
                  <a:lnTo>
                    <a:pt x="954925" y="1020286"/>
                  </a:lnTo>
                  <a:lnTo>
                    <a:pt x="956876" y="1020286"/>
                  </a:lnTo>
                  <a:lnTo>
                    <a:pt x="983947" y="1028334"/>
                  </a:lnTo>
                  <a:lnTo>
                    <a:pt x="1007604" y="1035406"/>
                  </a:lnTo>
                  <a:lnTo>
                    <a:pt x="1010530" y="1036260"/>
                  </a:lnTo>
                  <a:lnTo>
                    <a:pt x="1011628" y="1039065"/>
                  </a:lnTo>
                  <a:lnTo>
                    <a:pt x="1014920" y="1047722"/>
                  </a:lnTo>
                  <a:lnTo>
                    <a:pt x="1023334" y="1051015"/>
                  </a:lnTo>
                  <a:lnTo>
                    <a:pt x="1038455" y="1056868"/>
                  </a:lnTo>
                  <a:lnTo>
                    <a:pt x="1039308" y="1056868"/>
                  </a:lnTo>
                  <a:lnTo>
                    <a:pt x="1040162" y="1056868"/>
                  </a:lnTo>
                  <a:lnTo>
                    <a:pt x="1046869" y="1062599"/>
                  </a:lnTo>
                  <a:lnTo>
                    <a:pt x="1074549" y="1057356"/>
                  </a:lnTo>
                  <a:lnTo>
                    <a:pt x="1076135" y="1057356"/>
                  </a:lnTo>
                  <a:lnTo>
                    <a:pt x="1095767" y="1058697"/>
                  </a:lnTo>
                  <a:lnTo>
                    <a:pt x="1104547" y="1052966"/>
                  </a:lnTo>
                  <a:lnTo>
                    <a:pt x="1117961" y="1044308"/>
                  </a:lnTo>
                  <a:lnTo>
                    <a:pt x="1125155" y="1032114"/>
                  </a:lnTo>
                  <a:lnTo>
                    <a:pt x="1126740" y="1029431"/>
                  </a:lnTo>
                  <a:lnTo>
                    <a:pt x="1128814" y="1025895"/>
                  </a:lnTo>
                  <a:lnTo>
                    <a:pt x="1132960" y="1025895"/>
                  </a:lnTo>
                  <a:lnTo>
                    <a:pt x="1148080" y="1028456"/>
                  </a:lnTo>
                  <a:lnTo>
                    <a:pt x="1149543" y="1028456"/>
                  </a:lnTo>
                  <a:lnTo>
                    <a:pt x="1150885" y="1029431"/>
                  </a:lnTo>
                  <a:lnTo>
                    <a:pt x="1152592" y="1030895"/>
                  </a:lnTo>
                  <a:lnTo>
                    <a:pt x="1170395" y="1045040"/>
                  </a:lnTo>
                  <a:lnTo>
                    <a:pt x="1181005" y="1043820"/>
                  </a:lnTo>
                  <a:lnTo>
                    <a:pt x="1188199" y="1042967"/>
                  </a:lnTo>
                  <a:lnTo>
                    <a:pt x="1190028" y="1042967"/>
                  </a:lnTo>
                  <a:lnTo>
                    <a:pt x="1191613" y="1039796"/>
                  </a:lnTo>
                  <a:lnTo>
                    <a:pt x="1194052" y="1042479"/>
                  </a:lnTo>
                  <a:lnTo>
                    <a:pt x="1199540" y="1041747"/>
                  </a:lnTo>
                  <a:lnTo>
                    <a:pt x="1197345" y="1045893"/>
                  </a:lnTo>
                  <a:lnTo>
                    <a:pt x="1197345" y="1045893"/>
                  </a:lnTo>
                  <a:lnTo>
                    <a:pt x="1203564" y="1052478"/>
                  </a:lnTo>
                  <a:lnTo>
                    <a:pt x="1216490" y="1043698"/>
                  </a:lnTo>
                  <a:lnTo>
                    <a:pt x="1230025" y="1034553"/>
                  </a:lnTo>
                  <a:lnTo>
                    <a:pt x="1229415" y="1027114"/>
                  </a:lnTo>
                  <a:lnTo>
                    <a:pt x="1229415" y="1021139"/>
                  </a:lnTo>
                  <a:lnTo>
                    <a:pt x="1229415" y="1017237"/>
                  </a:lnTo>
                  <a:lnTo>
                    <a:pt x="1232830" y="1015408"/>
                  </a:lnTo>
                  <a:lnTo>
                    <a:pt x="1240146" y="1011140"/>
                  </a:lnTo>
                  <a:lnTo>
                    <a:pt x="1241488" y="1006994"/>
                  </a:lnTo>
                  <a:lnTo>
                    <a:pt x="1248072" y="984923"/>
                  </a:lnTo>
                  <a:lnTo>
                    <a:pt x="1248072" y="983093"/>
                  </a:lnTo>
                  <a:lnTo>
                    <a:pt x="1249657" y="981874"/>
                  </a:lnTo>
                  <a:lnTo>
                    <a:pt x="1258316" y="974923"/>
                  </a:lnTo>
                  <a:lnTo>
                    <a:pt x="1261974" y="972119"/>
                  </a:lnTo>
                  <a:lnTo>
                    <a:pt x="1262827" y="962973"/>
                  </a:lnTo>
                  <a:lnTo>
                    <a:pt x="1257584" y="962973"/>
                  </a:lnTo>
                  <a:lnTo>
                    <a:pt x="1245390" y="964192"/>
                  </a:lnTo>
                  <a:lnTo>
                    <a:pt x="1251853" y="953706"/>
                  </a:lnTo>
                  <a:lnTo>
                    <a:pt x="1263315" y="934926"/>
                  </a:lnTo>
                  <a:lnTo>
                    <a:pt x="1268924" y="925659"/>
                  </a:lnTo>
                  <a:lnTo>
                    <a:pt x="1270510" y="923098"/>
                  </a:lnTo>
                  <a:lnTo>
                    <a:pt x="1273314" y="923098"/>
                  </a:lnTo>
                  <a:lnTo>
                    <a:pt x="1292459" y="920781"/>
                  </a:lnTo>
                  <a:lnTo>
                    <a:pt x="1316847" y="917611"/>
                  </a:lnTo>
                  <a:lnTo>
                    <a:pt x="1318189" y="917611"/>
                  </a:lnTo>
                  <a:lnTo>
                    <a:pt x="1319408" y="917611"/>
                  </a:lnTo>
                  <a:lnTo>
                    <a:pt x="1322701" y="918708"/>
                  </a:lnTo>
                  <a:lnTo>
                    <a:pt x="1349893" y="927366"/>
                  </a:lnTo>
                  <a:lnTo>
                    <a:pt x="1362088" y="929805"/>
                  </a:lnTo>
                  <a:lnTo>
                    <a:pt x="1369770" y="931390"/>
                  </a:lnTo>
                  <a:lnTo>
                    <a:pt x="1372575" y="931390"/>
                  </a:lnTo>
                  <a:lnTo>
                    <a:pt x="1374038" y="933951"/>
                  </a:lnTo>
                  <a:lnTo>
                    <a:pt x="1383915" y="953096"/>
                  </a:lnTo>
                  <a:lnTo>
                    <a:pt x="1391720" y="968095"/>
                  </a:lnTo>
                  <a:lnTo>
                    <a:pt x="1392329" y="969192"/>
                  </a:lnTo>
                  <a:lnTo>
                    <a:pt x="1392329" y="970290"/>
                  </a:lnTo>
                  <a:lnTo>
                    <a:pt x="1393671" y="984801"/>
                  </a:lnTo>
                  <a:lnTo>
                    <a:pt x="1402084" y="1002726"/>
                  </a:lnTo>
                  <a:lnTo>
                    <a:pt x="1407328" y="1013701"/>
                  </a:lnTo>
                  <a:lnTo>
                    <a:pt x="1407328" y="1014432"/>
                  </a:lnTo>
                  <a:lnTo>
                    <a:pt x="1407328" y="1015408"/>
                  </a:lnTo>
                  <a:lnTo>
                    <a:pt x="1411108" y="1039796"/>
                  </a:lnTo>
                  <a:lnTo>
                    <a:pt x="1426107" y="1040894"/>
                  </a:lnTo>
                  <a:lnTo>
                    <a:pt x="1426961" y="1040894"/>
                  </a:lnTo>
                  <a:lnTo>
                    <a:pt x="1427814" y="1040894"/>
                  </a:lnTo>
                  <a:lnTo>
                    <a:pt x="1445496" y="1047722"/>
                  </a:lnTo>
                  <a:lnTo>
                    <a:pt x="1446715" y="1047722"/>
                  </a:lnTo>
                  <a:lnTo>
                    <a:pt x="1447691" y="1048698"/>
                  </a:lnTo>
                  <a:lnTo>
                    <a:pt x="1459885" y="1060892"/>
                  </a:lnTo>
                  <a:lnTo>
                    <a:pt x="1471103" y="1072111"/>
                  </a:lnTo>
                  <a:lnTo>
                    <a:pt x="1472201" y="1073208"/>
                  </a:lnTo>
                  <a:lnTo>
                    <a:pt x="1472201" y="1074672"/>
                  </a:lnTo>
                  <a:lnTo>
                    <a:pt x="1476103" y="1086866"/>
                  </a:lnTo>
                  <a:lnTo>
                    <a:pt x="1479639" y="1099060"/>
                  </a:lnTo>
                  <a:lnTo>
                    <a:pt x="1491224" y="1097963"/>
                  </a:lnTo>
                  <a:lnTo>
                    <a:pt x="1499882" y="1092963"/>
                  </a:lnTo>
                  <a:lnTo>
                    <a:pt x="1501101" y="1092231"/>
                  </a:lnTo>
                  <a:lnTo>
                    <a:pt x="1504394" y="1092231"/>
                  </a:lnTo>
                  <a:lnTo>
                    <a:pt x="1514759" y="1091500"/>
                  </a:lnTo>
                  <a:lnTo>
                    <a:pt x="1522685" y="1091500"/>
                  </a:lnTo>
                  <a:lnTo>
                    <a:pt x="1543781" y="1078330"/>
                  </a:lnTo>
                  <a:lnTo>
                    <a:pt x="1546220" y="1076867"/>
                  </a:lnTo>
                  <a:lnTo>
                    <a:pt x="1548902" y="1077720"/>
                  </a:lnTo>
                  <a:lnTo>
                    <a:pt x="1554756" y="1079671"/>
                  </a:lnTo>
                  <a:lnTo>
                    <a:pt x="1559755" y="1081378"/>
                  </a:lnTo>
                  <a:lnTo>
                    <a:pt x="1558779" y="1086622"/>
                  </a:lnTo>
                  <a:lnTo>
                    <a:pt x="1552195" y="1122229"/>
                  </a:lnTo>
                  <a:lnTo>
                    <a:pt x="1552195" y="1124546"/>
                  </a:lnTo>
                  <a:lnTo>
                    <a:pt x="1550244" y="1126009"/>
                  </a:lnTo>
                  <a:lnTo>
                    <a:pt x="1549512" y="1126009"/>
                  </a:lnTo>
                  <a:lnTo>
                    <a:pt x="1536586" y="1135521"/>
                  </a:lnTo>
                  <a:lnTo>
                    <a:pt x="1533660" y="1147715"/>
                  </a:lnTo>
                  <a:lnTo>
                    <a:pt x="1527197" y="1176493"/>
                  </a:lnTo>
                  <a:lnTo>
                    <a:pt x="1526465" y="1179663"/>
                  </a:lnTo>
                  <a:lnTo>
                    <a:pt x="1523660" y="1180883"/>
                  </a:lnTo>
                  <a:lnTo>
                    <a:pt x="1508296" y="1187224"/>
                  </a:lnTo>
                  <a:lnTo>
                    <a:pt x="1506345" y="1188077"/>
                  </a:lnTo>
                  <a:lnTo>
                    <a:pt x="1504272" y="1188077"/>
                  </a:lnTo>
                  <a:lnTo>
                    <a:pt x="1490736" y="1184419"/>
                  </a:lnTo>
                  <a:lnTo>
                    <a:pt x="1478542" y="1189541"/>
                  </a:lnTo>
                  <a:lnTo>
                    <a:pt x="1481346" y="1197833"/>
                  </a:lnTo>
                  <a:lnTo>
                    <a:pt x="1485737" y="1211124"/>
                  </a:lnTo>
                  <a:lnTo>
                    <a:pt x="1485737" y="1212344"/>
                  </a:lnTo>
                  <a:lnTo>
                    <a:pt x="1485737" y="1213807"/>
                  </a:lnTo>
                  <a:lnTo>
                    <a:pt x="1483054" y="1234537"/>
                  </a:lnTo>
                  <a:lnTo>
                    <a:pt x="1483054" y="1238561"/>
                  </a:lnTo>
                  <a:lnTo>
                    <a:pt x="1479274" y="1239659"/>
                  </a:lnTo>
                  <a:lnTo>
                    <a:pt x="1463299" y="1244536"/>
                  </a:lnTo>
                  <a:lnTo>
                    <a:pt x="1466104" y="1246365"/>
                  </a:lnTo>
                  <a:lnTo>
                    <a:pt x="1470250" y="1249170"/>
                  </a:lnTo>
                  <a:lnTo>
                    <a:pt x="1472811" y="1250999"/>
                  </a:lnTo>
                  <a:lnTo>
                    <a:pt x="1482566" y="1248317"/>
                  </a:lnTo>
                  <a:lnTo>
                    <a:pt x="1485249" y="1240268"/>
                  </a:lnTo>
                  <a:lnTo>
                    <a:pt x="1493419" y="1234415"/>
                  </a:lnTo>
                  <a:lnTo>
                    <a:pt x="1504637" y="1240024"/>
                  </a:lnTo>
                  <a:lnTo>
                    <a:pt x="1507198" y="1244292"/>
                  </a:lnTo>
                  <a:lnTo>
                    <a:pt x="1519393" y="1245268"/>
                  </a:lnTo>
                  <a:lnTo>
                    <a:pt x="1524880" y="1248438"/>
                  </a:lnTo>
                  <a:lnTo>
                    <a:pt x="1533538" y="1238805"/>
                  </a:lnTo>
                  <a:lnTo>
                    <a:pt x="1555121" y="1231367"/>
                  </a:lnTo>
                  <a:lnTo>
                    <a:pt x="1575851" y="1197589"/>
                  </a:lnTo>
                  <a:lnTo>
                    <a:pt x="1592801" y="1179663"/>
                  </a:lnTo>
                  <a:lnTo>
                    <a:pt x="1610361" y="1163079"/>
                  </a:lnTo>
                  <a:lnTo>
                    <a:pt x="1613166" y="1140764"/>
                  </a:lnTo>
                  <a:lnTo>
                    <a:pt x="1624018" y="1121009"/>
                  </a:lnTo>
                  <a:lnTo>
                    <a:pt x="1643773" y="1100401"/>
                  </a:lnTo>
                  <a:lnTo>
                    <a:pt x="1649260" y="1093207"/>
                  </a:lnTo>
                  <a:lnTo>
                    <a:pt x="1659382" y="1065404"/>
                  </a:lnTo>
                  <a:lnTo>
                    <a:pt x="1659382" y="1055161"/>
                  </a:lnTo>
                  <a:lnTo>
                    <a:pt x="1662186" y="1034797"/>
                  </a:lnTo>
                  <a:lnTo>
                    <a:pt x="1659382" y="1024432"/>
                  </a:lnTo>
                  <a:lnTo>
                    <a:pt x="1662308" y="1000775"/>
                  </a:lnTo>
                  <a:lnTo>
                    <a:pt x="1678282" y="976387"/>
                  </a:lnTo>
                  <a:lnTo>
                    <a:pt x="1678282" y="961022"/>
                  </a:lnTo>
                  <a:lnTo>
                    <a:pt x="1667064" y="951633"/>
                  </a:lnTo>
                  <a:lnTo>
                    <a:pt x="1665357" y="939438"/>
                  </a:lnTo>
                  <a:lnTo>
                    <a:pt x="1674868" y="944682"/>
                  </a:lnTo>
                  <a:lnTo>
                    <a:pt x="1674868" y="940902"/>
                  </a:lnTo>
                  <a:lnTo>
                    <a:pt x="1667796" y="928708"/>
                  </a:lnTo>
                  <a:lnTo>
                    <a:pt x="1658284" y="919196"/>
                  </a:lnTo>
                  <a:lnTo>
                    <a:pt x="1652065" y="907002"/>
                  </a:lnTo>
                  <a:lnTo>
                    <a:pt x="1631335" y="902856"/>
                  </a:lnTo>
                  <a:lnTo>
                    <a:pt x="1626823" y="921269"/>
                  </a:lnTo>
                  <a:lnTo>
                    <a:pt x="1617190" y="922367"/>
                  </a:lnTo>
                  <a:lnTo>
                    <a:pt x="1606215" y="927854"/>
                  </a:lnTo>
                  <a:lnTo>
                    <a:pt x="1602922" y="921391"/>
                  </a:lnTo>
                  <a:lnTo>
                    <a:pt x="1606703" y="911880"/>
                  </a:lnTo>
                  <a:lnTo>
                    <a:pt x="1603410" y="904563"/>
                  </a:lnTo>
                  <a:lnTo>
                    <a:pt x="1597191" y="908709"/>
                  </a:lnTo>
                  <a:lnTo>
                    <a:pt x="1587192" y="920050"/>
                  </a:lnTo>
                  <a:lnTo>
                    <a:pt x="1586216" y="891759"/>
                  </a:lnTo>
                  <a:lnTo>
                    <a:pt x="1573047" y="888467"/>
                  </a:lnTo>
                  <a:lnTo>
                    <a:pt x="1565121" y="890418"/>
                  </a:lnTo>
                  <a:lnTo>
                    <a:pt x="1552927" y="882492"/>
                  </a:lnTo>
                  <a:lnTo>
                    <a:pt x="1555487" y="873346"/>
                  </a:lnTo>
                  <a:lnTo>
                    <a:pt x="1569388" y="868346"/>
                  </a:lnTo>
                  <a:lnTo>
                    <a:pt x="1580607" y="857128"/>
                  </a:lnTo>
                  <a:lnTo>
                    <a:pt x="1597313" y="844934"/>
                  </a:lnTo>
                  <a:lnTo>
                    <a:pt x="1602922" y="836642"/>
                  </a:lnTo>
                  <a:lnTo>
                    <a:pt x="1617677" y="819082"/>
                  </a:lnTo>
                  <a:lnTo>
                    <a:pt x="1618653" y="809327"/>
                  </a:lnTo>
                  <a:lnTo>
                    <a:pt x="1641822" y="792865"/>
                  </a:lnTo>
                  <a:lnTo>
                    <a:pt x="1659382" y="772622"/>
                  </a:lnTo>
                  <a:lnTo>
                    <a:pt x="1663284" y="761160"/>
                  </a:lnTo>
                  <a:lnTo>
                    <a:pt x="1684989" y="742259"/>
                  </a:lnTo>
                  <a:lnTo>
                    <a:pt x="1688769" y="730796"/>
                  </a:lnTo>
                  <a:lnTo>
                    <a:pt x="1706695" y="716895"/>
                  </a:lnTo>
                  <a:lnTo>
                    <a:pt x="1725352" y="712993"/>
                  </a:lnTo>
                  <a:lnTo>
                    <a:pt x="1741326" y="713846"/>
                  </a:lnTo>
                  <a:lnTo>
                    <a:pt x="1751692" y="710188"/>
                  </a:lnTo>
                  <a:lnTo>
                    <a:pt x="1776080" y="711286"/>
                  </a:lnTo>
                  <a:lnTo>
                    <a:pt x="1768641" y="719943"/>
                  </a:lnTo>
                  <a:lnTo>
                    <a:pt x="1771567" y="723968"/>
                  </a:lnTo>
                  <a:lnTo>
                    <a:pt x="1779006" y="721773"/>
                  </a:lnTo>
                  <a:lnTo>
                    <a:pt x="1788395" y="711286"/>
                  </a:lnTo>
                  <a:lnTo>
                    <a:pt x="1796809" y="717627"/>
                  </a:lnTo>
                  <a:lnTo>
                    <a:pt x="1818149" y="715797"/>
                  </a:lnTo>
                  <a:lnTo>
                    <a:pt x="1824612" y="717383"/>
                  </a:lnTo>
                  <a:lnTo>
                    <a:pt x="1834734" y="701774"/>
                  </a:lnTo>
                  <a:lnTo>
                    <a:pt x="1850220" y="700677"/>
                  </a:lnTo>
                  <a:lnTo>
                    <a:pt x="1861682" y="702628"/>
                  </a:lnTo>
                  <a:lnTo>
                    <a:pt x="1886071" y="703603"/>
                  </a:lnTo>
                  <a:lnTo>
                    <a:pt x="1892168" y="716895"/>
                  </a:lnTo>
                  <a:lnTo>
                    <a:pt x="1883388" y="722382"/>
                  </a:lnTo>
                  <a:lnTo>
                    <a:pt x="1880096" y="726894"/>
                  </a:lnTo>
                  <a:lnTo>
                    <a:pt x="1883998" y="729577"/>
                  </a:lnTo>
                  <a:lnTo>
                    <a:pt x="1893997" y="724211"/>
                  </a:lnTo>
                  <a:lnTo>
                    <a:pt x="1906191" y="727870"/>
                  </a:lnTo>
                  <a:lnTo>
                    <a:pt x="1921068" y="715675"/>
                  </a:lnTo>
                  <a:lnTo>
                    <a:pt x="1930458" y="727016"/>
                  </a:lnTo>
                  <a:lnTo>
                    <a:pt x="1935214" y="727016"/>
                  </a:lnTo>
                  <a:lnTo>
                    <a:pt x="1937042" y="719090"/>
                  </a:lnTo>
                  <a:lnTo>
                    <a:pt x="1951797" y="716285"/>
                  </a:lnTo>
                  <a:lnTo>
                    <a:pt x="1951797" y="707993"/>
                  </a:lnTo>
                  <a:lnTo>
                    <a:pt x="1945213" y="704335"/>
                  </a:lnTo>
                  <a:lnTo>
                    <a:pt x="1933994" y="708725"/>
                  </a:lnTo>
                  <a:lnTo>
                    <a:pt x="1932775" y="692507"/>
                  </a:lnTo>
                  <a:lnTo>
                    <a:pt x="1940944" y="685434"/>
                  </a:lnTo>
                  <a:lnTo>
                    <a:pt x="1948505" y="673971"/>
                  </a:lnTo>
                  <a:lnTo>
                    <a:pt x="1963138" y="663119"/>
                  </a:lnTo>
                  <a:lnTo>
                    <a:pt x="1963138" y="655680"/>
                  </a:lnTo>
                  <a:lnTo>
                    <a:pt x="1982770" y="638852"/>
                  </a:lnTo>
                  <a:lnTo>
                    <a:pt x="1979966" y="629097"/>
                  </a:lnTo>
                  <a:lnTo>
                    <a:pt x="1981064" y="628365"/>
                  </a:lnTo>
                  <a:lnTo>
                    <a:pt x="1984844" y="625561"/>
                  </a:lnTo>
                  <a:lnTo>
                    <a:pt x="1995209" y="617878"/>
                  </a:lnTo>
                  <a:lnTo>
                    <a:pt x="1995209" y="617878"/>
                  </a:lnTo>
                  <a:lnTo>
                    <a:pt x="2019597" y="617025"/>
                  </a:lnTo>
                  <a:lnTo>
                    <a:pt x="2028865" y="608733"/>
                  </a:lnTo>
                  <a:lnTo>
                    <a:pt x="2040327" y="617390"/>
                  </a:lnTo>
                  <a:lnTo>
                    <a:pt x="2042644" y="615561"/>
                  </a:lnTo>
                  <a:lnTo>
                    <a:pt x="2048497" y="608489"/>
                  </a:lnTo>
                  <a:lnTo>
                    <a:pt x="2058618" y="617269"/>
                  </a:lnTo>
                  <a:lnTo>
                    <a:pt x="2056424" y="632267"/>
                  </a:lnTo>
                  <a:lnTo>
                    <a:pt x="2046790" y="643608"/>
                  </a:lnTo>
                  <a:lnTo>
                    <a:pt x="2050082" y="647510"/>
                  </a:lnTo>
                  <a:lnTo>
                    <a:pt x="2055570" y="649705"/>
                  </a:lnTo>
                  <a:lnTo>
                    <a:pt x="2056424" y="663241"/>
                  </a:lnTo>
                  <a:lnTo>
                    <a:pt x="2061423" y="663241"/>
                  </a:lnTo>
                  <a:lnTo>
                    <a:pt x="2066788" y="647998"/>
                  </a:lnTo>
                  <a:lnTo>
                    <a:pt x="2086909" y="631780"/>
                  </a:lnTo>
                  <a:lnTo>
                    <a:pt x="2090811" y="626048"/>
                  </a:lnTo>
                  <a:lnTo>
                    <a:pt x="2090811" y="626048"/>
                  </a:lnTo>
                  <a:lnTo>
                    <a:pt x="2091664" y="626048"/>
                  </a:lnTo>
                  <a:lnTo>
                    <a:pt x="2107273" y="625195"/>
                  </a:lnTo>
                  <a:lnTo>
                    <a:pt x="2109346" y="619098"/>
                  </a:lnTo>
                  <a:lnTo>
                    <a:pt x="2104590" y="612391"/>
                  </a:lnTo>
                  <a:lnTo>
                    <a:pt x="2115687" y="584100"/>
                  </a:lnTo>
                  <a:lnTo>
                    <a:pt x="2136661" y="574589"/>
                  </a:lnTo>
                  <a:lnTo>
                    <a:pt x="2152879" y="588856"/>
                  </a:lnTo>
                  <a:lnTo>
                    <a:pt x="2137514" y="594344"/>
                  </a:lnTo>
                  <a:lnTo>
                    <a:pt x="2133003" y="610440"/>
                  </a:lnTo>
                  <a:lnTo>
                    <a:pt x="2129344" y="619707"/>
                  </a:lnTo>
                  <a:lnTo>
                    <a:pt x="2128491" y="627024"/>
                  </a:lnTo>
                  <a:cubicBezTo>
                    <a:pt x="2127637" y="633853"/>
                    <a:pt x="2126540" y="642998"/>
                    <a:pt x="2126540" y="642998"/>
                  </a:cubicBezTo>
                  <a:lnTo>
                    <a:pt x="2126540" y="642998"/>
                  </a:lnTo>
                  <a:lnTo>
                    <a:pt x="2123735" y="647632"/>
                  </a:lnTo>
                  <a:lnTo>
                    <a:pt x="2122760" y="658851"/>
                  </a:lnTo>
                  <a:lnTo>
                    <a:pt x="2089713" y="673240"/>
                  </a:lnTo>
                  <a:lnTo>
                    <a:pt x="2085079" y="684215"/>
                  </a:lnTo>
                  <a:lnTo>
                    <a:pt x="2065691" y="709456"/>
                  </a:lnTo>
                  <a:lnTo>
                    <a:pt x="2056057" y="711164"/>
                  </a:lnTo>
                  <a:lnTo>
                    <a:pt x="2054229" y="726528"/>
                  </a:lnTo>
                  <a:lnTo>
                    <a:pt x="2032401" y="745429"/>
                  </a:lnTo>
                  <a:lnTo>
                    <a:pt x="2031425" y="752014"/>
                  </a:lnTo>
                  <a:lnTo>
                    <a:pt x="2018256" y="763233"/>
                  </a:lnTo>
                  <a:lnTo>
                    <a:pt x="2010939" y="766037"/>
                  </a:lnTo>
                  <a:lnTo>
                    <a:pt x="2004110" y="774817"/>
                  </a:lnTo>
                  <a:lnTo>
                    <a:pt x="1987892" y="774817"/>
                  </a:lnTo>
                  <a:lnTo>
                    <a:pt x="1984356" y="806400"/>
                  </a:lnTo>
                  <a:lnTo>
                    <a:pt x="1981064" y="812863"/>
                  </a:lnTo>
                  <a:lnTo>
                    <a:pt x="1967772" y="829325"/>
                  </a:lnTo>
                  <a:lnTo>
                    <a:pt x="1964967" y="863469"/>
                  </a:lnTo>
                  <a:lnTo>
                    <a:pt x="1967772" y="897247"/>
                  </a:lnTo>
                  <a:lnTo>
                    <a:pt x="1968747" y="914928"/>
                  </a:lnTo>
                  <a:lnTo>
                    <a:pt x="1973381" y="927122"/>
                  </a:lnTo>
                  <a:lnTo>
                    <a:pt x="1981064" y="959437"/>
                  </a:lnTo>
                  <a:lnTo>
                    <a:pt x="1982892" y="976631"/>
                  </a:lnTo>
                  <a:lnTo>
                    <a:pt x="1982039" y="994312"/>
                  </a:lnTo>
                  <a:lnTo>
                    <a:pt x="1986917" y="1008213"/>
                  </a:lnTo>
                  <a:lnTo>
                    <a:pt x="1985453" y="1010408"/>
                  </a:lnTo>
                  <a:lnTo>
                    <a:pt x="1988136" y="1010408"/>
                  </a:lnTo>
                  <a:lnTo>
                    <a:pt x="2019475" y="969802"/>
                  </a:lnTo>
                  <a:lnTo>
                    <a:pt x="2021304" y="959925"/>
                  </a:lnTo>
                  <a:lnTo>
                    <a:pt x="2025328" y="940658"/>
                  </a:lnTo>
                  <a:lnTo>
                    <a:pt x="2039473" y="936390"/>
                  </a:lnTo>
                  <a:lnTo>
                    <a:pt x="2049716" y="939804"/>
                  </a:lnTo>
                  <a:lnTo>
                    <a:pt x="2052399" y="934439"/>
                  </a:lnTo>
                  <a:lnTo>
                    <a:pt x="2047521" y="910050"/>
                  </a:lnTo>
                  <a:lnTo>
                    <a:pt x="2075812" y="887003"/>
                  </a:lnTo>
                  <a:lnTo>
                    <a:pt x="2080080" y="893222"/>
                  </a:lnTo>
                  <a:lnTo>
                    <a:pt x="2086055" y="891149"/>
                  </a:lnTo>
                  <a:lnTo>
                    <a:pt x="2090932" y="878955"/>
                  </a:lnTo>
                  <a:lnTo>
                    <a:pt x="2084835" y="870176"/>
                  </a:lnTo>
                  <a:lnTo>
                    <a:pt x="2081543" y="863713"/>
                  </a:lnTo>
                  <a:lnTo>
                    <a:pt x="2090567" y="839324"/>
                  </a:lnTo>
                  <a:lnTo>
                    <a:pt x="2107638" y="820545"/>
                  </a:lnTo>
                  <a:lnTo>
                    <a:pt x="2107638" y="837983"/>
                  </a:lnTo>
                  <a:lnTo>
                    <a:pt x="2115077" y="837983"/>
                  </a:lnTo>
                  <a:lnTo>
                    <a:pt x="2118248" y="834691"/>
                  </a:lnTo>
                  <a:lnTo>
                    <a:pt x="2113126" y="817009"/>
                  </a:lnTo>
                  <a:lnTo>
                    <a:pt x="2103493" y="812131"/>
                  </a:lnTo>
                  <a:lnTo>
                    <a:pt x="2101908" y="792621"/>
                  </a:lnTo>
                  <a:lnTo>
                    <a:pt x="2114833" y="780426"/>
                  </a:lnTo>
                  <a:lnTo>
                    <a:pt x="2113736" y="777866"/>
                  </a:lnTo>
                  <a:lnTo>
                    <a:pt x="2103249" y="773354"/>
                  </a:lnTo>
                  <a:lnTo>
                    <a:pt x="2100078" y="780914"/>
                  </a:lnTo>
                  <a:lnTo>
                    <a:pt x="2086543" y="767501"/>
                  </a:lnTo>
                  <a:lnTo>
                    <a:pt x="2092762" y="743112"/>
                  </a:lnTo>
                  <a:lnTo>
                    <a:pt x="2100688" y="739210"/>
                  </a:lnTo>
                  <a:lnTo>
                    <a:pt x="2110566" y="723968"/>
                  </a:lnTo>
                  <a:lnTo>
                    <a:pt x="2114468" y="704823"/>
                  </a:lnTo>
                  <a:lnTo>
                    <a:pt x="2129711" y="689458"/>
                  </a:lnTo>
                  <a:lnTo>
                    <a:pt x="2140685" y="690555"/>
                  </a:lnTo>
                  <a:lnTo>
                    <a:pt x="2147026" y="694458"/>
                  </a:lnTo>
                  <a:lnTo>
                    <a:pt x="2153855" y="685312"/>
                  </a:lnTo>
                  <a:lnTo>
                    <a:pt x="2162391" y="678605"/>
                  </a:lnTo>
                  <a:lnTo>
                    <a:pt x="2174585" y="667387"/>
                  </a:lnTo>
                  <a:lnTo>
                    <a:pt x="2178243" y="674703"/>
                  </a:lnTo>
                  <a:lnTo>
                    <a:pt x="2170439" y="689336"/>
                  </a:lnTo>
                  <a:lnTo>
                    <a:pt x="2171048" y="699091"/>
                  </a:lnTo>
                  <a:lnTo>
                    <a:pt x="2177999" y="694092"/>
                  </a:lnTo>
                  <a:lnTo>
                    <a:pt x="2186535" y="676776"/>
                  </a:lnTo>
                  <a:lnTo>
                    <a:pt x="2223118" y="660070"/>
                  </a:lnTo>
                  <a:lnTo>
                    <a:pt x="2242628" y="670313"/>
                  </a:lnTo>
                  <a:lnTo>
                    <a:pt x="2247871" y="680922"/>
                  </a:lnTo>
                  <a:lnTo>
                    <a:pt x="2249213" y="689214"/>
                  </a:lnTo>
                  <a:lnTo>
                    <a:pt x="2255310" y="685556"/>
                  </a:lnTo>
                  <a:lnTo>
                    <a:pt x="2258115" y="676410"/>
                  </a:lnTo>
                  <a:lnTo>
                    <a:pt x="2272626" y="662021"/>
                  </a:lnTo>
                  <a:lnTo>
                    <a:pt x="2292258" y="651778"/>
                  </a:lnTo>
                  <a:lnTo>
                    <a:pt x="2297990" y="639584"/>
                  </a:lnTo>
                  <a:lnTo>
                    <a:pt x="2308721" y="636657"/>
                  </a:lnTo>
                  <a:lnTo>
                    <a:pt x="2317256" y="625926"/>
                  </a:lnTo>
                  <a:lnTo>
                    <a:pt x="2320061" y="622390"/>
                  </a:lnTo>
                  <a:lnTo>
                    <a:pt x="2331524" y="620439"/>
                  </a:lnTo>
                  <a:lnTo>
                    <a:pt x="2345791" y="606416"/>
                  </a:lnTo>
                  <a:lnTo>
                    <a:pt x="2371033" y="600806"/>
                  </a:lnTo>
                  <a:lnTo>
                    <a:pt x="2378715" y="588612"/>
                  </a:lnTo>
                  <a:lnTo>
                    <a:pt x="2403103" y="584588"/>
                  </a:lnTo>
                  <a:lnTo>
                    <a:pt x="2415298" y="591417"/>
                  </a:lnTo>
                  <a:lnTo>
                    <a:pt x="2431516" y="594709"/>
                  </a:lnTo>
                  <a:lnTo>
                    <a:pt x="2432369" y="587881"/>
                  </a:lnTo>
                  <a:lnTo>
                    <a:pt x="2437491" y="575686"/>
                  </a:lnTo>
                  <a:lnTo>
                    <a:pt x="2431150" y="570565"/>
                  </a:lnTo>
                  <a:lnTo>
                    <a:pt x="2429687" y="552274"/>
                  </a:lnTo>
                  <a:lnTo>
                    <a:pt x="2422004" y="545567"/>
                  </a:lnTo>
                  <a:lnTo>
                    <a:pt x="2422004" y="521179"/>
                  </a:lnTo>
                  <a:lnTo>
                    <a:pt x="2414322" y="515447"/>
                  </a:lnTo>
                  <a:lnTo>
                    <a:pt x="2415298" y="507277"/>
                  </a:lnTo>
                  <a:lnTo>
                    <a:pt x="2412249" y="505936"/>
                  </a:lnTo>
                  <a:lnTo>
                    <a:pt x="2409079" y="515203"/>
                  </a:lnTo>
                  <a:lnTo>
                    <a:pt x="2395421" y="503863"/>
                  </a:lnTo>
                  <a:lnTo>
                    <a:pt x="2389202" y="499473"/>
                  </a:lnTo>
                  <a:lnTo>
                    <a:pt x="2376276" y="496424"/>
                  </a:lnTo>
                  <a:lnTo>
                    <a:pt x="2368838" y="479109"/>
                  </a:lnTo>
                  <a:lnTo>
                    <a:pt x="2381032" y="480328"/>
                  </a:lnTo>
                  <a:lnTo>
                    <a:pt x="2377617" y="477280"/>
                  </a:lnTo>
                  <a:lnTo>
                    <a:pt x="2389812" y="470329"/>
                  </a:lnTo>
                  <a:lnTo>
                    <a:pt x="2400787" y="482523"/>
                  </a:lnTo>
                  <a:lnTo>
                    <a:pt x="2404811" y="490693"/>
                  </a:lnTo>
                  <a:lnTo>
                    <a:pt x="2429199" y="488986"/>
                  </a:lnTo>
                  <a:lnTo>
                    <a:pt x="2437613" y="478865"/>
                  </a:lnTo>
                  <a:lnTo>
                    <a:pt x="2443100" y="475207"/>
                  </a:lnTo>
                  <a:lnTo>
                    <a:pt x="2457246" y="458379"/>
                  </a:lnTo>
                  <a:lnTo>
                    <a:pt x="2453831" y="447160"/>
                  </a:lnTo>
                  <a:lnTo>
                    <a:pt x="2445661" y="424967"/>
                  </a:lnTo>
                  <a:lnTo>
                    <a:pt x="2459318" y="415821"/>
                  </a:lnTo>
                  <a:lnTo>
                    <a:pt x="2464318" y="417772"/>
                  </a:lnTo>
                  <a:lnTo>
                    <a:pt x="2476512" y="412285"/>
                  </a:lnTo>
                  <a:lnTo>
                    <a:pt x="2477854" y="424479"/>
                  </a:lnTo>
                  <a:lnTo>
                    <a:pt x="2475902" y="433137"/>
                  </a:lnTo>
                  <a:lnTo>
                    <a:pt x="2475049" y="447282"/>
                  </a:lnTo>
                  <a:lnTo>
                    <a:pt x="2480414" y="453379"/>
                  </a:lnTo>
                  <a:lnTo>
                    <a:pt x="2493462" y="452525"/>
                  </a:lnTo>
                  <a:lnTo>
                    <a:pt x="2507119" y="450574"/>
                  </a:lnTo>
                  <a:lnTo>
                    <a:pt x="2523338" y="456671"/>
                  </a:lnTo>
                  <a:lnTo>
                    <a:pt x="2527850" y="463256"/>
                  </a:lnTo>
                  <a:lnTo>
                    <a:pt x="2530411" y="485206"/>
                  </a:lnTo>
                  <a:lnTo>
                    <a:pt x="2545044" y="482645"/>
                  </a:lnTo>
                  <a:lnTo>
                    <a:pt x="2557238" y="488864"/>
                  </a:lnTo>
                  <a:lnTo>
                    <a:pt x="2566505" y="503497"/>
                  </a:lnTo>
                  <a:lnTo>
                    <a:pt x="2576504" y="509350"/>
                  </a:lnTo>
                  <a:lnTo>
                    <a:pt x="2590528" y="503497"/>
                  </a:lnTo>
                  <a:lnTo>
                    <a:pt x="2582723" y="496424"/>
                  </a:lnTo>
                  <a:lnTo>
                    <a:pt x="2583821" y="483133"/>
                  </a:lnTo>
                  <a:lnTo>
                    <a:pt x="2596015" y="473621"/>
                  </a:lnTo>
                  <a:lnTo>
                    <a:pt x="2588455" y="465085"/>
                  </a:lnTo>
                  <a:lnTo>
                    <a:pt x="2594552" y="460208"/>
                  </a:lnTo>
                  <a:lnTo>
                    <a:pt x="2597600" y="453135"/>
                  </a:lnTo>
                  <a:lnTo>
                    <a:pt x="2623452" y="447404"/>
                  </a:lnTo>
                  <a:lnTo>
                    <a:pt x="2629305" y="440819"/>
                  </a:lnTo>
                  <a:lnTo>
                    <a:pt x="2631378" y="429356"/>
                  </a:lnTo>
                  <a:lnTo>
                    <a:pt x="2644182" y="428015"/>
                  </a:lnTo>
                  <a:lnTo>
                    <a:pt x="2646255" y="42106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8" name="Freihandform: Form 757">
              <a:extLst>
                <a:ext uri="{FF2B5EF4-FFF2-40B4-BE49-F238E27FC236}">
                  <a16:creationId xmlns:a16="http://schemas.microsoft.com/office/drawing/2014/main" id="{5FEECA12-C989-4089-BB0A-2D4D16DAD825}"/>
                </a:ext>
              </a:extLst>
            </p:cNvPr>
            <p:cNvSpPr/>
            <p:nvPr/>
          </p:nvSpPr>
          <p:spPr>
            <a:xfrm>
              <a:off x="7519328" y="2264116"/>
              <a:ext cx="15120" cy="13657"/>
            </a:xfrm>
            <a:custGeom>
              <a:avLst/>
              <a:gdLst>
                <a:gd name="connsiteX0" fmla="*/ 6829 w 15120"/>
                <a:gd name="connsiteY0" fmla="*/ 6585 h 13657"/>
                <a:gd name="connsiteX1" fmla="*/ 0 w 15120"/>
                <a:gd name="connsiteY1" fmla="*/ 11097 h 13657"/>
                <a:gd name="connsiteX2" fmla="*/ 1585 w 15120"/>
                <a:gd name="connsiteY2" fmla="*/ 13657 h 13657"/>
                <a:gd name="connsiteX3" fmla="*/ 12438 w 15120"/>
                <a:gd name="connsiteY3" fmla="*/ 10243 h 13657"/>
                <a:gd name="connsiteX4" fmla="*/ 15121 w 15120"/>
                <a:gd name="connsiteY4" fmla="*/ 0 h 13657"/>
                <a:gd name="connsiteX5" fmla="*/ 14754 w 15120"/>
                <a:gd name="connsiteY5" fmla="*/ 0 h 13657"/>
                <a:gd name="connsiteX6" fmla="*/ 6829 w 15120"/>
                <a:gd name="connsiteY6" fmla="*/ 6585 h 13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0" h="13657">
                  <a:moveTo>
                    <a:pt x="6829" y="6585"/>
                  </a:moveTo>
                  <a:lnTo>
                    <a:pt x="0" y="11097"/>
                  </a:lnTo>
                  <a:lnTo>
                    <a:pt x="1585" y="13657"/>
                  </a:lnTo>
                  <a:lnTo>
                    <a:pt x="12438" y="10243"/>
                  </a:lnTo>
                  <a:lnTo>
                    <a:pt x="15121" y="0"/>
                  </a:lnTo>
                  <a:lnTo>
                    <a:pt x="14754" y="0"/>
                  </a:lnTo>
                  <a:lnTo>
                    <a:pt x="6829" y="6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59" name="Freihandform: Form 758">
              <a:extLst>
                <a:ext uri="{FF2B5EF4-FFF2-40B4-BE49-F238E27FC236}">
                  <a16:creationId xmlns:a16="http://schemas.microsoft.com/office/drawing/2014/main" id="{4E9B0000-6AE3-4A6F-BF77-276446CCFE1E}"/>
                </a:ext>
              </a:extLst>
            </p:cNvPr>
            <p:cNvSpPr/>
            <p:nvPr/>
          </p:nvSpPr>
          <p:spPr>
            <a:xfrm>
              <a:off x="7450553" y="2368254"/>
              <a:ext cx="10486" cy="9633"/>
            </a:xfrm>
            <a:custGeom>
              <a:avLst/>
              <a:gdLst>
                <a:gd name="connsiteX0" fmla="*/ 8414 w 10486"/>
                <a:gd name="connsiteY0" fmla="*/ 0 h 9633"/>
                <a:gd name="connsiteX1" fmla="*/ 0 w 10486"/>
                <a:gd name="connsiteY1" fmla="*/ 7926 h 9633"/>
                <a:gd name="connsiteX2" fmla="*/ 0 w 10486"/>
                <a:gd name="connsiteY2" fmla="*/ 9633 h 9633"/>
                <a:gd name="connsiteX3" fmla="*/ 3293 w 10486"/>
                <a:gd name="connsiteY3" fmla="*/ 9268 h 9633"/>
                <a:gd name="connsiteX4" fmla="*/ 10487 w 10486"/>
                <a:gd name="connsiteY4" fmla="*/ 1951 h 9633"/>
                <a:gd name="connsiteX5" fmla="*/ 10243 w 10486"/>
                <a:gd name="connsiteY5" fmla="*/ 366 h 9633"/>
                <a:gd name="connsiteX6" fmla="*/ 8414 w 10486"/>
                <a:gd name="connsiteY6" fmla="*/ 0 h 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86" h="9633">
                  <a:moveTo>
                    <a:pt x="8414" y="0"/>
                  </a:moveTo>
                  <a:lnTo>
                    <a:pt x="0" y="7926"/>
                  </a:lnTo>
                  <a:lnTo>
                    <a:pt x="0" y="9633"/>
                  </a:lnTo>
                  <a:lnTo>
                    <a:pt x="3293" y="9268"/>
                  </a:lnTo>
                  <a:lnTo>
                    <a:pt x="10487" y="1951"/>
                  </a:lnTo>
                  <a:lnTo>
                    <a:pt x="10243" y="366"/>
                  </a:lnTo>
                  <a:lnTo>
                    <a:pt x="841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0" name="Freihandform: Form 759">
              <a:extLst>
                <a:ext uri="{FF2B5EF4-FFF2-40B4-BE49-F238E27FC236}">
                  <a16:creationId xmlns:a16="http://schemas.microsoft.com/office/drawing/2014/main" id="{C874A7E2-206D-4E41-989A-AF3F4CE037BF}"/>
                </a:ext>
              </a:extLst>
            </p:cNvPr>
            <p:cNvSpPr/>
            <p:nvPr/>
          </p:nvSpPr>
          <p:spPr>
            <a:xfrm>
              <a:off x="7480551" y="2335086"/>
              <a:ext cx="1585" cy="2194"/>
            </a:xfrm>
            <a:custGeom>
              <a:avLst/>
              <a:gdLst>
                <a:gd name="connsiteX0" fmla="*/ 243 w 1585"/>
                <a:gd name="connsiteY0" fmla="*/ 854 h 2194"/>
                <a:gd name="connsiteX1" fmla="*/ 0 w 1585"/>
                <a:gd name="connsiteY1" fmla="*/ 2073 h 2194"/>
                <a:gd name="connsiteX2" fmla="*/ 243 w 1585"/>
                <a:gd name="connsiteY2" fmla="*/ 2195 h 2194"/>
                <a:gd name="connsiteX3" fmla="*/ 1585 w 1585"/>
                <a:gd name="connsiteY3" fmla="*/ 1097 h 2194"/>
                <a:gd name="connsiteX4" fmla="*/ 1341 w 1585"/>
                <a:gd name="connsiteY4" fmla="*/ 0 h 2194"/>
                <a:gd name="connsiteX5" fmla="*/ 243 w 1585"/>
                <a:gd name="connsiteY5" fmla="*/ 854 h 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5" h="2194">
                  <a:moveTo>
                    <a:pt x="243" y="854"/>
                  </a:moveTo>
                  <a:lnTo>
                    <a:pt x="0" y="2073"/>
                  </a:lnTo>
                  <a:lnTo>
                    <a:pt x="243" y="2195"/>
                  </a:lnTo>
                  <a:lnTo>
                    <a:pt x="1585" y="1097"/>
                  </a:lnTo>
                  <a:lnTo>
                    <a:pt x="1341" y="0"/>
                  </a:lnTo>
                  <a:lnTo>
                    <a:pt x="243" y="8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1" name="Freihandform: Form 760">
              <a:extLst>
                <a:ext uri="{FF2B5EF4-FFF2-40B4-BE49-F238E27FC236}">
                  <a16:creationId xmlns:a16="http://schemas.microsoft.com/office/drawing/2014/main" id="{EC0D19A2-5960-43D2-9160-7E9A9D677B0F}"/>
                </a:ext>
              </a:extLst>
            </p:cNvPr>
            <p:cNvSpPr/>
            <p:nvPr/>
          </p:nvSpPr>
          <p:spPr>
            <a:xfrm>
              <a:off x="7496647" y="2313624"/>
              <a:ext cx="4999" cy="4877"/>
            </a:xfrm>
            <a:custGeom>
              <a:avLst/>
              <a:gdLst>
                <a:gd name="connsiteX0" fmla="*/ 0 w 4999"/>
                <a:gd name="connsiteY0" fmla="*/ 2805 h 4877"/>
                <a:gd name="connsiteX1" fmla="*/ 0 w 4999"/>
                <a:gd name="connsiteY1" fmla="*/ 4878 h 4877"/>
                <a:gd name="connsiteX2" fmla="*/ 610 w 4999"/>
                <a:gd name="connsiteY2" fmla="*/ 4878 h 4877"/>
                <a:gd name="connsiteX3" fmla="*/ 4999 w 4999"/>
                <a:gd name="connsiteY3" fmla="*/ 1097 h 4877"/>
                <a:gd name="connsiteX4" fmla="*/ 4999 w 4999"/>
                <a:gd name="connsiteY4" fmla="*/ 366 h 4877"/>
                <a:gd name="connsiteX5" fmla="*/ 2317 w 4999"/>
                <a:gd name="connsiteY5" fmla="*/ 0 h 4877"/>
                <a:gd name="connsiteX6" fmla="*/ 0 w 4999"/>
                <a:gd name="connsiteY6" fmla="*/ 2805 h 4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99" h="4877">
                  <a:moveTo>
                    <a:pt x="0" y="2805"/>
                  </a:moveTo>
                  <a:lnTo>
                    <a:pt x="0" y="4878"/>
                  </a:lnTo>
                  <a:lnTo>
                    <a:pt x="610" y="4878"/>
                  </a:lnTo>
                  <a:lnTo>
                    <a:pt x="4999" y="1097"/>
                  </a:lnTo>
                  <a:lnTo>
                    <a:pt x="4999" y="366"/>
                  </a:lnTo>
                  <a:lnTo>
                    <a:pt x="2317" y="0"/>
                  </a:lnTo>
                  <a:lnTo>
                    <a:pt x="0" y="28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2" name="Freihandform: Form 761">
              <a:extLst>
                <a:ext uri="{FF2B5EF4-FFF2-40B4-BE49-F238E27FC236}">
                  <a16:creationId xmlns:a16="http://schemas.microsoft.com/office/drawing/2014/main" id="{D20446FE-A00B-456B-B682-25A06CABE56E}"/>
                </a:ext>
              </a:extLst>
            </p:cNvPr>
            <p:cNvSpPr/>
            <p:nvPr/>
          </p:nvSpPr>
          <p:spPr>
            <a:xfrm>
              <a:off x="7508231" y="2293870"/>
              <a:ext cx="4511" cy="7316"/>
            </a:xfrm>
            <a:custGeom>
              <a:avLst/>
              <a:gdLst>
                <a:gd name="connsiteX0" fmla="*/ 976 w 4511"/>
                <a:gd name="connsiteY0" fmla="*/ 366 h 7316"/>
                <a:gd name="connsiteX1" fmla="*/ 0 w 4511"/>
                <a:gd name="connsiteY1" fmla="*/ 7316 h 7316"/>
                <a:gd name="connsiteX2" fmla="*/ 1463 w 4511"/>
                <a:gd name="connsiteY2" fmla="*/ 7073 h 7316"/>
                <a:gd name="connsiteX3" fmla="*/ 4512 w 4511"/>
                <a:gd name="connsiteY3" fmla="*/ 2927 h 7316"/>
                <a:gd name="connsiteX4" fmla="*/ 3780 w 4511"/>
                <a:gd name="connsiteY4" fmla="*/ 0 h 7316"/>
                <a:gd name="connsiteX5" fmla="*/ 976 w 4511"/>
                <a:gd name="connsiteY5" fmla="*/ 366 h 7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1" h="7316">
                  <a:moveTo>
                    <a:pt x="976" y="366"/>
                  </a:moveTo>
                  <a:lnTo>
                    <a:pt x="0" y="7316"/>
                  </a:lnTo>
                  <a:lnTo>
                    <a:pt x="1463" y="7073"/>
                  </a:lnTo>
                  <a:lnTo>
                    <a:pt x="4512" y="2927"/>
                  </a:lnTo>
                  <a:lnTo>
                    <a:pt x="3780" y="0"/>
                  </a:lnTo>
                  <a:lnTo>
                    <a:pt x="976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3" name="Freihandform: Form 762">
              <a:extLst>
                <a:ext uri="{FF2B5EF4-FFF2-40B4-BE49-F238E27FC236}">
                  <a16:creationId xmlns:a16="http://schemas.microsoft.com/office/drawing/2014/main" id="{23BDD12F-0D79-4FA4-96FE-B5D16A3DA6D3}"/>
                </a:ext>
              </a:extLst>
            </p:cNvPr>
            <p:cNvSpPr/>
            <p:nvPr/>
          </p:nvSpPr>
          <p:spPr>
            <a:xfrm>
              <a:off x="4952823" y="2627380"/>
              <a:ext cx="1951" cy="2316"/>
            </a:xfrm>
            <a:custGeom>
              <a:avLst/>
              <a:gdLst>
                <a:gd name="connsiteX0" fmla="*/ 610 w 1951"/>
                <a:gd name="connsiteY0" fmla="*/ 0 h 2316"/>
                <a:gd name="connsiteX1" fmla="*/ 0 w 1951"/>
                <a:gd name="connsiteY1" fmla="*/ 853 h 2316"/>
                <a:gd name="connsiteX2" fmla="*/ 1219 w 1951"/>
                <a:gd name="connsiteY2" fmla="*/ 2317 h 2316"/>
                <a:gd name="connsiteX3" fmla="*/ 1951 w 1951"/>
                <a:gd name="connsiteY3" fmla="*/ 1951 h 2316"/>
                <a:gd name="connsiteX4" fmla="*/ 1707 w 1951"/>
                <a:gd name="connsiteY4" fmla="*/ 732 h 2316"/>
                <a:gd name="connsiteX5" fmla="*/ 610 w 1951"/>
                <a:gd name="connsiteY5" fmla="*/ 0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1" h="2316">
                  <a:moveTo>
                    <a:pt x="610" y="0"/>
                  </a:moveTo>
                  <a:lnTo>
                    <a:pt x="0" y="853"/>
                  </a:lnTo>
                  <a:lnTo>
                    <a:pt x="1219" y="2317"/>
                  </a:lnTo>
                  <a:lnTo>
                    <a:pt x="1951" y="1951"/>
                  </a:lnTo>
                  <a:lnTo>
                    <a:pt x="1707" y="732"/>
                  </a:lnTo>
                  <a:lnTo>
                    <a:pt x="61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4" name="Freihandform: Form 763">
              <a:extLst>
                <a:ext uri="{FF2B5EF4-FFF2-40B4-BE49-F238E27FC236}">
                  <a16:creationId xmlns:a16="http://schemas.microsoft.com/office/drawing/2014/main" id="{25C954AC-DFAA-4D47-9316-964C8A6072C7}"/>
                </a:ext>
              </a:extLst>
            </p:cNvPr>
            <p:cNvSpPr/>
            <p:nvPr/>
          </p:nvSpPr>
          <p:spPr>
            <a:xfrm>
              <a:off x="5265359" y="3056127"/>
              <a:ext cx="215227" cy="125478"/>
            </a:xfrm>
            <a:custGeom>
              <a:avLst/>
              <a:gdLst>
                <a:gd name="connsiteX0" fmla="*/ 201326 w 215227"/>
                <a:gd name="connsiteY0" fmla="*/ 28291 h 125478"/>
                <a:gd name="connsiteX1" fmla="*/ 200838 w 215227"/>
                <a:gd name="connsiteY1" fmla="*/ 28047 h 125478"/>
                <a:gd name="connsiteX2" fmla="*/ 200350 w 215227"/>
                <a:gd name="connsiteY2" fmla="*/ 27681 h 125478"/>
                <a:gd name="connsiteX3" fmla="*/ 196692 w 215227"/>
                <a:gd name="connsiteY3" fmla="*/ 24632 h 125478"/>
                <a:gd name="connsiteX4" fmla="*/ 191448 w 215227"/>
                <a:gd name="connsiteY4" fmla="*/ 20364 h 125478"/>
                <a:gd name="connsiteX5" fmla="*/ 196204 w 215227"/>
                <a:gd name="connsiteY5" fmla="*/ 15609 h 125478"/>
                <a:gd name="connsiteX6" fmla="*/ 196448 w 215227"/>
                <a:gd name="connsiteY6" fmla="*/ 15365 h 125478"/>
                <a:gd name="connsiteX7" fmla="*/ 189376 w 215227"/>
                <a:gd name="connsiteY7" fmla="*/ 0 h 125478"/>
                <a:gd name="connsiteX8" fmla="*/ 121942 w 215227"/>
                <a:gd name="connsiteY8" fmla="*/ 14267 h 125478"/>
                <a:gd name="connsiteX9" fmla="*/ 92676 w 215227"/>
                <a:gd name="connsiteY9" fmla="*/ 47435 h 125478"/>
                <a:gd name="connsiteX10" fmla="*/ 80969 w 215227"/>
                <a:gd name="connsiteY10" fmla="*/ 60483 h 125478"/>
                <a:gd name="connsiteX11" fmla="*/ 76214 w 215227"/>
                <a:gd name="connsiteY11" fmla="*/ 65849 h 125478"/>
                <a:gd name="connsiteX12" fmla="*/ 71702 w 215227"/>
                <a:gd name="connsiteY12" fmla="*/ 60361 h 125478"/>
                <a:gd name="connsiteX13" fmla="*/ 57191 w 215227"/>
                <a:gd name="connsiteY13" fmla="*/ 42558 h 125478"/>
                <a:gd name="connsiteX14" fmla="*/ 26705 w 215227"/>
                <a:gd name="connsiteY14" fmla="*/ 35241 h 125478"/>
                <a:gd name="connsiteX15" fmla="*/ 16462 w 215227"/>
                <a:gd name="connsiteY15" fmla="*/ 32802 h 125478"/>
                <a:gd name="connsiteX16" fmla="*/ 13414 w 215227"/>
                <a:gd name="connsiteY16" fmla="*/ 34632 h 125478"/>
                <a:gd name="connsiteX17" fmla="*/ 1585 w 215227"/>
                <a:gd name="connsiteY17" fmla="*/ 41460 h 125478"/>
                <a:gd name="connsiteX18" fmla="*/ 0 w 215227"/>
                <a:gd name="connsiteY18" fmla="*/ 42314 h 125478"/>
                <a:gd name="connsiteX19" fmla="*/ 0 w 215227"/>
                <a:gd name="connsiteY19" fmla="*/ 50118 h 125478"/>
                <a:gd name="connsiteX20" fmla="*/ 2927 w 215227"/>
                <a:gd name="connsiteY20" fmla="*/ 69141 h 125478"/>
                <a:gd name="connsiteX21" fmla="*/ 1951 w 215227"/>
                <a:gd name="connsiteY21" fmla="*/ 77311 h 125478"/>
                <a:gd name="connsiteX22" fmla="*/ 12316 w 215227"/>
                <a:gd name="connsiteY22" fmla="*/ 97919 h 125478"/>
                <a:gd name="connsiteX23" fmla="*/ 12316 w 215227"/>
                <a:gd name="connsiteY23" fmla="*/ 98773 h 125478"/>
                <a:gd name="connsiteX24" fmla="*/ 13170 w 215227"/>
                <a:gd name="connsiteY24" fmla="*/ 116211 h 125478"/>
                <a:gd name="connsiteX25" fmla="*/ 22072 w 215227"/>
                <a:gd name="connsiteY25" fmla="*/ 121454 h 125478"/>
                <a:gd name="connsiteX26" fmla="*/ 25242 w 215227"/>
                <a:gd name="connsiteY26" fmla="*/ 125478 h 125478"/>
                <a:gd name="connsiteX27" fmla="*/ 50606 w 215227"/>
                <a:gd name="connsiteY27" fmla="*/ 120234 h 125478"/>
                <a:gd name="connsiteX28" fmla="*/ 58288 w 215227"/>
                <a:gd name="connsiteY28" fmla="*/ 110601 h 125478"/>
                <a:gd name="connsiteX29" fmla="*/ 74019 w 215227"/>
                <a:gd name="connsiteY29" fmla="*/ 110601 h 125478"/>
                <a:gd name="connsiteX30" fmla="*/ 83286 w 215227"/>
                <a:gd name="connsiteY30" fmla="*/ 105967 h 125478"/>
                <a:gd name="connsiteX31" fmla="*/ 119259 w 215227"/>
                <a:gd name="connsiteY31" fmla="*/ 94871 h 125478"/>
                <a:gd name="connsiteX32" fmla="*/ 122064 w 215227"/>
                <a:gd name="connsiteY32" fmla="*/ 88408 h 125478"/>
                <a:gd name="connsiteX33" fmla="*/ 133160 w 215227"/>
                <a:gd name="connsiteY33" fmla="*/ 83286 h 125478"/>
                <a:gd name="connsiteX34" fmla="*/ 139989 w 215227"/>
                <a:gd name="connsiteY34" fmla="*/ 79506 h 125478"/>
                <a:gd name="connsiteX35" fmla="*/ 157061 w 215227"/>
                <a:gd name="connsiteY35" fmla="*/ 76580 h 125478"/>
                <a:gd name="connsiteX36" fmla="*/ 168523 w 215227"/>
                <a:gd name="connsiteY36" fmla="*/ 70970 h 125478"/>
                <a:gd name="connsiteX37" fmla="*/ 184010 w 215227"/>
                <a:gd name="connsiteY37" fmla="*/ 67312 h 125478"/>
                <a:gd name="connsiteX38" fmla="*/ 190595 w 215227"/>
                <a:gd name="connsiteY38" fmla="*/ 60727 h 125478"/>
                <a:gd name="connsiteX39" fmla="*/ 190595 w 215227"/>
                <a:gd name="connsiteY39" fmla="*/ 57069 h 125478"/>
                <a:gd name="connsiteX40" fmla="*/ 203277 w 215227"/>
                <a:gd name="connsiteY40" fmla="*/ 41826 h 125478"/>
                <a:gd name="connsiteX41" fmla="*/ 215227 w 215227"/>
                <a:gd name="connsiteY41" fmla="*/ 37802 h 125478"/>
                <a:gd name="connsiteX42" fmla="*/ 211325 w 215227"/>
                <a:gd name="connsiteY42" fmla="*/ 33900 h 125478"/>
                <a:gd name="connsiteX43" fmla="*/ 201326 w 215227"/>
                <a:gd name="connsiteY43" fmla="*/ 28291 h 125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5227" h="125478">
                  <a:moveTo>
                    <a:pt x="201326" y="28291"/>
                  </a:moveTo>
                  <a:lnTo>
                    <a:pt x="200838" y="28047"/>
                  </a:lnTo>
                  <a:lnTo>
                    <a:pt x="200350" y="27681"/>
                  </a:lnTo>
                  <a:lnTo>
                    <a:pt x="196692" y="24632"/>
                  </a:lnTo>
                  <a:lnTo>
                    <a:pt x="191448" y="20364"/>
                  </a:lnTo>
                  <a:lnTo>
                    <a:pt x="196204" y="15609"/>
                  </a:lnTo>
                  <a:lnTo>
                    <a:pt x="196448" y="15365"/>
                  </a:lnTo>
                  <a:lnTo>
                    <a:pt x="189376" y="0"/>
                  </a:lnTo>
                  <a:lnTo>
                    <a:pt x="121942" y="14267"/>
                  </a:lnTo>
                  <a:lnTo>
                    <a:pt x="92676" y="47435"/>
                  </a:lnTo>
                  <a:lnTo>
                    <a:pt x="80969" y="60483"/>
                  </a:lnTo>
                  <a:lnTo>
                    <a:pt x="76214" y="65849"/>
                  </a:lnTo>
                  <a:lnTo>
                    <a:pt x="71702" y="60361"/>
                  </a:lnTo>
                  <a:lnTo>
                    <a:pt x="57191" y="42558"/>
                  </a:lnTo>
                  <a:lnTo>
                    <a:pt x="26705" y="35241"/>
                  </a:lnTo>
                  <a:lnTo>
                    <a:pt x="16462" y="32802"/>
                  </a:lnTo>
                  <a:lnTo>
                    <a:pt x="13414" y="34632"/>
                  </a:lnTo>
                  <a:lnTo>
                    <a:pt x="1585" y="41460"/>
                  </a:lnTo>
                  <a:lnTo>
                    <a:pt x="0" y="42314"/>
                  </a:lnTo>
                  <a:lnTo>
                    <a:pt x="0" y="50118"/>
                  </a:lnTo>
                  <a:lnTo>
                    <a:pt x="2927" y="69141"/>
                  </a:lnTo>
                  <a:lnTo>
                    <a:pt x="1951" y="77311"/>
                  </a:lnTo>
                  <a:lnTo>
                    <a:pt x="12316" y="97919"/>
                  </a:lnTo>
                  <a:lnTo>
                    <a:pt x="12316" y="98773"/>
                  </a:lnTo>
                  <a:lnTo>
                    <a:pt x="13170" y="116211"/>
                  </a:lnTo>
                  <a:lnTo>
                    <a:pt x="22072" y="121454"/>
                  </a:lnTo>
                  <a:lnTo>
                    <a:pt x="25242" y="125478"/>
                  </a:lnTo>
                  <a:lnTo>
                    <a:pt x="50606" y="120234"/>
                  </a:lnTo>
                  <a:lnTo>
                    <a:pt x="58288" y="110601"/>
                  </a:lnTo>
                  <a:lnTo>
                    <a:pt x="74019" y="110601"/>
                  </a:lnTo>
                  <a:lnTo>
                    <a:pt x="83286" y="105967"/>
                  </a:lnTo>
                  <a:lnTo>
                    <a:pt x="119259" y="94871"/>
                  </a:lnTo>
                  <a:lnTo>
                    <a:pt x="122064" y="88408"/>
                  </a:lnTo>
                  <a:lnTo>
                    <a:pt x="133160" y="83286"/>
                  </a:lnTo>
                  <a:lnTo>
                    <a:pt x="139989" y="79506"/>
                  </a:lnTo>
                  <a:lnTo>
                    <a:pt x="157061" y="76580"/>
                  </a:lnTo>
                  <a:lnTo>
                    <a:pt x="168523" y="70970"/>
                  </a:lnTo>
                  <a:lnTo>
                    <a:pt x="184010" y="67312"/>
                  </a:lnTo>
                  <a:lnTo>
                    <a:pt x="190595" y="60727"/>
                  </a:lnTo>
                  <a:lnTo>
                    <a:pt x="190595" y="57069"/>
                  </a:lnTo>
                  <a:lnTo>
                    <a:pt x="203277" y="41826"/>
                  </a:lnTo>
                  <a:lnTo>
                    <a:pt x="215227" y="37802"/>
                  </a:lnTo>
                  <a:lnTo>
                    <a:pt x="211325" y="33900"/>
                  </a:lnTo>
                  <a:lnTo>
                    <a:pt x="201326" y="2829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5" name="Freihandform: Form 764">
              <a:extLst>
                <a:ext uri="{FF2B5EF4-FFF2-40B4-BE49-F238E27FC236}">
                  <a16:creationId xmlns:a16="http://schemas.microsoft.com/office/drawing/2014/main" id="{E5DD0E77-89B2-4449-9770-8456DB01AECE}"/>
                </a:ext>
              </a:extLst>
            </p:cNvPr>
            <p:cNvSpPr/>
            <p:nvPr/>
          </p:nvSpPr>
          <p:spPr>
            <a:xfrm>
              <a:off x="4946970" y="2520071"/>
              <a:ext cx="355825" cy="151085"/>
            </a:xfrm>
            <a:custGeom>
              <a:avLst/>
              <a:gdLst>
                <a:gd name="connsiteX0" fmla="*/ 163402 w 355825"/>
                <a:gd name="connsiteY0" fmla="*/ 132550 h 151085"/>
                <a:gd name="connsiteX1" fmla="*/ 177791 w 355825"/>
                <a:gd name="connsiteY1" fmla="*/ 132550 h 151085"/>
                <a:gd name="connsiteX2" fmla="*/ 180352 w 355825"/>
                <a:gd name="connsiteY2" fmla="*/ 130356 h 151085"/>
                <a:gd name="connsiteX3" fmla="*/ 178766 w 355825"/>
                <a:gd name="connsiteY3" fmla="*/ 132550 h 151085"/>
                <a:gd name="connsiteX4" fmla="*/ 187058 w 355825"/>
                <a:gd name="connsiteY4" fmla="*/ 132550 h 151085"/>
                <a:gd name="connsiteX5" fmla="*/ 186936 w 355825"/>
                <a:gd name="connsiteY5" fmla="*/ 151086 h 151085"/>
                <a:gd name="connsiteX6" fmla="*/ 192912 w 355825"/>
                <a:gd name="connsiteY6" fmla="*/ 145598 h 151085"/>
                <a:gd name="connsiteX7" fmla="*/ 193278 w 355825"/>
                <a:gd name="connsiteY7" fmla="*/ 145233 h 151085"/>
                <a:gd name="connsiteX8" fmla="*/ 194009 w 355825"/>
                <a:gd name="connsiteY8" fmla="*/ 136696 h 151085"/>
                <a:gd name="connsiteX9" fmla="*/ 194375 w 355825"/>
                <a:gd name="connsiteY9" fmla="*/ 132307 h 151085"/>
                <a:gd name="connsiteX10" fmla="*/ 198765 w 355825"/>
                <a:gd name="connsiteY10" fmla="*/ 131331 h 151085"/>
                <a:gd name="connsiteX11" fmla="*/ 220104 w 355825"/>
                <a:gd name="connsiteY11" fmla="*/ 126575 h 151085"/>
                <a:gd name="connsiteX12" fmla="*/ 226080 w 355825"/>
                <a:gd name="connsiteY12" fmla="*/ 125112 h 151085"/>
                <a:gd name="connsiteX13" fmla="*/ 227543 w 355825"/>
                <a:gd name="connsiteY13" fmla="*/ 124868 h 151085"/>
                <a:gd name="connsiteX14" fmla="*/ 229006 w 355825"/>
                <a:gd name="connsiteY14" fmla="*/ 125234 h 151085"/>
                <a:gd name="connsiteX15" fmla="*/ 238030 w 355825"/>
                <a:gd name="connsiteY15" fmla="*/ 127673 h 151085"/>
                <a:gd name="connsiteX16" fmla="*/ 248517 w 355825"/>
                <a:gd name="connsiteY16" fmla="*/ 126088 h 151085"/>
                <a:gd name="connsiteX17" fmla="*/ 260345 w 355825"/>
                <a:gd name="connsiteY17" fmla="*/ 124136 h 151085"/>
                <a:gd name="connsiteX18" fmla="*/ 273149 w 355825"/>
                <a:gd name="connsiteY18" fmla="*/ 119747 h 151085"/>
                <a:gd name="connsiteX19" fmla="*/ 284612 w 355825"/>
                <a:gd name="connsiteY19" fmla="*/ 115723 h 151085"/>
                <a:gd name="connsiteX20" fmla="*/ 285100 w 355825"/>
                <a:gd name="connsiteY20" fmla="*/ 115601 h 151085"/>
                <a:gd name="connsiteX21" fmla="*/ 285587 w 355825"/>
                <a:gd name="connsiteY21" fmla="*/ 115479 h 151085"/>
                <a:gd name="connsiteX22" fmla="*/ 302171 w 355825"/>
                <a:gd name="connsiteY22" fmla="*/ 112918 h 151085"/>
                <a:gd name="connsiteX23" fmla="*/ 305708 w 355825"/>
                <a:gd name="connsiteY23" fmla="*/ 112308 h 151085"/>
                <a:gd name="connsiteX24" fmla="*/ 307903 w 355825"/>
                <a:gd name="connsiteY24" fmla="*/ 115113 h 151085"/>
                <a:gd name="connsiteX25" fmla="*/ 309366 w 355825"/>
                <a:gd name="connsiteY25" fmla="*/ 116942 h 151085"/>
                <a:gd name="connsiteX26" fmla="*/ 309610 w 355825"/>
                <a:gd name="connsiteY26" fmla="*/ 117308 h 151085"/>
                <a:gd name="connsiteX27" fmla="*/ 313634 w 355825"/>
                <a:gd name="connsiteY27" fmla="*/ 114503 h 151085"/>
                <a:gd name="connsiteX28" fmla="*/ 319975 w 355825"/>
                <a:gd name="connsiteY28" fmla="*/ 110113 h 151085"/>
                <a:gd name="connsiteX29" fmla="*/ 322048 w 355825"/>
                <a:gd name="connsiteY29" fmla="*/ 108650 h 151085"/>
                <a:gd name="connsiteX30" fmla="*/ 324486 w 355825"/>
                <a:gd name="connsiteY30" fmla="*/ 109138 h 151085"/>
                <a:gd name="connsiteX31" fmla="*/ 331925 w 355825"/>
                <a:gd name="connsiteY31" fmla="*/ 110479 h 151085"/>
                <a:gd name="connsiteX32" fmla="*/ 338022 w 355825"/>
                <a:gd name="connsiteY32" fmla="*/ 111699 h 151085"/>
                <a:gd name="connsiteX33" fmla="*/ 340217 w 355825"/>
                <a:gd name="connsiteY33" fmla="*/ 112064 h 151085"/>
                <a:gd name="connsiteX34" fmla="*/ 341680 w 355825"/>
                <a:gd name="connsiteY34" fmla="*/ 113772 h 151085"/>
                <a:gd name="connsiteX35" fmla="*/ 344729 w 355825"/>
                <a:gd name="connsiteY35" fmla="*/ 117674 h 151085"/>
                <a:gd name="connsiteX36" fmla="*/ 347168 w 355825"/>
                <a:gd name="connsiteY36" fmla="*/ 120722 h 151085"/>
                <a:gd name="connsiteX37" fmla="*/ 350460 w 355825"/>
                <a:gd name="connsiteY37" fmla="*/ 119991 h 151085"/>
                <a:gd name="connsiteX38" fmla="*/ 354728 w 355825"/>
                <a:gd name="connsiteY38" fmla="*/ 119015 h 151085"/>
                <a:gd name="connsiteX39" fmla="*/ 355826 w 355825"/>
                <a:gd name="connsiteY39" fmla="*/ 107065 h 151085"/>
                <a:gd name="connsiteX40" fmla="*/ 344973 w 355825"/>
                <a:gd name="connsiteY40" fmla="*/ 69507 h 151085"/>
                <a:gd name="connsiteX41" fmla="*/ 343875 w 355825"/>
                <a:gd name="connsiteY41" fmla="*/ 65727 h 151085"/>
                <a:gd name="connsiteX42" fmla="*/ 346924 w 355825"/>
                <a:gd name="connsiteY42" fmla="*/ 63166 h 151085"/>
                <a:gd name="connsiteX43" fmla="*/ 351802 w 355825"/>
                <a:gd name="connsiteY43" fmla="*/ 59020 h 151085"/>
                <a:gd name="connsiteX44" fmla="*/ 347046 w 355825"/>
                <a:gd name="connsiteY44" fmla="*/ 55971 h 151085"/>
                <a:gd name="connsiteX45" fmla="*/ 351802 w 355825"/>
                <a:gd name="connsiteY45" fmla="*/ 55361 h 151085"/>
                <a:gd name="connsiteX46" fmla="*/ 351192 w 355825"/>
                <a:gd name="connsiteY46" fmla="*/ 54264 h 151085"/>
                <a:gd name="connsiteX47" fmla="*/ 341437 w 355825"/>
                <a:gd name="connsiteY47" fmla="*/ 48289 h 151085"/>
                <a:gd name="connsiteX48" fmla="*/ 339120 w 355825"/>
                <a:gd name="connsiteY48" fmla="*/ 46826 h 151085"/>
                <a:gd name="connsiteX49" fmla="*/ 338632 w 355825"/>
                <a:gd name="connsiteY49" fmla="*/ 44143 h 151085"/>
                <a:gd name="connsiteX50" fmla="*/ 338388 w 355825"/>
                <a:gd name="connsiteY50" fmla="*/ 42801 h 151085"/>
                <a:gd name="connsiteX51" fmla="*/ 336193 w 355825"/>
                <a:gd name="connsiteY51" fmla="*/ 30364 h 151085"/>
                <a:gd name="connsiteX52" fmla="*/ 326438 w 355825"/>
                <a:gd name="connsiteY52" fmla="*/ 16706 h 151085"/>
                <a:gd name="connsiteX53" fmla="*/ 323755 w 355825"/>
                <a:gd name="connsiteY53" fmla="*/ 12926 h 151085"/>
                <a:gd name="connsiteX54" fmla="*/ 310951 w 355825"/>
                <a:gd name="connsiteY54" fmla="*/ 12926 h 151085"/>
                <a:gd name="connsiteX55" fmla="*/ 310219 w 355825"/>
                <a:gd name="connsiteY55" fmla="*/ 12682 h 151085"/>
                <a:gd name="connsiteX56" fmla="*/ 298391 w 355825"/>
                <a:gd name="connsiteY56" fmla="*/ 9146 h 151085"/>
                <a:gd name="connsiteX57" fmla="*/ 297416 w 355825"/>
                <a:gd name="connsiteY57" fmla="*/ 15121 h 151085"/>
                <a:gd name="connsiteX58" fmla="*/ 272418 w 355825"/>
                <a:gd name="connsiteY58" fmla="*/ 27071 h 151085"/>
                <a:gd name="connsiteX59" fmla="*/ 257541 w 355825"/>
                <a:gd name="connsiteY59" fmla="*/ 28047 h 151085"/>
                <a:gd name="connsiteX60" fmla="*/ 257541 w 355825"/>
                <a:gd name="connsiteY60" fmla="*/ 28047 h 151085"/>
                <a:gd name="connsiteX61" fmla="*/ 242664 w 355825"/>
                <a:gd name="connsiteY61" fmla="*/ 24388 h 151085"/>
                <a:gd name="connsiteX62" fmla="*/ 230226 w 355825"/>
                <a:gd name="connsiteY62" fmla="*/ 29144 h 151085"/>
                <a:gd name="connsiteX63" fmla="*/ 212057 w 355825"/>
                <a:gd name="connsiteY63" fmla="*/ 22437 h 151085"/>
                <a:gd name="connsiteX64" fmla="*/ 203155 w 355825"/>
                <a:gd name="connsiteY64" fmla="*/ 23413 h 151085"/>
                <a:gd name="connsiteX65" fmla="*/ 186083 w 355825"/>
                <a:gd name="connsiteY65" fmla="*/ 9267 h 151085"/>
                <a:gd name="connsiteX66" fmla="*/ 170718 w 355825"/>
                <a:gd name="connsiteY66" fmla="*/ 11219 h 151085"/>
                <a:gd name="connsiteX67" fmla="*/ 162304 w 355825"/>
                <a:gd name="connsiteY67" fmla="*/ 0 h 151085"/>
                <a:gd name="connsiteX68" fmla="*/ 153890 w 355825"/>
                <a:gd name="connsiteY68" fmla="*/ 2561 h 151085"/>
                <a:gd name="connsiteX69" fmla="*/ 132185 w 355825"/>
                <a:gd name="connsiteY69" fmla="*/ 610 h 151085"/>
                <a:gd name="connsiteX70" fmla="*/ 107308 w 355825"/>
                <a:gd name="connsiteY70" fmla="*/ 9877 h 151085"/>
                <a:gd name="connsiteX71" fmla="*/ 88651 w 355825"/>
                <a:gd name="connsiteY71" fmla="*/ 21584 h 151085"/>
                <a:gd name="connsiteX72" fmla="*/ 79628 w 355825"/>
                <a:gd name="connsiteY72" fmla="*/ 18535 h 151085"/>
                <a:gd name="connsiteX73" fmla="*/ 61215 w 355825"/>
                <a:gd name="connsiteY73" fmla="*/ 18535 h 151085"/>
                <a:gd name="connsiteX74" fmla="*/ 55362 w 355825"/>
                <a:gd name="connsiteY74" fmla="*/ 19998 h 151085"/>
                <a:gd name="connsiteX75" fmla="*/ 54752 w 355825"/>
                <a:gd name="connsiteY75" fmla="*/ 25486 h 151085"/>
                <a:gd name="connsiteX76" fmla="*/ 65605 w 355825"/>
                <a:gd name="connsiteY76" fmla="*/ 29388 h 151085"/>
                <a:gd name="connsiteX77" fmla="*/ 62678 w 355825"/>
                <a:gd name="connsiteY77" fmla="*/ 36948 h 151085"/>
                <a:gd name="connsiteX78" fmla="*/ 49874 w 355825"/>
                <a:gd name="connsiteY78" fmla="*/ 42314 h 151085"/>
                <a:gd name="connsiteX79" fmla="*/ 49874 w 355825"/>
                <a:gd name="connsiteY79" fmla="*/ 42314 h 151085"/>
                <a:gd name="connsiteX80" fmla="*/ 37436 w 355825"/>
                <a:gd name="connsiteY80" fmla="*/ 39509 h 151085"/>
                <a:gd name="connsiteX81" fmla="*/ 26339 w 355825"/>
                <a:gd name="connsiteY81" fmla="*/ 43167 h 151085"/>
                <a:gd name="connsiteX82" fmla="*/ 15365 w 355825"/>
                <a:gd name="connsiteY82" fmla="*/ 43167 h 151085"/>
                <a:gd name="connsiteX83" fmla="*/ 6829 w 355825"/>
                <a:gd name="connsiteY83" fmla="*/ 49142 h 151085"/>
                <a:gd name="connsiteX84" fmla="*/ 0 w 355825"/>
                <a:gd name="connsiteY84" fmla="*/ 60117 h 151085"/>
                <a:gd name="connsiteX85" fmla="*/ 975 w 355825"/>
                <a:gd name="connsiteY85" fmla="*/ 62556 h 151085"/>
                <a:gd name="connsiteX86" fmla="*/ 12438 w 355825"/>
                <a:gd name="connsiteY86" fmla="*/ 62556 h 151085"/>
                <a:gd name="connsiteX87" fmla="*/ 8414 w 355825"/>
                <a:gd name="connsiteY87" fmla="*/ 70726 h 151085"/>
                <a:gd name="connsiteX88" fmla="*/ 11219 w 355825"/>
                <a:gd name="connsiteY88" fmla="*/ 86701 h 151085"/>
                <a:gd name="connsiteX89" fmla="*/ 11219 w 355825"/>
                <a:gd name="connsiteY89" fmla="*/ 86701 h 151085"/>
                <a:gd name="connsiteX90" fmla="*/ 8536 w 355825"/>
                <a:gd name="connsiteY90" fmla="*/ 93407 h 151085"/>
                <a:gd name="connsiteX91" fmla="*/ 488 w 355825"/>
                <a:gd name="connsiteY91" fmla="*/ 92554 h 151085"/>
                <a:gd name="connsiteX92" fmla="*/ 854 w 355825"/>
                <a:gd name="connsiteY92" fmla="*/ 96090 h 151085"/>
                <a:gd name="connsiteX93" fmla="*/ 1463 w 355825"/>
                <a:gd name="connsiteY93" fmla="*/ 96700 h 151085"/>
                <a:gd name="connsiteX94" fmla="*/ 3171 w 355825"/>
                <a:gd name="connsiteY94" fmla="*/ 98407 h 151085"/>
                <a:gd name="connsiteX95" fmla="*/ 10975 w 355825"/>
                <a:gd name="connsiteY95" fmla="*/ 97431 h 151085"/>
                <a:gd name="connsiteX96" fmla="*/ 16828 w 355825"/>
                <a:gd name="connsiteY96" fmla="*/ 105601 h 151085"/>
                <a:gd name="connsiteX97" fmla="*/ 16828 w 355825"/>
                <a:gd name="connsiteY97" fmla="*/ 117064 h 151085"/>
                <a:gd name="connsiteX98" fmla="*/ 25608 w 355825"/>
                <a:gd name="connsiteY98" fmla="*/ 120356 h 151085"/>
                <a:gd name="connsiteX99" fmla="*/ 25608 w 355825"/>
                <a:gd name="connsiteY99" fmla="*/ 120356 h 151085"/>
                <a:gd name="connsiteX100" fmla="*/ 25608 w 355825"/>
                <a:gd name="connsiteY100" fmla="*/ 120356 h 151085"/>
                <a:gd name="connsiteX101" fmla="*/ 20730 w 355825"/>
                <a:gd name="connsiteY101" fmla="*/ 126819 h 151085"/>
                <a:gd name="connsiteX102" fmla="*/ 14755 w 355825"/>
                <a:gd name="connsiteY102" fmla="*/ 129502 h 151085"/>
                <a:gd name="connsiteX103" fmla="*/ 14389 w 355825"/>
                <a:gd name="connsiteY103" fmla="*/ 131575 h 151085"/>
                <a:gd name="connsiteX104" fmla="*/ 16584 w 355825"/>
                <a:gd name="connsiteY104" fmla="*/ 130843 h 151085"/>
                <a:gd name="connsiteX105" fmla="*/ 25364 w 355825"/>
                <a:gd name="connsiteY105" fmla="*/ 125356 h 151085"/>
                <a:gd name="connsiteX106" fmla="*/ 32071 w 355825"/>
                <a:gd name="connsiteY106" fmla="*/ 131941 h 151085"/>
                <a:gd name="connsiteX107" fmla="*/ 32071 w 355825"/>
                <a:gd name="connsiteY107" fmla="*/ 131941 h 151085"/>
                <a:gd name="connsiteX108" fmla="*/ 30851 w 355825"/>
                <a:gd name="connsiteY108" fmla="*/ 141208 h 151085"/>
                <a:gd name="connsiteX109" fmla="*/ 24510 w 355825"/>
                <a:gd name="connsiteY109" fmla="*/ 148403 h 151085"/>
                <a:gd name="connsiteX110" fmla="*/ 24754 w 355825"/>
                <a:gd name="connsiteY110" fmla="*/ 149622 h 151085"/>
                <a:gd name="connsiteX111" fmla="*/ 31217 w 355825"/>
                <a:gd name="connsiteY111" fmla="*/ 147062 h 151085"/>
                <a:gd name="connsiteX112" fmla="*/ 34997 w 355825"/>
                <a:gd name="connsiteY112" fmla="*/ 140721 h 151085"/>
                <a:gd name="connsiteX113" fmla="*/ 42436 w 355825"/>
                <a:gd name="connsiteY113" fmla="*/ 133160 h 151085"/>
                <a:gd name="connsiteX114" fmla="*/ 42436 w 355825"/>
                <a:gd name="connsiteY114" fmla="*/ 133160 h 151085"/>
                <a:gd name="connsiteX115" fmla="*/ 50118 w 355825"/>
                <a:gd name="connsiteY115" fmla="*/ 135721 h 151085"/>
                <a:gd name="connsiteX116" fmla="*/ 53410 w 355825"/>
                <a:gd name="connsiteY116" fmla="*/ 141086 h 151085"/>
                <a:gd name="connsiteX117" fmla="*/ 55362 w 355825"/>
                <a:gd name="connsiteY117" fmla="*/ 144257 h 151085"/>
                <a:gd name="connsiteX118" fmla="*/ 69385 w 355825"/>
                <a:gd name="connsiteY118" fmla="*/ 139135 h 151085"/>
                <a:gd name="connsiteX119" fmla="*/ 77555 w 355825"/>
                <a:gd name="connsiteY119" fmla="*/ 138404 h 151085"/>
                <a:gd name="connsiteX120" fmla="*/ 76701 w 355825"/>
                <a:gd name="connsiteY120" fmla="*/ 132550 h 151085"/>
                <a:gd name="connsiteX121" fmla="*/ 88530 w 355825"/>
                <a:gd name="connsiteY121" fmla="*/ 125478 h 151085"/>
                <a:gd name="connsiteX122" fmla="*/ 96334 w 355825"/>
                <a:gd name="connsiteY122" fmla="*/ 130965 h 151085"/>
                <a:gd name="connsiteX123" fmla="*/ 108040 w 355825"/>
                <a:gd name="connsiteY123" fmla="*/ 139623 h 151085"/>
                <a:gd name="connsiteX124" fmla="*/ 116576 w 355825"/>
                <a:gd name="connsiteY124" fmla="*/ 145842 h 151085"/>
                <a:gd name="connsiteX125" fmla="*/ 127063 w 355825"/>
                <a:gd name="connsiteY125" fmla="*/ 146696 h 151085"/>
                <a:gd name="connsiteX126" fmla="*/ 142550 w 355825"/>
                <a:gd name="connsiteY126" fmla="*/ 143037 h 151085"/>
                <a:gd name="connsiteX127" fmla="*/ 149256 w 355825"/>
                <a:gd name="connsiteY127" fmla="*/ 139257 h 151085"/>
                <a:gd name="connsiteX128" fmla="*/ 157427 w 355825"/>
                <a:gd name="connsiteY128" fmla="*/ 136453 h 151085"/>
                <a:gd name="connsiteX129" fmla="*/ 163402 w 355825"/>
                <a:gd name="connsiteY129" fmla="*/ 132550 h 151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355825" h="151085">
                  <a:moveTo>
                    <a:pt x="163402" y="132550"/>
                  </a:moveTo>
                  <a:lnTo>
                    <a:pt x="177791" y="132550"/>
                  </a:lnTo>
                  <a:lnTo>
                    <a:pt x="180352" y="130356"/>
                  </a:lnTo>
                  <a:lnTo>
                    <a:pt x="178766" y="132550"/>
                  </a:lnTo>
                  <a:lnTo>
                    <a:pt x="187058" y="132550"/>
                  </a:lnTo>
                  <a:lnTo>
                    <a:pt x="186936" y="151086"/>
                  </a:lnTo>
                  <a:lnTo>
                    <a:pt x="192912" y="145598"/>
                  </a:lnTo>
                  <a:lnTo>
                    <a:pt x="193278" y="145233"/>
                  </a:lnTo>
                  <a:lnTo>
                    <a:pt x="194009" y="136696"/>
                  </a:lnTo>
                  <a:lnTo>
                    <a:pt x="194375" y="132307"/>
                  </a:lnTo>
                  <a:lnTo>
                    <a:pt x="198765" y="131331"/>
                  </a:lnTo>
                  <a:lnTo>
                    <a:pt x="220104" y="126575"/>
                  </a:lnTo>
                  <a:lnTo>
                    <a:pt x="226080" y="125112"/>
                  </a:lnTo>
                  <a:lnTo>
                    <a:pt x="227543" y="124868"/>
                  </a:lnTo>
                  <a:lnTo>
                    <a:pt x="229006" y="125234"/>
                  </a:lnTo>
                  <a:lnTo>
                    <a:pt x="238030" y="127673"/>
                  </a:lnTo>
                  <a:lnTo>
                    <a:pt x="248517" y="126088"/>
                  </a:lnTo>
                  <a:lnTo>
                    <a:pt x="260345" y="124136"/>
                  </a:lnTo>
                  <a:lnTo>
                    <a:pt x="273149" y="119747"/>
                  </a:lnTo>
                  <a:lnTo>
                    <a:pt x="284612" y="115723"/>
                  </a:lnTo>
                  <a:lnTo>
                    <a:pt x="285100" y="115601"/>
                  </a:lnTo>
                  <a:lnTo>
                    <a:pt x="285587" y="115479"/>
                  </a:lnTo>
                  <a:lnTo>
                    <a:pt x="302171" y="112918"/>
                  </a:lnTo>
                  <a:lnTo>
                    <a:pt x="305708" y="112308"/>
                  </a:lnTo>
                  <a:lnTo>
                    <a:pt x="307903" y="115113"/>
                  </a:lnTo>
                  <a:lnTo>
                    <a:pt x="309366" y="116942"/>
                  </a:lnTo>
                  <a:lnTo>
                    <a:pt x="309610" y="117308"/>
                  </a:lnTo>
                  <a:lnTo>
                    <a:pt x="313634" y="114503"/>
                  </a:lnTo>
                  <a:lnTo>
                    <a:pt x="319975" y="110113"/>
                  </a:lnTo>
                  <a:lnTo>
                    <a:pt x="322048" y="108650"/>
                  </a:lnTo>
                  <a:lnTo>
                    <a:pt x="324486" y="109138"/>
                  </a:lnTo>
                  <a:lnTo>
                    <a:pt x="331925" y="110479"/>
                  </a:lnTo>
                  <a:lnTo>
                    <a:pt x="338022" y="111699"/>
                  </a:lnTo>
                  <a:lnTo>
                    <a:pt x="340217" y="112064"/>
                  </a:lnTo>
                  <a:lnTo>
                    <a:pt x="341680" y="113772"/>
                  </a:lnTo>
                  <a:lnTo>
                    <a:pt x="344729" y="117674"/>
                  </a:lnTo>
                  <a:lnTo>
                    <a:pt x="347168" y="120722"/>
                  </a:lnTo>
                  <a:lnTo>
                    <a:pt x="350460" y="119991"/>
                  </a:lnTo>
                  <a:lnTo>
                    <a:pt x="354728" y="119015"/>
                  </a:lnTo>
                  <a:lnTo>
                    <a:pt x="355826" y="107065"/>
                  </a:lnTo>
                  <a:lnTo>
                    <a:pt x="344973" y="69507"/>
                  </a:lnTo>
                  <a:lnTo>
                    <a:pt x="343875" y="65727"/>
                  </a:lnTo>
                  <a:lnTo>
                    <a:pt x="346924" y="63166"/>
                  </a:lnTo>
                  <a:lnTo>
                    <a:pt x="351802" y="59020"/>
                  </a:lnTo>
                  <a:lnTo>
                    <a:pt x="347046" y="55971"/>
                  </a:lnTo>
                  <a:lnTo>
                    <a:pt x="351802" y="55361"/>
                  </a:lnTo>
                  <a:lnTo>
                    <a:pt x="351192" y="54264"/>
                  </a:lnTo>
                  <a:lnTo>
                    <a:pt x="341437" y="48289"/>
                  </a:lnTo>
                  <a:lnTo>
                    <a:pt x="339120" y="46826"/>
                  </a:lnTo>
                  <a:lnTo>
                    <a:pt x="338632" y="44143"/>
                  </a:lnTo>
                  <a:lnTo>
                    <a:pt x="338388" y="42801"/>
                  </a:lnTo>
                  <a:lnTo>
                    <a:pt x="336193" y="30364"/>
                  </a:lnTo>
                  <a:lnTo>
                    <a:pt x="326438" y="16706"/>
                  </a:lnTo>
                  <a:lnTo>
                    <a:pt x="323755" y="12926"/>
                  </a:lnTo>
                  <a:lnTo>
                    <a:pt x="310951" y="12926"/>
                  </a:lnTo>
                  <a:lnTo>
                    <a:pt x="310219" y="12682"/>
                  </a:lnTo>
                  <a:lnTo>
                    <a:pt x="298391" y="9146"/>
                  </a:lnTo>
                  <a:lnTo>
                    <a:pt x="297416" y="15121"/>
                  </a:lnTo>
                  <a:lnTo>
                    <a:pt x="272418" y="27071"/>
                  </a:lnTo>
                  <a:lnTo>
                    <a:pt x="257541" y="28047"/>
                  </a:lnTo>
                  <a:lnTo>
                    <a:pt x="257541" y="28047"/>
                  </a:lnTo>
                  <a:lnTo>
                    <a:pt x="242664" y="24388"/>
                  </a:lnTo>
                  <a:lnTo>
                    <a:pt x="230226" y="29144"/>
                  </a:lnTo>
                  <a:lnTo>
                    <a:pt x="212057" y="22437"/>
                  </a:lnTo>
                  <a:lnTo>
                    <a:pt x="203155" y="23413"/>
                  </a:lnTo>
                  <a:lnTo>
                    <a:pt x="186083" y="9267"/>
                  </a:lnTo>
                  <a:lnTo>
                    <a:pt x="170718" y="11219"/>
                  </a:lnTo>
                  <a:lnTo>
                    <a:pt x="162304" y="0"/>
                  </a:lnTo>
                  <a:lnTo>
                    <a:pt x="153890" y="2561"/>
                  </a:lnTo>
                  <a:lnTo>
                    <a:pt x="132185" y="610"/>
                  </a:lnTo>
                  <a:lnTo>
                    <a:pt x="107308" y="9877"/>
                  </a:lnTo>
                  <a:lnTo>
                    <a:pt x="88651" y="21584"/>
                  </a:lnTo>
                  <a:lnTo>
                    <a:pt x="79628" y="18535"/>
                  </a:lnTo>
                  <a:lnTo>
                    <a:pt x="61215" y="18535"/>
                  </a:lnTo>
                  <a:lnTo>
                    <a:pt x="55362" y="19998"/>
                  </a:lnTo>
                  <a:lnTo>
                    <a:pt x="54752" y="25486"/>
                  </a:lnTo>
                  <a:lnTo>
                    <a:pt x="65605" y="29388"/>
                  </a:lnTo>
                  <a:lnTo>
                    <a:pt x="62678" y="36948"/>
                  </a:lnTo>
                  <a:lnTo>
                    <a:pt x="49874" y="42314"/>
                  </a:lnTo>
                  <a:lnTo>
                    <a:pt x="49874" y="42314"/>
                  </a:lnTo>
                  <a:lnTo>
                    <a:pt x="37436" y="39509"/>
                  </a:lnTo>
                  <a:lnTo>
                    <a:pt x="26339" y="43167"/>
                  </a:lnTo>
                  <a:lnTo>
                    <a:pt x="15365" y="43167"/>
                  </a:lnTo>
                  <a:lnTo>
                    <a:pt x="6829" y="49142"/>
                  </a:lnTo>
                  <a:lnTo>
                    <a:pt x="0" y="60117"/>
                  </a:lnTo>
                  <a:lnTo>
                    <a:pt x="975" y="62556"/>
                  </a:lnTo>
                  <a:lnTo>
                    <a:pt x="12438" y="62556"/>
                  </a:lnTo>
                  <a:lnTo>
                    <a:pt x="8414" y="70726"/>
                  </a:lnTo>
                  <a:lnTo>
                    <a:pt x="11219" y="86701"/>
                  </a:lnTo>
                  <a:lnTo>
                    <a:pt x="11219" y="86701"/>
                  </a:lnTo>
                  <a:lnTo>
                    <a:pt x="8536" y="93407"/>
                  </a:lnTo>
                  <a:lnTo>
                    <a:pt x="488" y="92554"/>
                  </a:lnTo>
                  <a:lnTo>
                    <a:pt x="854" y="96090"/>
                  </a:lnTo>
                  <a:lnTo>
                    <a:pt x="1463" y="96700"/>
                  </a:lnTo>
                  <a:lnTo>
                    <a:pt x="3171" y="98407"/>
                  </a:lnTo>
                  <a:lnTo>
                    <a:pt x="10975" y="97431"/>
                  </a:lnTo>
                  <a:lnTo>
                    <a:pt x="16828" y="105601"/>
                  </a:lnTo>
                  <a:lnTo>
                    <a:pt x="16828" y="117064"/>
                  </a:lnTo>
                  <a:lnTo>
                    <a:pt x="25608" y="120356"/>
                  </a:lnTo>
                  <a:lnTo>
                    <a:pt x="25608" y="120356"/>
                  </a:lnTo>
                  <a:lnTo>
                    <a:pt x="25608" y="120356"/>
                  </a:lnTo>
                  <a:lnTo>
                    <a:pt x="20730" y="126819"/>
                  </a:lnTo>
                  <a:lnTo>
                    <a:pt x="14755" y="129502"/>
                  </a:lnTo>
                  <a:lnTo>
                    <a:pt x="14389" y="131575"/>
                  </a:lnTo>
                  <a:lnTo>
                    <a:pt x="16584" y="130843"/>
                  </a:lnTo>
                  <a:lnTo>
                    <a:pt x="25364" y="125356"/>
                  </a:lnTo>
                  <a:lnTo>
                    <a:pt x="32071" y="131941"/>
                  </a:lnTo>
                  <a:lnTo>
                    <a:pt x="32071" y="131941"/>
                  </a:lnTo>
                  <a:lnTo>
                    <a:pt x="30851" y="141208"/>
                  </a:lnTo>
                  <a:lnTo>
                    <a:pt x="24510" y="148403"/>
                  </a:lnTo>
                  <a:lnTo>
                    <a:pt x="24754" y="149622"/>
                  </a:lnTo>
                  <a:lnTo>
                    <a:pt x="31217" y="147062"/>
                  </a:lnTo>
                  <a:lnTo>
                    <a:pt x="34997" y="140721"/>
                  </a:lnTo>
                  <a:lnTo>
                    <a:pt x="42436" y="133160"/>
                  </a:lnTo>
                  <a:lnTo>
                    <a:pt x="42436" y="133160"/>
                  </a:lnTo>
                  <a:lnTo>
                    <a:pt x="50118" y="135721"/>
                  </a:lnTo>
                  <a:lnTo>
                    <a:pt x="53410" y="141086"/>
                  </a:lnTo>
                  <a:lnTo>
                    <a:pt x="55362" y="144257"/>
                  </a:lnTo>
                  <a:lnTo>
                    <a:pt x="69385" y="139135"/>
                  </a:lnTo>
                  <a:lnTo>
                    <a:pt x="77555" y="138404"/>
                  </a:lnTo>
                  <a:lnTo>
                    <a:pt x="76701" y="132550"/>
                  </a:lnTo>
                  <a:lnTo>
                    <a:pt x="88530" y="125478"/>
                  </a:lnTo>
                  <a:lnTo>
                    <a:pt x="96334" y="130965"/>
                  </a:lnTo>
                  <a:lnTo>
                    <a:pt x="108040" y="139623"/>
                  </a:lnTo>
                  <a:lnTo>
                    <a:pt x="116576" y="145842"/>
                  </a:lnTo>
                  <a:lnTo>
                    <a:pt x="127063" y="146696"/>
                  </a:lnTo>
                  <a:lnTo>
                    <a:pt x="142550" y="143037"/>
                  </a:lnTo>
                  <a:lnTo>
                    <a:pt x="149256" y="139257"/>
                  </a:lnTo>
                  <a:lnTo>
                    <a:pt x="157427" y="136453"/>
                  </a:lnTo>
                  <a:lnTo>
                    <a:pt x="163402" y="13255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6" name="Freihandform: Form 765">
              <a:extLst>
                <a:ext uri="{FF2B5EF4-FFF2-40B4-BE49-F238E27FC236}">
                  <a16:creationId xmlns:a16="http://schemas.microsoft.com/office/drawing/2014/main" id="{1A42D8FA-4F77-4315-8D83-57D1BB0E2C2C}"/>
                </a:ext>
              </a:extLst>
            </p:cNvPr>
            <p:cNvSpPr/>
            <p:nvPr/>
          </p:nvSpPr>
          <p:spPr>
            <a:xfrm>
              <a:off x="4962213" y="2680913"/>
              <a:ext cx="2438" cy="2072"/>
            </a:xfrm>
            <a:custGeom>
              <a:avLst/>
              <a:gdLst>
                <a:gd name="connsiteX0" fmla="*/ 854 w 2438"/>
                <a:gd name="connsiteY0" fmla="*/ 0 h 2072"/>
                <a:gd name="connsiteX1" fmla="*/ 0 w 2438"/>
                <a:gd name="connsiteY1" fmla="*/ 488 h 2072"/>
                <a:gd name="connsiteX2" fmla="*/ 854 w 2438"/>
                <a:gd name="connsiteY2" fmla="*/ 2073 h 2072"/>
                <a:gd name="connsiteX3" fmla="*/ 2439 w 2438"/>
                <a:gd name="connsiteY3" fmla="*/ 1341 h 2072"/>
                <a:gd name="connsiteX4" fmla="*/ 2317 w 2438"/>
                <a:gd name="connsiteY4" fmla="*/ 610 h 2072"/>
                <a:gd name="connsiteX5" fmla="*/ 854 w 2438"/>
                <a:gd name="connsiteY5" fmla="*/ 0 h 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8" h="2072">
                  <a:moveTo>
                    <a:pt x="854" y="0"/>
                  </a:moveTo>
                  <a:lnTo>
                    <a:pt x="0" y="488"/>
                  </a:lnTo>
                  <a:lnTo>
                    <a:pt x="854" y="2073"/>
                  </a:lnTo>
                  <a:lnTo>
                    <a:pt x="2439" y="1341"/>
                  </a:lnTo>
                  <a:lnTo>
                    <a:pt x="2317" y="610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7" name="Freihandform: Form 766">
              <a:extLst>
                <a:ext uri="{FF2B5EF4-FFF2-40B4-BE49-F238E27FC236}">
                  <a16:creationId xmlns:a16="http://schemas.microsoft.com/office/drawing/2014/main" id="{8313476F-5A26-4DC0-BDE5-9BCC51E28E20}"/>
                </a:ext>
              </a:extLst>
            </p:cNvPr>
            <p:cNvSpPr/>
            <p:nvPr/>
          </p:nvSpPr>
          <p:spPr>
            <a:xfrm>
              <a:off x="5112323" y="2762248"/>
              <a:ext cx="411187" cy="347533"/>
            </a:xfrm>
            <a:custGeom>
              <a:avLst/>
              <a:gdLst>
                <a:gd name="connsiteX0" fmla="*/ 166206 w 411187"/>
                <a:gd name="connsiteY0" fmla="*/ 319365 h 347533"/>
                <a:gd name="connsiteX1" fmla="*/ 168279 w 411187"/>
                <a:gd name="connsiteY1" fmla="*/ 318146 h 347533"/>
                <a:gd name="connsiteX2" fmla="*/ 170718 w 411187"/>
                <a:gd name="connsiteY2" fmla="*/ 318755 h 347533"/>
                <a:gd name="connsiteX3" fmla="*/ 182059 w 411187"/>
                <a:gd name="connsiteY3" fmla="*/ 321438 h 347533"/>
                <a:gd name="connsiteX4" fmla="*/ 212666 w 411187"/>
                <a:gd name="connsiteY4" fmla="*/ 328755 h 347533"/>
                <a:gd name="connsiteX5" fmla="*/ 214617 w 411187"/>
                <a:gd name="connsiteY5" fmla="*/ 329242 h 347533"/>
                <a:gd name="connsiteX6" fmla="*/ 215958 w 411187"/>
                <a:gd name="connsiteY6" fmla="*/ 330828 h 347533"/>
                <a:gd name="connsiteX7" fmla="*/ 229494 w 411187"/>
                <a:gd name="connsiteY7" fmla="*/ 347534 h 347533"/>
                <a:gd name="connsiteX8" fmla="*/ 239981 w 411187"/>
                <a:gd name="connsiteY8" fmla="*/ 335705 h 347533"/>
                <a:gd name="connsiteX9" fmla="*/ 269491 w 411187"/>
                <a:gd name="connsiteY9" fmla="*/ 302415 h 347533"/>
                <a:gd name="connsiteX10" fmla="*/ 270832 w 411187"/>
                <a:gd name="connsiteY10" fmla="*/ 300830 h 347533"/>
                <a:gd name="connsiteX11" fmla="*/ 272783 w 411187"/>
                <a:gd name="connsiteY11" fmla="*/ 300464 h 347533"/>
                <a:gd name="connsiteX12" fmla="*/ 342290 w 411187"/>
                <a:gd name="connsiteY12" fmla="*/ 285831 h 347533"/>
                <a:gd name="connsiteX13" fmla="*/ 343510 w 411187"/>
                <a:gd name="connsiteY13" fmla="*/ 285587 h 347533"/>
                <a:gd name="connsiteX14" fmla="*/ 345095 w 411187"/>
                <a:gd name="connsiteY14" fmla="*/ 284856 h 347533"/>
                <a:gd name="connsiteX15" fmla="*/ 389116 w 411187"/>
                <a:gd name="connsiteY15" fmla="*/ 265101 h 347533"/>
                <a:gd name="connsiteX16" fmla="*/ 390213 w 411187"/>
                <a:gd name="connsiteY16" fmla="*/ 264613 h 347533"/>
                <a:gd name="connsiteX17" fmla="*/ 402164 w 411187"/>
                <a:gd name="connsiteY17" fmla="*/ 264613 h 347533"/>
                <a:gd name="connsiteX18" fmla="*/ 403261 w 411187"/>
                <a:gd name="connsiteY18" fmla="*/ 259370 h 347533"/>
                <a:gd name="connsiteX19" fmla="*/ 411187 w 411187"/>
                <a:gd name="connsiteY19" fmla="*/ 225104 h 347533"/>
                <a:gd name="connsiteX20" fmla="*/ 398993 w 411187"/>
                <a:gd name="connsiteY20" fmla="*/ 217300 h 347533"/>
                <a:gd name="connsiteX21" fmla="*/ 398627 w 411187"/>
                <a:gd name="connsiteY21" fmla="*/ 217178 h 347533"/>
                <a:gd name="connsiteX22" fmla="*/ 397286 w 411187"/>
                <a:gd name="connsiteY22" fmla="*/ 216934 h 347533"/>
                <a:gd name="connsiteX23" fmla="*/ 381921 w 411187"/>
                <a:gd name="connsiteY23" fmla="*/ 214861 h 347533"/>
                <a:gd name="connsiteX24" fmla="*/ 347777 w 411187"/>
                <a:gd name="connsiteY24" fmla="*/ 210227 h 347533"/>
                <a:gd name="connsiteX25" fmla="*/ 345827 w 411187"/>
                <a:gd name="connsiteY25" fmla="*/ 209984 h 347533"/>
                <a:gd name="connsiteX26" fmla="*/ 344363 w 411187"/>
                <a:gd name="connsiteY26" fmla="*/ 208520 h 347533"/>
                <a:gd name="connsiteX27" fmla="*/ 336681 w 411187"/>
                <a:gd name="connsiteY27" fmla="*/ 200960 h 347533"/>
                <a:gd name="connsiteX28" fmla="*/ 331681 w 411187"/>
                <a:gd name="connsiteY28" fmla="*/ 195838 h 347533"/>
                <a:gd name="connsiteX29" fmla="*/ 328633 w 411187"/>
                <a:gd name="connsiteY29" fmla="*/ 192912 h 347533"/>
                <a:gd name="connsiteX30" fmla="*/ 330340 w 411187"/>
                <a:gd name="connsiteY30" fmla="*/ 189010 h 347533"/>
                <a:gd name="connsiteX31" fmla="*/ 332900 w 411187"/>
                <a:gd name="connsiteY31" fmla="*/ 183400 h 347533"/>
                <a:gd name="connsiteX32" fmla="*/ 333267 w 411187"/>
                <a:gd name="connsiteY32" fmla="*/ 182547 h 347533"/>
                <a:gd name="connsiteX33" fmla="*/ 331316 w 411187"/>
                <a:gd name="connsiteY33" fmla="*/ 180596 h 347533"/>
                <a:gd name="connsiteX34" fmla="*/ 326438 w 411187"/>
                <a:gd name="connsiteY34" fmla="*/ 179132 h 347533"/>
                <a:gd name="connsiteX35" fmla="*/ 319731 w 411187"/>
                <a:gd name="connsiteY35" fmla="*/ 177181 h 347533"/>
                <a:gd name="connsiteX36" fmla="*/ 316682 w 411187"/>
                <a:gd name="connsiteY36" fmla="*/ 176327 h 347533"/>
                <a:gd name="connsiteX37" fmla="*/ 315585 w 411187"/>
                <a:gd name="connsiteY37" fmla="*/ 173401 h 347533"/>
                <a:gd name="connsiteX38" fmla="*/ 312902 w 411187"/>
                <a:gd name="connsiteY38" fmla="*/ 165841 h 347533"/>
                <a:gd name="connsiteX39" fmla="*/ 312171 w 411187"/>
                <a:gd name="connsiteY39" fmla="*/ 163524 h 347533"/>
                <a:gd name="connsiteX40" fmla="*/ 312658 w 411187"/>
                <a:gd name="connsiteY40" fmla="*/ 162426 h 347533"/>
                <a:gd name="connsiteX41" fmla="*/ 300342 w 411187"/>
                <a:gd name="connsiteY41" fmla="*/ 147427 h 347533"/>
                <a:gd name="connsiteX42" fmla="*/ 297172 w 411187"/>
                <a:gd name="connsiteY42" fmla="*/ 143525 h 347533"/>
                <a:gd name="connsiteX43" fmla="*/ 299001 w 411187"/>
                <a:gd name="connsiteY43" fmla="*/ 127063 h 347533"/>
                <a:gd name="connsiteX44" fmla="*/ 293026 w 411187"/>
                <a:gd name="connsiteY44" fmla="*/ 123527 h 347533"/>
                <a:gd name="connsiteX45" fmla="*/ 281685 w 411187"/>
                <a:gd name="connsiteY45" fmla="*/ 99139 h 347533"/>
                <a:gd name="connsiteX46" fmla="*/ 271076 w 411187"/>
                <a:gd name="connsiteY46" fmla="*/ 94261 h 347533"/>
                <a:gd name="connsiteX47" fmla="*/ 269125 w 411187"/>
                <a:gd name="connsiteY47" fmla="*/ 85481 h 347533"/>
                <a:gd name="connsiteX48" fmla="*/ 265101 w 411187"/>
                <a:gd name="connsiteY48" fmla="*/ 82067 h 347533"/>
                <a:gd name="connsiteX49" fmla="*/ 264004 w 411187"/>
                <a:gd name="connsiteY49" fmla="*/ 81213 h 347533"/>
                <a:gd name="connsiteX50" fmla="*/ 248273 w 411187"/>
                <a:gd name="connsiteY50" fmla="*/ 81213 h 347533"/>
                <a:gd name="connsiteX51" fmla="*/ 246566 w 411187"/>
                <a:gd name="connsiteY51" fmla="*/ 79750 h 347533"/>
                <a:gd name="connsiteX52" fmla="*/ 239006 w 411187"/>
                <a:gd name="connsiteY52" fmla="*/ 73287 h 347533"/>
                <a:gd name="connsiteX53" fmla="*/ 238518 w 411187"/>
                <a:gd name="connsiteY53" fmla="*/ 72799 h 347533"/>
                <a:gd name="connsiteX54" fmla="*/ 237786 w 411187"/>
                <a:gd name="connsiteY54" fmla="*/ 72921 h 347533"/>
                <a:gd name="connsiteX55" fmla="*/ 230714 w 411187"/>
                <a:gd name="connsiteY55" fmla="*/ 73775 h 347533"/>
                <a:gd name="connsiteX56" fmla="*/ 204008 w 411187"/>
                <a:gd name="connsiteY56" fmla="*/ 76823 h 347533"/>
                <a:gd name="connsiteX57" fmla="*/ 202301 w 411187"/>
                <a:gd name="connsiteY57" fmla="*/ 77067 h 347533"/>
                <a:gd name="connsiteX58" fmla="*/ 200716 w 411187"/>
                <a:gd name="connsiteY58" fmla="*/ 76335 h 347533"/>
                <a:gd name="connsiteX59" fmla="*/ 168523 w 411187"/>
                <a:gd name="connsiteY59" fmla="*/ 61581 h 347533"/>
                <a:gd name="connsiteX60" fmla="*/ 164987 w 411187"/>
                <a:gd name="connsiteY60" fmla="*/ 59873 h 347533"/>
                <a:gd name="connsiteX61" fmla="*/ 164987 w 411187"/>
                <a:gd name="connsiteY61" fmla="*/ 38290 h 347533"/>
                <a:gd name="connsiteX62" fmla="*/ 152671 w 411187"/>
                <a:gd name="connsiteY62" fmla="*/ 30607 h 347533"/>
                <a:gd name="connsiteX63" fmla="*/ 144135 w 411187"/>
                <a:gd name="connsiteY63" fmla="*/ 25364 h 347533"/>
                <a:gd name="connsiteX64" fmla="*/ 113650 w 411187"/>
                <a:gd name="connsiteY64" fmla="*/ 7316 h 347533"/>
                <a:gd name="connsiteX65" fmla="*/ 89261 w 411187"/>
                <a:gd name="connsiteY65" fmla="*/ 0 h 347533"/>
                <a:gd name="connsiteX66" fmla="*/ 82554 w 411187"/>
                <a:gd name="connsiteY66" fmla="*/ 6951 h 347533"/>
                <a:gd name="connsiteX67" fmla="*/ 80847 w 411187"/>
                <a:gd name="connsiteY67" fmla="*/ 8902 h 347533"/>
                <a:gd name="connsiteX68" fmla="*/ 78287 w 411187"/>
                <a:gd name="connsiteY68" fmla="*/ 8902 h 347533"/>
                <a:gd name="connsiteX69" fmla="*/ 68653 w 411187"/>
                <a:gd name="connsiteY69" fmla="*/ 9024 h 347533"/>
                <a:gd name="connsiteX70" fmla="*/ 48411 w 411187"/>
                <a:gd name="connsiteY70" fmla="*/ 9267 h 347533"/>
                <a:gd name="connsiteX71" fmla="*/ 60605 w 411187"/>
                <a:gd name="connsiteY71" fmla="*/ 41094 h 347533"/>
                <a:gd name="connsiteX72" fmla="*/ 61824 w 411187"/>
                <a:gd name="connsiteY72" fmla="*/ 44265 h 347533"/>
                <a:gd name="connsiteX73" fmla="*/ 59873 w 411187"/>
                <a:gd name="connsiteY73" fmla="*/ 46947 h 347533"/>
                <a:gd name="connsiteX74" fmla="*/ 56825 w 411187"/>
                <a:gd name="connsiteY74" fmla="*/ 50972 h 347533"/>
                <a:gd name="connsiteX75" fmla="*/ 55240 w 411187"/>
                <a:gd name="connsiteY75" fmla="*/ 53044 h 347533"/>
                <a:gd name="connsiteX76" fmla="*/ 52679 w 411187"/>
                <a:gd name="connsiteY76" fmla="*/ 53410 h 347533"/>
                <a:gd name="connsiteX77" fmla="*/ 48411 w 411187"/>
                <a:gd name="connsiteY77" fmla="*/ 53776 h 347533"/>
                <a:gd name="connsiteX78" fmla="*/ 37558 w 411187"/>
                <a:gd name="connsiteY78" fmla="*/ 54996 h 347533"/>
                <a:gd name="connsiteX79" fmla="*/ 29632 w 411187"/>
                <a:gd name="connsiteY79" fmla="*/ 64141 h 347533"/>
                <a:gd name="connsiteX80" fmla="*/ 26339 w 411187"/>
                <a:gd name="connsiteY80" fmla="*/ 67921 h 347533"/>
                <a:gd name="connsiteX81" fmla="*/ 24876 w 411187"/>
                <a:gd name="connsiteY81" fmla="*/ 69507 h 347533"/>
                <a:gd name="connsiteX82" fmla="*/ 22681 w 411187"/>
                <a:gd name="connsiteY82" fmla="*/ 69873 h 347533"/>
                <a:gd name="connsiteX83" fmla="*/ 1829 w 411187"/>
                <a:gd name="connsiteY83" fmla="*/ 73165 h 347533"/>
                <a:gd name="connsiteX84" fmla="*/ 732 w 411187"/>
                <a:gd name="connsiteY84" fmla="*/ 73287 h 347533"/>
                <a:gd name="connsiteX85" fmla="*/ 0 w 411187"/>
                <a:gd name="connsiteY85" fmla="*/ 95846 h 347533"/>
                <a:gd name="connsiteX86" fmla="*/ 10731 w 411187"/>
                <a:gd name="connsiteY86" fmla="*/ 98529 h 347533"/>
                <a:gd name="connsiteX87" fmla="*/ 12926 w 411187"/>
                <a:gd name="connsiteY87" fmla="*/ 104260 h 347533"/>
                <a:gd name="connsiteX88" fmla="*/ 25364 w 411187"/>
                <a:gd name="connsiteY88" fmla="*/ 128039 h 347533"/>
                <a:gd name="connsiteX89" fmla="*/ 28900 w 411187"/>
                <a:gd name="connsiteY89" fmla="*/ 138892 h 347533"/>
                <a:gd name="connsiteX90" fmla="*/ 42436 w 411187"/>
                <a:gd name="connsiteY90" fmla="*/ 151330 h 347533"/>
                <a:gd name="connsiteX91" fmla="*/ 43411 w 411187"/>
                <a:gd name="connsiteY91" fmla="*/ 169499 h 347533"/>
                <a:gd name="connsiteX92" fmla="*/ 53167 w 411187"/>
                <a:gd name="connsiteY92" fmla="*/ 181937 h 347533"/>
                <a:gd name="connsiteX93" fmla="*/ 63531 w 411187"/>
                <a:gd name="connsiteY93" fmla="*/ 188522 h 347533"/>
                <a:gd name="connsiteX94" fmla="*/ 74141 w 411187"/>
                <a:gd name="connsiteY94" fmla="*/ 198399 h 347533"/>
                <a:gd name="connsiteX95" fmla="*/ 83042 w 411187"/>
                <a:gd name="connsiteY95" fmla="*/ 211203 h 347533"/>
                <a:gd name="connsiteX96" fmla="*/ 83042 w 411187"/>
                <a:gd name="connsiteY96" fmla="*/ 234982 h 347533"/>
                <a:gd name="connsiteX97" fmla="*/ 85481 w 411187"/>
                <a:gd name="connsiteY97" fmla="*/ 239859 h 347533"/>
                <a:gd name="connsiteX98" fmla="*/ 90359 w 411187"/>
                <a:gd name="connsiteY98" fmla="*/ 249492 h 347533"/>
                <a:gd name="connsiteX99" fmla="*/ 101211 w 411187"/>
                <a:gd name="connsiteY99" fmla="*/ 263028 h 347533"/>
                <a:gd name="connsiteX100" fmla="*/ 114869 w 411187"/>
                <a:gd name="connsiteY100" fmla="*/ 269857 h 347533"/>
                <a:gd name="connsiteX101" fmla="*/ 117918 w 411187"/>
                <a:gd name="connsiteY101" fmla="*/ 279246 h 347533"/>
                <a:gd name="connsiteX102" fmla="*/ 128039 w 411187"/>
                <a:gd name="connsiteY102" fmla="*/ 305098 h 347533"/>
                <a:gd name="connsiteX103" fmla="*/ 139379 w 411187"/>
                <a:gd name="connsiteY103" fmla="*/ 313634 h 347533"/>
                <a:gd name="connsiteX104" fmla="*/ 150354 w 411187"/>
                <a:gd name="connsiteY104" fmla="*/ 328511 h 347533"/>
                <a:gd name="connsiteX105" fmla="*/ 162548 w 411187"/>
                <a:gd name="connsiteY105" fmla="*/ 321560 h 347533"/>
                <a:gd name="connsiteX106" fmla="*/ 166206 w 411187"/>
                <a:gd name="connsiteY106" fmla="*/ 319365 h 347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411187" h="347533">
                  <a:moveTo>
                    <a:pt x="166206" y="319365"/>
                  </a:moveTo>
                  <a:lnTo>
                    <a:pt x="168279" y="318146"/>
                  </a:lnTo>
                  <a:lnTo>
                    <a:pt x="170718" y="318755"/>
                  </a:lnTo>
                  <a:lnTo>
                    <a:pt x="182059" y="321438"/>
                  </a:lnTo>
                  <a:lnTo>
                    <a:pt x="212666" y="328755"/>
                  </a:lnTo>
                  <a:lnTo>
                    <a:pt x="214617" y="329242"/>
                  </a:lnTo>
                  <a:lnTo>
                    <a:pt x="215958" y="330828"/>
                  </a:lnTo>
                  <a:lnTo>
                    <a:pt x="229494" y="347534"/>
                  </a:lnTo>
                  <a:lnTo>
                    <a:pt x="239981" y="335705"/>
                  </a:lnTo>
                  <a:lnTo>
                    <a:pt x="269491" y="302415"/>
                  </a:lnTo>
                  <a:lnTo>
                    <a:pt x="270832" y="300830"/>
                  </a:lnTo>
                  <a:lnTo>
                    <a:pt x="272783" y="300464"/>
                  </a:lnTo>
                  <a:lnTo>
                    <a:pt x="342290" y="285831"/>
                  </a:lnTo>
                  <a:lnTo>
                    <a:pt x="343510" y="285587"/>
                  </a:lnTo>
                  <a:lnTo>
                    <a:pt x="345095" y="284856"/>
                  </a:lnTo>
                  <a:lnTo>
                    <a:pt x="389116" y="265101"/>
                  </a:lnTo>
                  <a:lnTo>
                    <a:pt x="390213" y="264613"/>
                  </a:lnTo>
                  <a:lnTo>
                    <a:pt x="402164" y="264613"/>
                  </a:lnTo>
                  <a:lnTo>
                    <a:pt x="403261" y="259370"/>
                  </a:lnTo>
                  <a:lnTo>
                    <a:pt x="411187" y="225104"/>
                  </a:lnTo>
                  <a:lnTo>
                    <a:pt x="398993" y="217300"/>
                  </a:lnTo>
                  <a:lnTo>
                    <a:pt x="398627" y="217178"/>
                  </a:lnTo>
                  <a:lnTo>
                    <a:pt x="397286" y="216934"/>
                  </a:lnTo>
                  <a:lnTo>
                    <a:pt x="381921" y="214861"/>
                  </a:lnTo>
                  <a:lnTo>
                    <a:pt x="347777" y="210227"/>
                  </a:lnTo>
                  <a:lnTo>
                    <a:pt x="345827" y="209984"/>
                  </a:lnTo>
                  <a:lnTo>
                    <a:pt x="344363" y="208520"/>
                  </a:lnTo>
                  <a:lnTo>
                    <a:pt x="336681" y="200960"/>
                  </a:lnTo>
                  <a:lnTo>
                    <a:pt x="331681" y="195838"/>
                  </a:lnTo>
                  <a:lnTo>
                    <a:pt x="328633" y="192912"/>
                  </a:lnTo>
                  <a:lnTo>
                    <a:pt x="330340" y="189010"/>
                  </a:lnTo>
                  <a:lnTo>
                    <a:pt x="332900" y="183400"/>
                  </a:lnTo>
                  <a:lnTo>
                    <a:pt x="333267" y="182547"/>
                  </a:lnTo>
                  <a:lnTo>
                    <a:pt x="331316" y="180596"/>
                  </a:lnTo>
                  <a:lnTo>
                    <a:pt x="326438" y="179132"/>
                  </a:lnTo>
                  <a:lnTo>
                    <a:pt x="319731" y="177181"/>
                  </a:lnTo>
                  <a:lnTo>
                    <a:pt x="316682" y="176327"/>
                  </a:lnTo>
                  <a:lnTo>
                    <a:pt x="315585" y="173401"/>
                  </a:lnTo>
                  <a:lnTo>
                    <a:pt x="312902" y="165841"/>
                  </a:lnTo>
                  <a:lnTo>
                    <a:pt x="312171" y="163524"/>
                  </a:lnTo>
                  <a:lnTo>
                    <a:pt x="312658" y="162426"/>
                  </a:lnTo>
                  <a:lnTo>
                    <a:pt x="300342" y="147427"/>
                  </a:lnTo>
                  <a:lnTo>
                    <a:pt x="297172" y="143525"/>
                  </a:lnTo>
                  <a:lnTo>
                    <a:pt x="299001" y="127063"/>
                  </a:lnTo>
                  <a:lnTo>
                    <a:pt x="293026" y="123527"/>
                  </a:lnTo>
                  <a:lnTo>
                    <a:pt x="281685" y="99139"/>
                  </a:lnTo>
                  <a:lnTo>
                    <a:pt x="271076" y="94261"/>
                  </a:lnTo>
                  <a:lnTo>
                    <a:pt x="269125" y="85481"/>
                  </a:lnTo>
                  <a:lnTo>
                    <a:pt x="265101" y="82067"/>
                  </a:lnTo>
                  <a:lnTo>
                    <a:pt x="264004" y="81213"/>
                  </a:lnTo>
                  <a:lnTo>
                    <a:pt x="248273" y="81213"/>
                  </a:lnTo>
                  <a:lnTo>
                    <a:pt x="246566" y="79750"/>
                  </a:lnTo>
                  <a:lnTo>
                    <a:pt x="239006" y="73287"/>
                  </a:lnTo>
                  <a:lnTo>
                    <a:pt x="238518" y="72799"/>
                  </a:lnTo>
                  <a:lnTo>
                    <a:pt x="237786" y="72921"/>
                  </a:lnTo>
                  <a:lnTo>
                    <a:pt x="230714" y="73775"/>
                  </a:lnTo>
                  <a:lnTo>
                    <a:pt x="204008" y="76823"/>
                  </a:lnTo>
                  <a:lnTo>
                    <a:pt x="202301" y="77067"/>
                  </a:lnTo>
                  <a:lnTo>
                    <a:pt x="200716" y="76335"/>
                  </a:lnTo>
                  <a:lnTo>
                    <a:pt x="168523" y="61581"/>
                  </a:lnTo>
                  <a:lnTo>
                    <a:pt x="164987" y="59873"/>
                  </a:lnTo>
                  <a:lnTo>
                    <a:pt x="164987" y="38290"/>
                  </a:lnTo>
                  <a:lnTo>
                    <a:pt x="152671" y="30607"/>
                  </a:lnTo>
                  <a:lnTo>
                    <a:pt x="144135" y="25364"/>
                  </a:lnTo>
                  <a:lnTo>
                    <a:pt x="113650" y="7316"/>
                  </a:lnTo>
                  <a:lnTo>
                    <a:pt x="89261" y="0"/>
                  </a:lnTo>
                  <a:lnTo>
                    <a:pt x="82554" y="6951"/>
                  </a:lnTo>
                  <a:lnTo>
                    <a:pt x="80847" y="8902"/>
                  </a:lnTo>
                  <a:lnTo>
                    <a:pt x="78287" y="8902"/>
                  </a:lnTo>
                  <a:lnTo>
                    <a:pt x="68653" y="9024"/>
                  </a:lnTo>
                  <a:lnTo>
                    <a:pt x="48411" y="9267"/>
                  </a:lnTo>
                  <a:lnTo>
                    <a:pt x="60605" y="41094"/>
                  </a:lnTo>
                  <a:lnTo>
                    <a:pt x="61824" y="44265"/>
                  </a:lnTo>
                  <a:lnTo>
                    <a:pt x="59873" y="46947"/>
                  </a:lnTo>
                  <a:lnTo>
                    <a:pt x="56825" y="50972"/>
                  </a:lnTo>
                  <a:lnTo>
                    <a:pt x="55240" y="53044"/>
                  </a:lnTo>
                  <a:lnTo>
                    <a:pt x="52679" y="53410"/>
                  </a:lnTo>
                  <a:lnTo>
                    <a:pt x="48411" y="53776"/>
                  </a:lnTo>
                  <a:lnTo>
                    <a:pt x="37558" y="54996"/>
                  </a:lnTo>
                  <a:lnTo>
                    <a:pt x="29632" y="64141"/>
                  </a:lnTo>
                  <a:lnTo>
                    <a:pt x="26339" y="67921"/>
                  </a:lnTo>
                  <a:lnTo>
                    <a:pt x="24876" y="69507"/>
                  </a:lnTo>
                  <a:lnTo>
                    <a:pt x="22681" y="69873"/>
                  </a:lnTo>
                  <a:lnTo>
                    <a:pt x="1829" y="73165"/>
                  </a:lnTo>
                  <a:lnTo>
                    <a:pt x="732" y="73287"/>
                  </a:lnTo>
                  <a:lnTo>
                    <a:pt x="0" y="95846"/>
                  </a:lnTo>
                  <a:lnTo>
                    <a:pt x="10731" y="98529"/>
                  </a:lnTo>
                  <a:lnTo>
                    <a:pt x="12926" y="104260"/>
                  </a:lnTo>
                  <a:lnTo>
                    <a:pt x="25364" y="128039"/>
                  </a:lnTo>
                  <a:lnTo>
                    <a:pt x="28900" y="138892"/>
                  </a:lnTo>
                  <a:lnTo>
                    <a:pt x="42436" y="151330"/>
                  </a:lnTo>
                  <a:lnTo>
                    <a:pt x="43411" y="169499"/>
                  </a:lnTo>
                  <a:lnTo>
                    <a:pt x="53167" y="181937"/>
                  </a:lnTo>
                  <a:lnTo>
                    <a:pt x="63531" y="188522"/>
                  </a:lnTo>
                  <a:lnTo>
                    <a:pt x="74141" y="198399"/>
                  </a:lnTo>
                  <a:lnTo>
                    <a:pt x="83042" y="211203"/>
                  </a:lnTo>
                  <a:lnTo>
                    <a:pt x="83042" y="234982"/>
                  </a:lnTo>
                  <a:lnTo>
                    <a:pt x="85481" y="239859"/>
                  </a:lnTo>
                  <a:lnTo>
                    <a:pt x="90359" y="249492"/>
                  </a:lnTo>
                  <a:lnTo>
                    <a:pt x="101211" y="263028"/>
                  </a:lnTo>
                  <a:lnTo>
                    <a:pt x="114869" y="269857"/>
                  </a:lnTo>
                  <a:lnTo>
                    <a:pt x="117918" y="279246"/>
                  </a:lnTo>
                  <a:lnTo>
                    <a:pt x="128039" y="305098"/>
                  </a:lnTo>
                  <a:lnTo>
                    <a:pt x="139379" y="313634"/>
                  </a:lnTo>
                  <a:lnTo>
                    <a:pt x="150354" y="328511"/>
                  </a:lnTo>
                  <a:lnTo>
                    <a:pt x="162548" y="321560"/>
                  </a:lnTo>
                  <a:lnTo>
                    <a:pt x="166206" y="31936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8" name="Freihandform: Form 767">
              <a:extLst>
                <a:ext uri="{FF2B5EF4-FFF2-40B4-BE49-F238E27FC236}">
                  <a16:creationId xmlns:a16="http://schemas.microsoft.com/office/drawing/2014/main" id="{B04518D7-49EE-4418-BF14-1F03B4EAA056}"/>
                </a:ext>
              </a:extLst>
            </p:cNvPr>
            <p:cNvSpPr/>
            <p:nvPr/>
          </p:nvSpPr>
          <p:spPr>
            <a:xfrm>
              <a:off x="5064400" y="2686156"/>
              <a:ext cx="30363" cy="16462"/>
            </a:xfrm>
            <a:custGeom>
              <a:avLst/>
              <a:gdLst>
                <a:gd name="connsiteX0" fmla="*/ 8414 w 30363"/>
                <a:gd name="connsiteY0" fmla="*/ 7073 h 16462"/>
                <a:gd name="connsiteX1" fmla="*/ 0 w 30363"/>
                <a:gd name="connsiteY1" fmla="*/ 11950 h 16462"/>
                <a:gd name="connsiteX2" fmla="*/ 366 w 30363"/>
                <a:gd name="connsiteY2" fmla="*/ 15243 h 16462"/>
                <a:gd name="connsiteX3" fmla="*/ 12926 w 30363"/>
                <a:gd name="connsiteY3" fmla="*/ 16462 h 16462"/>
                <a:gd name="connsiteX4" fmla="*/ 25120 w 30363"/>
                <a:gd name="connsiteY4" fmla="*/ 11341 h 16462"/>
                <a:gd name="connsiteX5" fmla="*/ 28656 w 30363"/>
                <a:gd name="connsiteY5" fmla="*/ 2561 h 16462"/>
                <a:gd name="connsiteX6" fmla="*/ 30363 w 30363"/>
                <a:gd name="connsiteY6" fmla="*/ 0 h 16462"/>
                <a:gd name="connsiteX7" fmla="*/ 27071 w 30363"/>
                <a:gd name="connsiteY7" fmla="*/ 2805 h 16462"/>
                <a:gd name="connsiteX8" fmla="*/ 8414 w 30363"/>
                <a:gd name="connsiteY8" fmla="*/ 7073 h 1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63" h="16462">
                  <a:moveTo>
                    <a:pt x="8414" y="7073"/>
                  </a:moveTo>
                  <a:lnTo>
                    <a:pt x="0" y="11950"/>
                  </a:lnTo>
                  <a:lnTo>
                    <a:pt x="366" y="15243"/>
                  </a:lnTo>
                  <a:lnTo>
                    <a:pt x="12926" y="16462"/>
                  </a:lnTo>
                  <a:lnTo>
                    <a:pt x="25120" y="11341"/>
                  </a:lnTo>
                  <a:lnTo>
                    <a:pt x="28656" y="2561"/>
                  </a:lnTo>
                  <a:lnTo>
                    <a:pt x="30363" y="0"/>
                  </a:lnTo>
                  <a:lnTo>
                    <a:pt x="27071" y="2805"/>
                  </a:lnTo>
                  <a:lnTo>
                    <a:pt x="8414" y="707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69" name="Freihandform: Form 768">
              <a:extLst>
                <a:ext uri="{FF2B5EF4-FFF2-40B4-BE49-F238E27FC236}">
                  <a16:creationId xmlns:a16="http://schemas.microsoft.com/office/drawing/2014/main" id="{A3A398E1-ED4E-4D19-BE02-A583B8655D76}"/>
                </a:ext>
              </a:extLst>
            </p:cNvPr>
            <p:cNvSpPr/>
            <p:nvPr/>
          </p:nvSpPr>
          <p:spPr>
            <a:xfrm>
              <a:off x="4943556" y="2589456"/>
              <a:ext cx="1829" cy="853"/>
            </a:xfrm>
            <a:custGeom>
              <a:avLst/>
              <a:gdLst>
                <a:gd name="connsiteX0" fmla="*/ 0 w 1829"/>
                <a:gd name="connsiteY0" fmla="*/ 853 h 853"/>
                <a:gd name="connsiteX1" fmla="*/ 0 w 1829"/>
                <a:gd name="connsiteY1" fmla="*/ 853 h 853"/>
                <a:gd name="connsiteX2" fmla="*/ 1829 w 1829"/>
                <a:gd name="connsiteY2" fmla="*/ 0 h 853"/>
                <a:gd name="connsiteX3" fmla="*/ 1829 w 1829"/>
                <a:gd name="connsiteY3" fmla="*/ 0 h 853"/>
                <a:gd name="connsiteX4" fmla="*/ 0 w 1829"/>
                <a:gd name="connsiteY4" fmla="*/ 853 h 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" h="853">
                  <a:moveTo>
                    <a:pt x="0" y="853"/>
                  </a:moveTo>
                  <a:lnTo>
                    <a:pt x="0" y="853"/>
                  </a:lnTo>
                  <a:lnTo>
                    <a:pt x="1829" y="0"/>
                  </a:lnTo>
                  <a:lnTo>
                    <a:pt x="1829" y="0"/>
                  </a:lnTo>
                  <a:lnTo>
                    <a:pt x="0" y="8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0" name="Freihandform: Form 769">
              <a:extLst>
                <a:ext uri="{FF2B5EF4-FFF2-40B4-BE49-F238E27FC236}">
                  <a16:creationId xmlns:a16="http://schemas.microsoft.com/office/drawing/2014/main" id="{89B8A906-CA00-4E60-BB27-ADDE93080F24}"/>
                </a:ext>
              </a:extLst>
            </p:cNvPr>
            <p:cNvSpPr/>
            <p:nvPr/>
          </p:nvSpPr>
          <p:spPr>
            <a:xfrm>
              <a:off x="4945385" y="2588725"/>
              <a:ext cx="1463" cy="731"/>
            </a:xfrm>
            <a:custGeom>
              <a:avLst/>
              <a:gdLst>
                <a:gd name="connsiteX0" fmla="*/ 0 w 1463"/>
                <a:gd name="connsiteY0" fmla="*/ 732 h 731"/>
                <a:gd name="connsiteX1" fmla="*/ 0 w 1463"/>
                <a:gd name="connsiteY1" fmla="*/ 732 h 731"/>
                <a:gd name="connsiteX2" fmla="*/ 1463 w 1463"/>
                <a:gd name="connsiteY2" fmla="*/ 0 h 731"/>
                <a:gd name="connsiteX3" fmla="*/ 1342 w 1463"/>
                <a:gd name="connsiteY3" fmla="*/ 0 h 731"/>
                <a:gd name="connsiteX4" fmla="*/ 0 w 1463"/>
                <a:gd name="connsiteY4" fmla="*/ 732 h 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3" h="731">
                  <a:moveTo>
                    <a:pt x="0" y="732"/>
                  </a:moveTo>
                  <a:lnTo>
                    <a:pt x="0" y="732"/>
                  </a:lnTo>
                  <a:lnTo>
                    <a:pt x="1463" y="0"/>
                  </a:lnTo>
                  <a:lnTo>
                    <a:pt x="1342" y="0"/>
                  </a:lnTo>
                  <a:lnTo>
                    <a:pt x="0" y="7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1" name="Freihandform: Form 770">
              <a:extLst>
                <a:ext uri="{FF2B5EF4-FFF2-40B4-BE49-F238E27FC236}">
                  <a16:creationId xmlns:a16="http://schemas.microsoft.com/office/drawing/2014/main" id="{7DD0FD61-E07E-4617-92C2-217D4367F900}"/>
                </a:ext>
              </a:extLst>
            </p:cNvPr>
            <p:cNvSpPr/>
            <p:nvPr/>
          </p:nvSpPr>
          <p:spPr>
            <a:xfrm>
              <a:off x="4944043" y="2632989"/>
              <a:ext cx="2438" cy="1829"/>
            </a:xfrm>
            <a:custGeom>
              <a:avLst/>
              <a:gdLst>
                <a:gd name="connsiteX0" fmla="*/ 0 w 2438"/>
                <a:gd name="connsiteY0" fmla="*/ 366 h 1829"/>
                <a:gd name="connsiteX1" fmla="*/ 732 w 2438"/>
                <a:gd name="connsiteY1" fmla="*/ 1829 h 1829"/>
                <a:gd name="connsiteX2" fmla="*/ 2439 w 2438"/>
                <a:gd name="connsiteY2" fmla="*/ 1341 h 1829"/>
                <a:gd name="connsiteX3" fmla="*/ 2439 w 2438"/>
                <a:gd name="connsiteY3" fmla="*/ 1097 h 1829"/>
                <a:gd name="connsiteX4" fmla="*/ 244 w 2438"/>
                <a:gd name="connsiteY4" fmla="*/ 0 h 1829"/>
                <a:gd name="connsiteX5" fmla="*/ 0 w 2438"/>
                <a:gd name="connsiteY5" fmla="*/ 366 h 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8" h="1829">
                  <a:moveTo>
                    <a:pt x="0" y="366"/>
                  </a:moveTo>
                  <a:lnTo>
                    <a:pt x="732" y="1829"/>
                  </a:lnTo>
                  <a:lnTo>
                    <a:pt x="2439" y="1341"/>
                  </a:lnTo>
                  <a:lnTo>
                    <a:pt x="2439" y="1097"/>
                  </a:lnTo>
                  <a:lnTo>
                    <a:pt x="244" y="0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2" name="Freihandform: Form 771">
              <a:extLst>
                <a:ext uri="{FF2B5EF4-FFF2-40B4-BE49-F238E27FC236}">
                  <a16:creationId xmlns:a16="http://schemas.microsoft.com/office/drawing/2014/main" id="{005C913E-2B96-44E9-A253-4491048C12FD}"/>
                </a:ext>
              </a:extLst>
            </p:cNvPr>
            <p:cNvSpPr/>
            <p:nvPr/>
          </p:nvSpPr>
          <p:spPr>
            <a:xfrm>
              <a:off x="4945263" y="2589456"/>
              <a:ext cx="122" cy="12194"/>
            </a:xfrm>
            <a:custGeom>
              <a:avLst/>
              <a:gdLst>
                <a:gd name="connsiteX0" fmla="*/ 0 w 122"/>
                <a:gd name="connsiteY0" fmla="*/ 0 h 12194"/>
                <a:gd name="connsiteX1" fmla="*/ 122 w 122"/>
                <a:gd name="connsiteY1" fmla="*/ 0 h 12194"/>
                <a:gd name="connsiteX2" fmla="*/ 122 w 122"/>
                <a:gd name="connsiteY2" fmla="*/ 0 h 12194"/>
                <a:gd name="connsiteX3" fmla="*/ 0 w 122"/>
                <a:gd name="connsiteY3" fmla="*/ 0 h 12194"/>
                <a:gd name="connsiteX4" fmla="*/ 0 w 122"/>
                <a:gd name="connsiteY4" fmla="*/ 0 h 1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" h="12194">
                  <a:moveTo>
                    <a:pt x="0" y="0"/>
                  </a:moveTo>
                  <a:lnTo>
                    <a:pt x="122" y="0"/>
                  </a:lnTo>
                  <a:lnTo>
                    <a:pt x="12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3" name="Freihandform: Form 772">
              <a:extLst>
                <a:ext uri="{FF2B5EF4-FFF2-40B4-BE49-F238E27FC236}">
                  <a16:creationId xmlns:a16="http://schemas.microsoft.com/office/drawing/2014/main" id="{CBCAF9EB-B3EB-4922-B9E9-0D7A5C2D3771}"/>
                </a:ext>
              </a:extLst>
            </p:cNvPr>
            <p:cNvSpPr/>
            <p:nvPr/>
          </p:nvSpPr>
          <p:spPr>
            <a:xfrm>
              <a:off x="6323447" y="3323789"/>
              <a:ext cx="206569" cy="215105"/>
            </a:xfrm>
            <a:custGeom>
              <a:avLst/>
              <a:gdLst>
                <a:gd name="connsiteX0" fmla="*/ 183522 w 206569"/>
                <a:gd name="connsiteY0" fmla="*/ 152183 h 215105"/>
                <a:gd name="connsiteX1" fmla="*/ 176693 w 206569"/>
                <a:gd name="connsiteY1" fmla="*/ 130721 h 215105"/>
                <a:gd name="connsiteX2" fmla="*/ 164011 w 206569"/>
                <a:gd name="connsiteY2" fmla="*/ 120112 h 215105"/>
                <a:gd name="connsiteX3" fmla="*/ 164011 w 206569"/>
                <a:gd name="connsiteY3" fmla="*/ 109016 h 215105"/>
                <a:gd name="connsiteX4" fmla="*/ 162670 w 206569"/>
                <a:gd name="connsiteY4" fmla="*/ 104138 h 215105"/>
                <a:gd name="connsiteX5" fmla="*/ 148403 w 206569"/>
                <a:gd name="connsiteY5" fmla="*/ 103163 h 215105"/>
                <a:gd name="connsiteX6" fmla="*/ 133282 w 206569"/>
                <a:gd name="connsiteY6" fmla="*/ 91090 h 215105"/>
                <a:gd name="connsiteX7" fmla="*/ 128527 w 206569"/>
                <a:gd name="connsiteY7" fmla="*/ 81579 h 215105"/>
                <a:gd name="connsiteX8" fmla="*/ 110479 w 206569"/>
                <a:gd name="connsiteY8" fmla="*/ 65483 h 215105"/>
                <a:gd name="connsiteX9" fmla="*/ 103772 w 206569"/>
                <a:gd name="connsiteY9" fmla="*/ 65483 h 215105"/>
                <a:gd name="connsiteX10" fmla="*/ 87310 w 206569"/>
                <a:gd name="connsiteY10" fmla="*/ 47069 h 215105"/>
                <a:gd name="connsiteX11" fmla="*/ 74872 w 206569"/>
                <a:gd name="connsiteY11" fmla="*/ 41216 h 215105"/>
                <a:gd name="connsiteX12" fmla="*/ 68165 w 206569"/>
                <a:gd name="connsiteY12" fmla="*/ 34997 h 215105"/>
                <a:gd name="connsiteX13" fmla="*/ 61824 w 206569"/>
                <a:gd name="connsiteY13" fmla="*/ 29144 h 215105"/>
                <a:gd name="connsiteX14" fmla="*/ 56825 w 206569"/>
                <a:gd name="connsiteY14" fmla="*/ 26096 h 215105"/>
                <a:gd name="connsiteX15" fmla="*/ 52801 w 206569"/>
                <a:gd name="connsiteY15" fmla="*/ 18047 h 215105"/>
                <a:gd name="connsiteX16" fmla="*/ 44752 w 206569"/>
                <a:gd name="connsiteY16" fmla="*/ 6585 h 215105"/>
                <a:gd name="connsiteX17" fmla="*/ 43167 w 206569"/>
                <a:gd name="connsiteY17" fmla="*/ 6097 h 215105"/>
                <a:gd name="connsiteX18" fmla="*/ 39143 w 206569"/>
                <a:gd name="connsiteY18" fmla="*/ 4999 h 215105"/>
                <a:gd name="connsiteX19" fmla="*/ 12316 w 206569"/>
                <a:gd name="connsiteY19" fmla="*/ 3902 h 215105"/>
                <a:gd name="connsiteX20" fmla="*/ 610 w 206569"/>
                <a:gd name="connsiteY20" fmla="*/ 0 h 215105"/>
                <a:gd name="connsiteX21" fmla="*/ 0 w 206569"/>
                <a:gd name="connsiteY21" fmla="*/ 5975 h 215105"/>
                <a:gd name="connsiteX22" fmla="*/ 19754 w 206569"/>
                <a:gd name="connsiteY22" fmla="*/ 31095 h 215105"/>
                <a:gd name="connsiteX23" fmla="*/ 28900 w 206569"/>
                <a:gd name="connsiteY23" fmla="*/ 31949 h 215105"/>
                <a:gd name="connsiteX24" fmla="*/ 42314 w 206569"/>
                <a:gd name="connsiteY24" fmla="*/ 42314 h 215105"/>
                <a:gd name="connsiteX25" fmla="*/ 45118 w 206569"/>
                <a:gd name="connsiteY25" fmla="*/ 54264 h 215105"/>
                <a:gd name="connsiteX26" fmla="*/ 57800 w 206569"/>
                <a:gd name="connsiteY26" fmla="*/ 59629 h 215105"/>
                <a:gd name="connsiteX27" fmla="*/ 67922 w 206569"/>
                <a:gd name="connsiteY27" fmla="*/ 72799 h 215105"/>
                <a:gd name="connsiteX28" fmla="*/ 75238 w 206569"/>
                <a:gd name="connsiteY28" fmla="*/ 101090 h 215105"/>
                <a:gd name="connsiteX29" fmla="*/ 83042 w 206569"/>
                <a:gd name="connsiteY29" fmla="*/ 101943 h 215105"/>
                <a:gd name="connsiteX30" fmla="*/ 107553 w 206569"/>
                <a:gd name="connsiteY30" fmla="*/ 128405 h 215105"/>
                <a:gd name="connsiteX31" fmla="*/ 111333 w 206569"/>
                <a:gd name="connsiteY31" fmla="*/ 141818 h 215105"/>
                <a:gd name="connsiteX32" fmla="*/ 131819 w 206569"/>
                <a:gd name="connsiteY32" fmla="*/ 172425 h 215105"/>
                <a:gd name="connsiteX33" fmla="*/ 165231 w 206569"/>
                <a:gd name="connsiteY33" fmla="*/ 199374 h 215105"/>
                <a:gd name="connsiteX34" fmla="*/ 183400 w 206569"/>
                <a:gd name="connsiteY34" fmla="*/ 204252 h 215105"/>
                <a:gd name="connsiteX35" fmla="*/ 201447 w 206569"/>
                <a:gd name="connsiteY35" fmla="*/ 215105 h 215105"/>
                <a:gd name="connsiteX36" fmla="*/ 206569 w 206569"/>
                <a:gd name="connsiteY36" fmla="*/ 213886 h 215105"/>
                <a:gd name="connsiteX37" fmla="*/ 206569 w 206569"/>
                <a:gd name="connsiteY37" fmla="*/ 169986 h 215105"/>
                <a:gd name="connsiteX38" fmla="*/ 192546 w 206569"/>
                <a:gd name="connsiteY38" fmla="*/ 153281 h 215105"/>
                <a:gd name="connsiteX39" fmla="*/ 183522 w 206569"/>
                <a:gd name="connsiteY39" fmla="*/ 152183 h 215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6569" h="215105">
                  <a:moveTo>
                    <a:pt x="183522" y="152183"/>
                  </a:moveTo>
                  <a:lnTo>
                    <a:pt x="176693" y="130721"/>
                  </a:lnTo>
                  <a:lnTo>
                    <a:pt x="164011" y="120112"/>
                  </a:lnTo>
                  <a:lnTo>
                    <a:pt x="164011" y="109016"/>
                  </a:lnTo>
                  <a:lnTo>
                    <a:pt x="162670" y="104138"/>
                  </a:lnTo>
                  <a:lnTo>
                    <a:pt x="148403" y="103163"/>
                  </a:lnTo>
                  <a:lnTo>
                    <a:pt x="133282" y="91090"/>
                  </a:lnTo>
                  <a:lnTo>
                    <a:pt x="128527" y="81579"/>
                  </a:lnTo>
                  <a:lnTo>
                    <a:pt x="110479" y="65483"/>
                  </a:lnTo>
                  <a:lnTo>
                    <a:pt x="103772" y="65483"/>
                  </a:lnTo>
                  <a:lnTo>
                    <a:pt x="87310" y="47069"/>
                  </a:lnTo>
                  <a:lnTo>
                    <a:pt x="74872" y="41216"/>
                  </a:lnTo>
                  <a:lnTo>
                    <a:pt x="68165" y="34997"/>
                  </a:lnTo>
                  <a:lnTo>
                    <a:pt x="61824" y="29144"/>
                  </a:lnTo>
                  <a:lnTo>
                    <a:pt x="56825" y="26096"/>
                  </a:lnTo>
                  <a:lnTo>
                    <a:pt x="52801" y="18047"/>
                  </a:lnTo>
                  <a:lnTo>
                    <a:pt x="44752" y="6585"/>
                  </a:lnTo>
                  <a:lnTo>
                    <a:pt x="43167" y="6097"/>
                  </a:lnTo>
                  <a:lnTo>
                    <a:pt x="39143" y="4999"/>
                  </a:lnTo>
                  <a:lnTo>
                    <a:pt x="12316" y="3902"/>
                  </a:lnTo>
                  <a:lnTo>
                    <a:pt x="610" y="0"/>
                  </a:lnTo>
                  <a:lnTo>
                    <a:pt x="0" y="5975"/>
                  </a:lnTo>
                  <a:lnTo>
                    <a:pt x="19754" y="31095"/>
                  </a:lnTo>
                  <a:lnTo>
                    <a:pt x="28900" y="31949"/>
                  </a:lnTo>
                  <a:lnTo>
                    <a:pt x="42314" y="42314"/>
                  </a:lnTo>
                  <a:lnTo>
                    <a:pt x="45118" y="54264"/>
                  </a:lnTo>
                  <a:lnTo>
                    <a:pt x="57800" y="59629"/>
                  </a:lnTo>
                  <a:lnTo>
                    <a:pt x="67922" y="72799"/>
                  </a:lnTo>
                  <a:lnTo>
                    <a:pt x="75238" y="101090"/>
                  </a:lnTo>
                  <a:lnTo>
                    <a:pt x="83042" y="101943"/>
                  </a:lnTo>
                  <a:lnTo>
                    <a:pt x="107553" y="128405"/>
                  </a:lnTo>
                  <a:lnTo>
                    <a:pt x="111333" y="141818"/>
                  </a:lnTo>
                  <a:lnTo>
                    <a:pt x="131819" y="172425"/>
                  </a:lnTo>
                  <a:lnTo>
                    <a:pt x="165231" y="199374"/>
                  </a:lnTo>
                  <a:lnTo>
                    <a:pt x="183400" y="204252"/>
                  </a:lnTo>
                  <a:lnTo>
                    <a:pt x="201447" y="215105"/>
                  </a:lnTo>
                  <a:lnTo>
                    <a:pt x="206569" y="213886"/>
                  </a:lnTo>
                  <a:lnTo>
                    <a:pt x="206569" y="169986"/>
                  </a:lnTo>
                  <a:lnTo>
                    <a:pt x="192546" y="153281"/>
                  </a:lnTo>
                  <a:lnTo>
                    <a:pt x="183522" y="15218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4" name="Freihandform: Form 773">
              <a:extLst>
                <a:ext uri="{FF2B5EF4-FFF2-40B4-BE49-F238E27FC236}">
                  <a16:creationId xmlns:a16="http://schemas.microsoft.com/office/drawing/2014/main" id="{20E9FC87-C387-4929-803B-DE8E169E530C}"/>
                </a:ext>
              </a:extLst>
            </p:cNvPr>
            <p:cNvSpPr/>
            <p:nvPr/>
          </p:nvSpPr>
          <p:spPr>
            <a:xfrm>
              <a:off x="6260159" y="2849436"/>
              <a:ext cx="171937" cy="362044"/>
            </a:xfrm>
            <a:custGeom>
              <a:avLst/>
              <a:gdLst>
                <a:gd name="connsiteX0" fmla="*/ 84140 w 171937"/>
                <a:gd name="connsiteY0" fmla="*/ 249005 h 362044"/>
                <a:gd name="connsiteX1" fmla="*/ 95358 w 171937"/>
                <a:gd name="connsiteY1" fmla="*/ 237786 h 362044"/>
                <a:gd name="connsiteX2" fmla="*/ 102309 w 171937"/>
                <a:gd name="connsiteY2" fmla="*/ 246932 h 362044"/>
                <a:gd name="connsiteX3" fmla="*/ 110479 w 171937"/>
                <a:gd name="connsiteY3" fmla="*/ 253029 h 362044"/>
                <a:gd name="connsiteX4" fmla="*/ 113406 w 171937"/>
                <a:gd name="connsiteY4" fmla="*/ 278515 h 362044"/>
                <a:gd name="connsiteX5" fmla="*/ 116088 w 171937"/>
                <a:gd name="connsiteY5" fmla="*/ 298635 h 362044"/>
                <a:gd name="connsiteX6" fmla="*/ 127307 w 171937"/>
                <a:gd name="connsiteY6" fmla="*/ 312658 h 362044"/>
                <a:gd name="connsiteX7" fmla="*/ 130356 w 171937"/>
                <a:gd name="connsiteY7" fmla="*/ 321926 h 362044"/>
                <a:gd name="connsiteX8" fmla="*/ 130356 w 171937"/>
                <a:gd name="connsiteY8" fmla="*/ 334486 h 362044"/>
                <a:gd name="connsiteX9" fmla="*/ 129502 w 171937"/>
                <a:gd name="connsiteY9" fmla="*/ 360094 h 362044"/>
                <a:gd name="connsiteX10" fmla="*/ 129258 w 171937"/>
                <a:gd name="connsiteY10" fmla="*/ 362045 h 362044"/>
                <a:gd name="connsiteX11" fmla="*/ 131819 w 171937"/>
                <a:gd name="connsiteY11" fmla="*/ 353753 h 362044"/>
                <a:gd name="connsiteX12" fmla="*/ 133770 w 171937"/>
                <a:gd name="connsiteY12" fmla="*/ 334486 h 362044"/>
                <a:gd name="connsiteX13" fmla="*/ 133770 w 171937"/>
                <a:gd name="connsiteY13" fmla="*/ 306074 h 362044"/>
                <a:gd name="connsiteX14" fmla="*/ 118649 w 171937"/>
                <a:gd name="connsiteY14" fmla="*/ 274978 h 362044"/>
                <a:gd name="connsiteX15" fmla="*/ 117064 w 171937"/>
                <a:gd name="connsiteY15" fmla="*/ 271686 h 362044"/>
                <a:gd name="connsiteX16" fmla="*/ 119259 w 171937"/>
                <a:gd name="connsiteY16" fmla="*/ 268759 h 362044"/>
                <a:gd name="connsiteX17" fmla="*/ 125966 w 171937"/>
                <a:gd name="connsiteY17" fmla="*/ 259736 h 362044"/>
                <a:gd name="connsiteX18" fmla="*/ 121698 w 171937"/>
                <a:gd name="connsiteY18" fmla="*/ 232543 h 362044"/>
                <a:gd name="connsiteX19" fmla="*/ 109138 w 171937"/>
                <a:gd name="connsiteY19" fmla="*/ 220714 h 362044"/>
                <a:gd name="connsiteX20" fmla="*/ 107431 w 171937"/>
                <a:gd name="connsiteY20" fmla="*/ 219129 h 362044"/>
                <a:gd name="connsiteX21" fmla="*/ 107187 w 171937"/>
                <a:gd name="connsiteY21" fmla="*/ 216812 h 362044"/>
                <a:gd name="connsiteX22" fmla="*/ 105479 w 171937"/>
                <a:gd name="connsiteY22" fmla="*/ 193399 h 362044"/>
                <a:gd name="connsiteX23" fmla="*/ 105236 w 171937"/>
                <a:gd name="connsiteY23" fmla="*/ 189619 h 362044"/>
                <a:gd name="connsiteX24" fmla="*/ 108406 w 171937"/>
                <a:gd name="connsiteY24" fmla="*/ 187668 h 362044"/>
                <a:gd name="connsiteX25" fmla="*/ 116332 w 171937"/>
                <a:gd name="connsiteY25" fmla="*/ 182912 h 362044"/>
                <a:gd name="connsiteX26" fmla="*/ 117552 w 171937"/>
                <a:gd name="connsiteY26" fmla="*/ 182181 h 362044"/>
                <a:gd name="connsiteX27" fmla="*/ 118893 w 171937"/>
                <a:gd name="connsiteY27" fmla="*/ 182059 h 362044"/>
                <a:gd name="connsiteX28" fmla="*/ 125356 w 171937"/>
                <a:gd name="connsiteY28" fmla="*/ 181449 h 362044"/>
                <a:gd name="connsiteX29" fmla="*/ 128892 w 171937"/>
                <a:gd name="connsiteY29" fmla="*/ 171694 h 362044"/>
                <a:gd name="connsiteX30" fmla="*/ 129990 w 171937"/>
                <a:gd name="connsiteY30" fmla="*/ 168645 h 362044"/>
                <a:gd name="connsiteX31" fmla="*/ 133160 w 171937"/>
                <a:gd name="connsiteY31" fmla="*/ 167792 h 362044"/>
                <a:gd name="connsiteX32" fmla="*/ 155476 w 171937"/>
                <a:gd name="connsiteY32" fmla="*/ 162061 h 362044"/>
                <a:gd name="connsiteX33" fmla="*/ 156329 w 171937"/>
                <a:gd name="connsiteY33" fmla="*/ 161817 h 362044"/>
                <a:gd name="connsiteX34" fmla="*/ 158280 w 171937"/>
                <a:gd name="connsiteY34" fmla="*/ 159378 h 362044"/>
                <a:gd name="connsiteX35" fmla="*/ 167304 w 171937"/>
                <a:gd name="connsiteY35" fmla="*/ 148159 h 362044"/>
                <a:gd name="connsiteX36" fmla="*/ 168523 w 171937"/>
                <a:gd name="connsiteY36" fmla="*/ 146696 h 362044"/>
                <a:gd name="connsiteX37" fmla="*/ 170352 w 171937"/>
                <a:gd name="connsiteY37" fmla="*/ 146208 h 362044"/>
                <a:gd name="connsiteX38" fmla="*/ 171938 w 171937"/>
                <a:gd name="connsiteY38" fmla="*/ 145720 h 362044"/>
                <a:gd name="connsiteX39" fmla="*/ 171450 w 171937"/>
                <a:gd name="connsiteY39" fmla="*/ 144989 h 362044"/>
                <a:gd name="connsiteX40" fmla="*/ 164499 w 171937"/>
                <a:gd name="connsiteY40" fmla="*/ 142428 h 362044"/>
                <a:gd name="connsiteX41" fmla="*/ 158280 w 171937"/>
                <a:gd name="connsiteY41" fmla="*/ 140233 h 362044"/>
                <a:gd name="connsiteX42" fmla="*/ 155110 w 171937"/>
                <a:gd name="connsiteY42" fmla="*/ 139014 h 362044"/>
                <a:gd name="connsiteX43" fmla="*/ 154378 w 171937"/>
                <a:gd name="connsiteY43" fmla="*/ 135599 h 362044"/>
                <a:gd name="connsiteX44" fmla="*/ 153890 w 171937"/>
                <a:gd name="connsiteY44" fmla="*/ 132916 h 362044"/>
                <a:gd name="connsiteX45" fmla="*/ 136087 w 171937"/>
                <a:gd name="connsiteY45" fmla="*/ 132916 h 362044"/>
                <a:gd name="connsiteX46" fmla="*/ 136087 w 171937"/>
                <a:gd name="connsiteY46" fmla="*/ 126819 h 362044"/>
                <a:gd name="connsiteX47" fmla="*/ 136087 w 171937"/>
                <a:gd name="connsiteY47" fmla="*/ 111943 h 362044"/>
                <a:gd name="connsiteX48" fmla="*/ 121088 w 171937"/>
                <a:gd name="connsiteY48" fmla="*/ 94505 h 362044"/>
                <a:gd name="connsiteX49" fmla="*/ 117552 w 171937"/>
                <a:gd name="connsiteY49" fmla="*/ 94017 h 362044"/>
                <a:gd name="connsiteX50" fmla="*/ 111820 w 171937"/>
                <a:gd name="connsiteY50" fmla="*/ 93407 h 362044"/>
                <a:gd name="connsiteX51" fmla="*/ 106333 w 171937"/>
                <a:gd name="connsiteY51" fmla="*/ 92798 h 362044"/>
                <a:gd name="connsiteX52" fmla="*/ 106333 w 171937"/>
                <a:gd name="connsiteY52" fmla="*/ 64995 h 362044"/>
                <a:gd name="connsiteX53" fmla="*/ 108040 w 171937"/>
                <a:gd name="connsiteY53" fmla="*/ 63288 h 362044"/>
                <a:gd name="connsiteX54" fmla="*/ 124502 w 171937"/>
                <a:gd name="connsiteY54" fmla="*/ 45484 h 362044"/>
                <a:gd name="connsiteX55" fmla="*/ 120722 w 171937"/>
                <a:gd name="connsiteY55" fmla="*/ 21218 h 362044"/>
                <a:gd name="connsiteX56" fmla="*/ 110723 w 171937"/>
                <a:gd name="connsiteY56" fmla="*/ 0 h 362044"/>
                <a:gd name="connsiteX57" fmla="*/ 107431 w 171937"/>
                <a:gd name="connsiteY57" fmla="*/ 244 h 362044"/>
                <a:gd name="connsiteX58" fmla="*/ 96700 w 171937"/>
                <a:gd name="connsiteY58" fmla="*/ 1341 h 362044"/>
                <a:gd name="connsiteX59" fmla="*/ 95968 w 171937"/>
                <a:gd name="connsiteY59" fmla="*/ 1463 h 362044"/>
                <a:gd name="connsiteX60" fmla="*/ 94383 w 171937"/>
                <a:gd name="connsiteY60" fmla="*/ 2683 h 362044"/>
                <a:gd name="connsiteX61" fmla="*/ 91090 w 171937"/>
                <a:gd name="connsiteY61" fmla="*/ 5365 h 362044"/>
                <a:gd name="connsiteX62" fmla="*/ 90603 w 171937"/>
                <a:gd name="connsiteY62" fmla="*/ 5975 h 362044"/>
                <a:gd name="connsiteX63" fmla="*/ 90603 w 171937"/>
                <a:gd name="connsiteY63" fmla="*/ 5975 h 362044"/>
                <a:gd name="connsiteX64" fmla="*/ 91456 w 171937"/>
                <a:gd name="connsiteY64" fmla="*/ 11706 h 362044"/>
                <a:gd name="connsiteX65" fmla="*/ 93042 w 171937"/>
                <a:gd name="connsiteY65" fmla="*/ 21340 h 362044"/>
                <a:gd name="connsiteX66" fmla="*/ 83774 w 171937"/>
                <a:gd name="connsiteY66" fmla="*/ 18535 h 362044"/>
                <a:gd name="connsiteX67" fmla="*/ 77920 w 171937"/>
                <a:gd name="connsiteY67" fmla="*/ 16828 h 362044"/>
                <a:gd name="connsiteX68" fmla="*/ 64385 w 171937"/>
                <a:gd name="connsiteY68" fmla="*/ 25730 h 362044"/>
                <a:gd name="connsiteX69" fmla="*/ 57313 w 171937"/>
                <a:gd name="connsiteY69" fmla="*/ 33534 h 362044"/>
                <a:gd name="connsiteX70" fmla="*/ 56825 w 171937"/>
                <a:gd name="connsiteY70" fmla="*/ 45850 h 362044"/>
                <a:gd name="connsiteX71" fmla="*/ 56825 w 171937"/>
                <a:gd name="connsiteY71" fmla="*/ 47801 h 362044"/>
                <a:gd name="connsiteX72" fmla="*/ 55605 w 171937"/>
                <a:gd name="connsiteY72" fmla="*/ 49265 h 362044"/>
                <a:gd name="connsiteX73" fmla="*/ 55483 w 171937"/>
                <a:gd name="connsiteY73" fmla="*/ 50606 h 362044"/>
                <a:gd name="connsiteX74" fmla="*/ 52557 w 171937"/>
                <a:gd name="connsiteY74" fmla="*/ 53167 h 362044"/>
                <a:gd name="connsiteX75" fmla="*/ 49752 w 171937"/>
                <a:gd name="connsiteY75" fmla="*/ 56581 h 362044"/>
                <a:gd name="connsiteX76" fmla="*/ 49752 w 171937"/>
                <a:gd name="connsiteY76" fmla="*/ 56947 h 362044"/>
                <a:gd name="connsiteX77" fmla="*/ 50484 w 171937"/>
                <a:gd name="connsiteY77" fmla="*/ 69629 h 362044"/>
                <a:gd name="connsiteX78" fmla="*/ 50728 w 171937"/>
                <a:gd name="connsiteY78" fmla="*/ 72555 h 362044"/>
                <a:gd name="connsiteX79" fmla="*/ 48533 w 171937"/>
                <a:gd name="connsiteY79" fmla="*/ 74506 h 362044"/>
                <a:gd name="connsiteX80" fmla="*/ 42680 w 171937"/>
                <a:gd name="connsiteY80" fmla="*/ 79994 h 362044"/>
                <a:gd name="connsiteX81" fmla="*/ 41948 w 171937"/>
                <a:gd name="connsiteY81" fmla="*/ 86579 h 362044"/>
                <a:gd name="connsiteX82" fmla="*/ 41338 w 171937"/>
                <a:gd name="connsiteY82" fmla="*/ 91944 h 362044"/>
                <a:gd name="connsiteX83" fmla="*/ 35973 w 171937"/>
                <a:gd name="connsiteY83" fmla="*/ 91944 h 362044"/>
                <a:gd name="connsiteX84" fmla="*/ 27071 w 171937"/>
                <a:gd name="connsiteY84" fmla="*/ 92066 h 362044"/>
                <a:gd name="connsiteX85" fmla="*/ 27559 w 171937"/>
                <a:gd name="connsiteY85" fmla="*/ 95602 h 362044"/>
                <a:gd name="connsiteX86" fmla="*/ 27681 w 171937"/>
                <a:gd name="connsiteY86" fmla="*/ 96700 h 362044"/>
                <a:gd name="connsiteX87" fmla="*/ 27559 w 171937"/>
                <a:gd name="connsiteY87" fmla="*/ 97675 h 362044"/>
                <a:gd name="connsiteX88" fmla="*/ 25486 w 171937"/>
                <a:gd name="connsiteY88" fmla="*/ 107918 h 362044"/>
                <a:gd name="connsiteX89" fmla="*/ 24510 w 171937"/>
                <a:gd name="connsiteY89" fmla="*/ 112918 h 362044"/>
                <a:gd name="connsiteX90" fmla="*/ 24266 w 171937"/>
                <a:gd name="connsiteY90" fmla="*/ 112918 h 362044"/>
                <a:gd name="connsiteX91" fmla="*/ 26949 w 171937"/>
                <a:gd name="connsiteY91" fmla="*/ 122917 h 362044"/>
                <a:gd name="connsiteX92" fmla="*/ 28168 w 171937"/>
                <a:gd name="connsiteY92" fmla="*/ 127551 h 362044"/>
                <a:gd name="connsiteX93" fmla="*/ 23900 w 171937"/>
                <a:gd name="connsiteY93" fmla="*/ 129868 h 362044"/>
                <a:gd name="connsiteX94" fmla="*/ 21949 w 171937"/>
                <a:gd name="connsiteY94" fmla="*/ 130844 h 362044"/>
                <a:gd name="connsiteX95" fmla="*/ 13414 w 171937"/>
                <a:gd name="connsiteY95" fmla="*/ 135477 h 362044"/>
                <a:gd name="connsiteX96" fmla="*/ 12804 w 171937"/>
                <a:gd name="connsiteY96" fmla="*/ 135721 h 362044"/>
                <a:gd name="connsiteX97" fmla="*/ 11340 w 171937"/>
                <a:gd name="connsiteY97" fmla="*/ 144623 h 362044"/>
                <a:gd name="connsiteX98" fmla="*/ 10975 w 171937"/>
                <a:gd name="connsiteY98" fmla="*/ 146330 h 362044"/>
                <a:gd name="connsiteX99" fmla="*/ 9755 w 171937"/>
                <a:gd name="connsiteY99" fmla="*/ 147671 h 362044"/>
                <a:gd name="connsiteX100" fmla="*/ 1829 w 171937"/>
                <a:gd name="connsiteY100" fmla="*/ 156329 h 362044"/>
                <a:gd name="connsiteX101" fmla="*/ 0 w 171937"/>
                <a:gd name="connsiteY101" fmla="*/ 158280 h 362044"/>
                <a:gd name="connsiteX102" fmla="*/ 3292 w 171937"/>
                <a:gd name="connsiteY102" fmla="*/ 166694 h 362044"/>
                <a:gd name="connsiteX103" fmla="*/ 23291 w 171937"/>
                <a:gd name="connsiteY103" fmla="*/ 179132 h 362044"/>
                <a:gd name="connsiteX104" fmla="*/ 28046 w 171937"/>
                <a:gd name="connsiteY104" fmla="*/ 198277 h 362044"/>
                <a:gd name="connsiteX105" fmla="*/ 40606 w 171937"/>
                <a:gd name="connsiteY105" fmla="*/ 210715 h 362044"/>
                <a:gd name="connsiteX106" fmla="*/ 40606 w 171937"/>
                <a:gd name="connsiteY106" fmla="*/ 236811 h 362044"/>
                <a:gd name="connsiteX107" fmla="*/ 45362 w 171937"/>
                <a:gd name="connsiteY107" fmla="*/ 253029 h 362044"/>
                <a:gd name="connsiteX108" fmla="*/ 43655 w 171937"/>
                <a:gd name="connsiteY108" fmla="*/ 263028 h 362044"/>
                <a:gd name="connsiteX109" fmla="*/ 52679 w 171937"/>
                <a:gd name="connsiteY109" fmla="*/ 265223 h 362044"/>
                <a:gd name="connsiteX110" fmla="*/ 74262 w 171937"/>
                <a:gd name="connsiteY110" fmla="*/ 260711 h 362044"/>
                <a:gd name="connsiteX111" fmla="*/ 84140 w 171937"/>
                <a:gd name="connsiteY111" fmla="*/ 249005 h 36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71937" h="362044">
                  <a:moveTo>
                    <a:pt x="84140" y="249005"/>
                  </a:moveTo>
                  <a:lnTo>
                    <a:pt x="95358" y="237786"/>
                  </a:lnTo>
                  <a:lnTo>
                    <a:pt x="102309" y="246932"/>
                  </a:lnTo>
                  <a:lnTo>
                    <a:pt x="110479" y="253029"/>
                  </a:lnTo>
                  <a:lnTo>
                    <a:pt x="113406" y="278515"/>
                  </a:lnTo>
                  <a:lnTo>
                    <a:pt x="116088" y="298635"/>
                  </a:lnTo>
                  <a:lnTo>
                    <a:pt x="127307" y="312658"/>
                  </a:lnTo>
                  <a:lnTo>
                    <a:pt x="130356" y="321926"/>
                  </a:lnTo>
                  <a:lnTo>
                    <a:pt x="130356" y="334486"/>
                  </a:lnTo>
                  <a:lnTo>
                    <a:pt x="129502" y="360094"/>
                  </a:lnTo>
                  <a:lnTo>
                    <a:pt x="129258" y="362045"/>
                  </a:lnTo>
                  <a:lnTo>
                    <a:pt x="131819" y="353753"/>
                  </a:lnTo>
                  <a:lnTo>
                    <a:pt x="133770" y="334486"/>
                  </a:lnTo>
                  <a:lnTo>
                    <a:pt x="133770" y="306074"/>
                  </a:lnTo>
                  <a:lnTo>
                    <a:pt x="118649" y="274978"/>
                  </a:lnTo>
                  <a:lnTo>
                    <a:pt x="117064" y="271686"/>
                  </a:lnTo>
                  <a:lnTo>
                    <a:pt x="119259" y="268759"/>
                  </a:lnTo>
                  <a:lnTo>
                    <a:pt x="125966" y="259736"/>
                  </a:lnTo>
                  <a:lnTo>
                    <a:pt x="121698" y="232543"/>
                  </a:lnTo>
                  <a:lnTo>
                    <a:pt x="109138" y="220714"/>
                  </a:lnTo>
                  <a:lnTo>
                    <a:pt x="107431" y="219129"/>
                  </a:lnTo>
                  <a:lnTo>
                    <a:pt x="107187" y="216812"/>
                  </a:lnTo>
                  <a:lnTo>
                    <a:pt x="105479" y="193399"/>
                  </a:lnTo>
                  <a:lnTo>
                    <a:pt x="105236" y="189619"/>
                  </a:lnTo>
                  <a:lnTo>
                    <a:pt x="108406" y="187668"/>
                  </a:lnTo>
                  <a:lnTo>
                    <a:pt x="116332" y="182912"/>
                  </a:lnTo>
                  <a:lnTo>
                    <a:pt x="117552" y="182181"/>
                  </a:lnTo>
                  <a:lnTo>
                    <a:pt x="118893" y="182059"/>
                  </a:lnTo>
                  <a:lnTo>
                    <a:pt x="125356" y="181449"/>
                  </a:lnTo>
                  <a:lnTo>
                    <a:pt x="128892" y="171694"/>
                  </a:lnTo>
                  <a:lnTo>
                    <a:pt x="129990" y="168645"/>
                  </a:lnTo>
                  <a:lnTo>
                    <a:pt x="133160" y="167792"/>
                  </a:lnTo>
                  <a:lnTo>
                    <a:pt x="155476" y="162061"/>
                  </a:lnTo>
                  <a:lnTo>
                    <a:pt x="156329" y="161817"/>
                  </a:lnTo>
                  <a:lnTo>
                    <a:pt x="158280" y="159378"/>
                  </a:lnTo>
                  <a:lnTo>
                    <a:pt x="167304" y="148159"/>
                  </a:lnTo>
                  <a:lnTo>
                    <a:pt x="168523" y="146696"/>
                  </a:lnTo>
                  <a:lnTo>
                    <a:pt x="170352" y="146208"/>
                  </a:lnTo>
                  <a:lnTo>
                    <a:pt x="171938" y="145720"/>
                  </a:lnTo>
                  <a:lnTo>
                    <a:pt x="171450" y="144989"/>
                  </a:lnTo>
                  <a:lnTo>
                    <a:pt x="164499" y="142428"/>
                  </a:lnTo>
                  <a:lnTo>
                    <a:pt x="158280" y="140233"/>
                  </a:lnTo>
                  <a:lnTo>
                    <a:pt x="155110" y="139014"/>
                  </a:lnTo>
                  <a:lnTo>
                    <a:pt x="154378" y="135599"/>
                  </a:lnTo>
                  <a:lnTo>
                    <a:pt x="153890" y="132916"/>
                  </a:lnTo>
                  <a:lnTo>
                    <a:pt x="136087" y="132916"/>
                  </a:lnTo>
                  <a:lnTo>
                    <a:pt x="136087" y="126819"/>
                  </a:lnTo>
                  <a:lnTo>
                    <a:pt x="136087" y="111943"/>
                  </a:lnTo>
                  <a:lnTo>
                    <a:pt x="121088" y="94505"/>
                  </a:lnTo>
                  <a:lnTo>
                    <a:pt x="117552" y="94017"/>
                  </a:lnTo>
                  <a:lnTo>
                    <a:pt x="111820" y="93407"/>
                  </a:lnTo>
                  <a:lnTo>
                    <a:pt x="106333" y="92798"/>
                  </a:lnTo>
                  <a:lnTo>
                    <a:pt x="106333" y="64995"/>
                  </a:lnTo>
                  <a:lnTo>
                    <a:pt x="108040" y="63288"/>
                  </a:lnTo>
                  <a:lnTo>
                    <a:pt x="124502" y="45484"/>
                  </a:lnTo>
                  <a:lnTo>
                    <a:pt x="120722" y="21218"/>
                  </a:lnTo>
                  <a:lnTo>
                    <a:pt x="110723" y="0"/>
                  </a:lnTo>
                  <a:lnTo>
                    <a:pt x="107431" y="244"/>
                  </a:lnTo>
                  <a:lnTo>
                    <a:pt x="96700" y="1341"/>
                  </a:lnTo>
                  <a:lnTo>
                    <a:pt x="95968" y="1463"/>
                  </a:lnTo>
                  <a:lnTo>
                    <a:pt x="94383" y="2683"/>
                  </a:lnTo>
                  <a:lnTo>
                    <a:pt x="91090" y="5365"/>
                  </a:lnTo>
                  <a:lnTo>
                    <a:pt x="90603" y="5975"/>
                  </a:lnTo>
                  <a:lnTo>
                    <a:pt x="90603" y="5975"/>
                  </a:lnTo>
                  <a:lnTo>
                    <a:pt x="91456" y="11706"/>
                  </a:lnTo>
                  <a:lnTo>
                    <a:pt x="93042" y="21340"/>
                  </a:lnTo>
                  <a:lnTo>
                    <a:pt x="83774" y="18535"/>
                  </a:lnTo>
                  <a:lnTo>
                    <a:pt x="77920" y="16828"/>
                  </a:lnTo>
                  <a:lnTo>
                    <a:pt x="64385" y="25730"/>
                  </a:lnTo>
                  <a:lnTo>
                    <a:pt x="57313" y="33534"/>
                  </a:lnTo>
                  <a:lnTo>
                    <a:pt x="56825" y="45850"/>
                  </a:lnTo>
                  <a:lnTo>
                    <a:pt x="56825" y="47801"/>
                  </a:lnTo>
                  <a:lnTo>
                    <a:pt x="55605" y="49265"/>
                  </a:lnTo>
                  <a:lnTo>
                    <a:pt x="55483" y="50606"/>
                  </a:lnTo>
                  <a:lnTo>
                    <a:pt x="52557" y="53167"/>
                  </a:lnTo>
                  <a:lnTo>
                    <a:pt x="49752" y="56581"/>
                  </a:lnTo>
                  <a:lnTo>
                    <a:pt x="49752" y="56947"/>
                  </a:lnTo>
                  <a:lnTo>
                    <a:pt x="50484" y="69629"/>
                  </a:lnTo>
                  <a:lnTo>
                    <a:pt x="50728" y="72555"/>
                  </a:lnTo>
                  <a:lnTo>
                    <a:pt x="48533" y="74506"/>
                  </a:lnTo>
                  <a:lnTo>
                    <a:pt x="42680" y="79994"/>
                  </a:lnTo>
                  <a:lnTo>
                    <a:pt x="41948" y="86579"/>
                  </a:lnTo>
                  <a:lnTo>
                    <a:pt x="41338" y="91944"/>
                  </a:lnTo>
                  <a:lnTo>
                    <a:pt x="35973" y="91944"/>
                  </a:lnTo>
                  <a:lnTo>
                    <a:pt x="27071" y="92066"/>
                  </a:lnTo>
                  <a:lnTo>
                    <a:pt x="27559" y="95602"/>
                  </a:lnTo>
                  <a:lnTo>
                    <a:pt x="27681" y="96700"/>
                  </a:lnTo>
                  <a:lnTo>
                    <a:pt x="27559" y="97675"/>
                  </a:lnTo>
                  <a:lnTo>
                    <a:pt x="25486" y="107918"/>
                  </a:lnTo>
                  <a:lnTo>
                    <a:pt x="24510" y="112918"/>
                  </a:lnTo>
                  <a:lnTo>
                    <a:pt x="24266" y="112918"/>
                  </a:lnTo>
                  <a:lnTo>
                    <a:pt x="26949" y="122917"/>
                  </a:lnTo>
                  <a:lnTo>
                    <a:pt x="28168" y="127551"/>
                  </a:lnTo>
                  <a:lnTo>
                    <a:pt x="23900" y="129868"/>
                  </a:lnTo>
                  <a:lnTo>
                    <a:pt x="21949" y="130844"/>
                  </a:lnTo>
                  <a:lnTo>
                    <a:pt x="13414" y="135477"/>
                  </a:lnTo>
                  <a:lnTo>
                    <a:pt x="12804" y="135721"/>
                  </a:lnTo>
                  <a:lnTo>
                    <a:pt x="11340" y="144623"/>
                  </a:lnTo>
                  <a:lnTo>
                    <a:pt x="10975" y="146330"/>
                  </a:lnTo>
                  <a:lnTo>
                    <a:pt x="9755" y="147671"/>
                  </a:lnTo>
                  <a:lnTo>
                    <a:pt x="1829" y="156329"/>
                  </a:lnTo>
                  <a:lnTo>
                    <a:pt x="0" y="158280"/>
                  </a:lnTo>
                  <a:lnTo>
                    <a:pt x="3292" y="166694"/>
                  </a:lnTo>
                  <a:lnTo>
                    <a:pt x="23291" y="179132"/>
                  </a:lnTo>
                  <a:lnTo>
                    <a:pt x="28046" y="198277"/>
                  </a:lnTo>
                  <a:lnTo>
                    <a:pt x="40606" y="210715"/>
                  </a:lnTo>
                  <a:lnTo>
                    <a:pt x="40606" y="236811"/>
                  </a:lnTo>
                  <a:lnTo>
                    <a:pt x="45362" y="253029"/>
                  </a:lnTo>
                  <a:lnTo>
                    <a:pt x="43655" y="263028"/>
                  </a:lnTo>
                  <a:lnTo>
                    <a:pt x="52679" y="265223"/>
                  </a:lnTo>
                  <a:lnTo>
                    <a:pt x="74262" y="260711"/>
                  </a:lnTo>
                  <a:lnTo>
                    <a:pt x="84140" y="2490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5" name="Freihandform: Form 774">
              <a:extLst>
                <a:ext uri="{FF2B5EF4-FFF2-40B4-BE49-F238E27FC236}">
                  <a16:creationId xmlns:a16="http://schemas.microsoft.com/office/drawing/2014/main" id="{87C24469-198C-4E05-AD72-F40593DF1390}"/>
                </a:ext>
              </a:extLst>
            </p:cNvPr>
            <p:cNvSpPr/>
            <p:nvPr/>
          </p:nvSpPr>
          <p:spPr>
            <a:xfrm>
              <a:off x="6181751" y="2892237"/>
              <a:ext cx="83529" cy="107552"/>
            </a:xfrm>
            <a:custGeom>
              <a:avLst/>
              <a:gdLst>
                <a:gd name="connsiteX0" fmla="*/ 83530 w 83529"/>
                <a:gd name="connsiteY0" fmla="*/ 90724 h 107552"/>
                <a:gd name="connsiteX1" fmla="*/ 83530 w 83529"/>
                <a:gd name="connsiteY1" fmla="*/ 90603 h 107552"/>
                <a:gd name="connsiteX2" fmla="*/ 83042 w 83529"/>
                <a:gd name="connsiteY2" fmla="*/ 88895 h 107552"/>
                <a:gd name="connsiteX3" fmla="*/ 79872 w 83529"/>
                <a:gd name="connsiteY3" fmla="*/ 77189 h 107552"/>
                <a:gd name="connsiteX4" fmla="*/ 75969 w 83529"/>
                <a:gd name="connsiteY4" fmla="*/ 60727 h 107552"/>
                <a:gd name="connsiteX5" fmla="*/ 75604 w 83529"/>
                <a:gd name="connsiteY5" fmla="*/ 59264 h 107552"/>
                <a:gd name="connsiteX6" fmla="*/ 75238 w 83529"/>
                <a:gd name="connsiteY6" fmla="*/ 59142 h 107552"/>
                <a:gd name="connsiteX7" fmla="*/ 72311 w 83529"/>
                <a:gd name="connsiteY7" fmla="*/ 66214 h 107552"/>
                <a:gd name="connsiteX8" fmla="*/ 69385 w 83529"/>
                <a:gd name="connsiteY8" fmla="*/ 73531 h 107552"/>
                <a:gd name="connsiteX9" fmla="*/ 63044 w 83529"/>
                <a:gd name="connsiteY9" fmla="*/ 68775 h 107552"/>
                <a:gd name="connsiteX10" fmla="*/ 56825 w 83529"/>
                <a:gd name="connsiteY10" fmla="*/ 64141 h 107552"/>
                <a:gd name="connsiteX11" fmla="*/ 55361 w 83529"/>
                <a:gd name="connsiteY11" fmla="*/ 62922 h 107552"/>
                <a:gd name="connsiteX12" fmla="*/ 54752 w 83529"/>
                <a:gd name="connsiteY12" fmla="*/ 61215 h 107552"/>
                <a:gd name="connsiteX13" fmla="*/ 51094 w 83529"/>
                <a:gd name="connsiteY13" fmla="*/ 51093 h 107552"/>
                <a:gd name="connsiteX14" fmla="*/ 50240 w 83529"/>
                <a:gd name="connsiteY14" fmla="*/ 48411 h 107552"/>
                <a:gd name="connsiteX15" fmla="*/ 51703 w 83529"/>
                <a:gd name="connsiteY15" fmla="*/ 45850 h 107552"/>
                <a:gd name="connsiteX16" fmla="*/ 55971 w 83529"/>
                <a:gd name="connsiteY16" fmla="*/ 39143 h 107552"/>
                <a:gd name="connsiteX17" fmla="*/ 56093 w 83529"/>
                <a:gd name="connsiteY17" fmla="*/ 39021 h 107552"/>
                <a:gd name="connsiteX18" fmla="*/ 56093 w 83529"/>
                <a:gd name="connsiteY18" fmla="*/ 38899 h 107552"/>
                <a:gd name="connsiteX19" fmla="*/ 56215 w 83529"/>
                <a:gd name="connsiteY19" fmla="*/ 38777 h 107552"/>
                <a:gd name="connsiteX20" fmla="*/ 56459 w 83529"/>
                <a:gd name="connsiteY20" fmla="*/ 38412 h 107552"/>
                <a:gd name="connsiteX21" fmla="*/ 62312 w 83529"/>
                <a:gd name="connsiteY21" fmla="*/ 31217 h 107552"/>
                <a:gd name="connsiteX22" fmla="*/ 62678 w 83529"/>
                <a:gd name="connsiteY22" fmla="*/ 30851 h 107552"/>
                <a:gd name="connsiteX23" fmla="*/ 63166 w 83529"/>
                <a:gd name="connsiteY23" fmla="*/ 30485 h 107552"/>
                <a:gd name="connsiteX24" fmla="*/ 70604 w 83529"/>
                <a:gd name="connsiteY24" fmla="*/ 24144 h 107552"/>
                <a:gd name="connsiteX25" fmla="*/ 71092 w 83529"/>
                <a:gd name="connsiteY25" fmla="*/ 18657 h 107552"/>
                <a:gd name="connsiteX26" fmla="*/ 65848 w 83529"/>
                <a:gd name="connsiteY26" fmla="*/ 11340 h 107552"/>
                <a:gd name="connsiteX27" fmla="*/ 34997 w 83529"/>
                <a:gd name="connsiteY27" fmla="*/ 13901 h 107552"/>
                <a:gd name="connsiteX28" fmla="*/ 32071 w 83529"/>
                <a:gd name="connsiteY28" fmla="*/ 14145 h 107552"/>
                <a:gd name="connsiteX29" fmla="*/ 30120 w 83529"/>
                <a:gd name="connsiteY29" fmla="*/ 12072 h 107552"/>
                <a:gd name="connsiteX30" fmla="*/ 19510 w 83529"/>
                <a:gd name="connsiteY30" fmla="*/ 732 h 107552"/>
                <a:gd name="connsiteX31" fmla="*/ 6707 w 83529"/>
                <a:gd name="connsiteY31" fmla="*/ 0 h 107552"/>
                <a:gd name="connsiteX32" fmla="*/ 5121 w 83529"/>
                <a:gd name="connsiteY32" fmla="*/ 1463 h 107552"/>
                <a:gd name="connsiteX33" fmla="*/ 6707 w 83529"/>
                <a:gd name="connsiteY33" fmla="*/ 1829 h 107552"/>
                <a:gd name="connsiteX34" fmla="*/ 8048 w 83529"/>
                <a:gd name="connsiteY34" fmla="*/ 3536 h 107552"/>
                <a:gd name="connsiteX35" fmla="*/ 9877 w 83529"/>
                <a:gd name="connsiteY35" fmla="*/ 5975 h 107552"/>
                <a:gd name="connsiteX36" fmla="*/ 12926 w 83529"/>
                <a:gd name="connsiteY36" fmla="*/ 10121 h 107552"/>
                <a:gd name="connsiteX37" fmla="*/ 13779 w 83529"/>
                <a:gd name="connsiteY37" fmla="*/ 11219 h 107552"/>
                <a:gd name="connsiteX38" fmla="*/ 14023 w 83529"/>
                <a:gd name="connsiteY38" fmla="*/ 12560 h 107552"/>
                <a:gd name="connsiteX39" fmla="*/ 15364 w 83529"/>
                <a:gd name="connsiteY39" fmla="*/ 19023 h 107552"/>
                <a:gd name="connsiteX40" fmla="*/ 16706 w 83529"/>
                <a:gd name="connsiteY40" fmla="*/ 26339 h 107552"/>
                <a:gd name="connsiteX41" fmla="*/ 244 w 83529"/>
                <a:gd name="connsiteY41" fmla="*/ 26339 h 107552"/>
                <a:gd name="connsiteX42" fmla="*/ 122 w 83529"/>
                <a:gd name="connsiteY42" fmla="*/ 26949 h 107552"/>
                <a:gd name="connsiteX43" fmla="*/ 0 w 83529"/>
                <a:gd name="connsiteY43" fmla="*/ 27681 h 107552"/>
                <a:gd name="connsiteX44" fmla="*/ 4390 w 83529"/>
                <a:gd name="connsiteY44" fmla="*/ 32436 h 107552"/>
                <a:gd name="connsiteX45" fmla="*/ 7804 w 83529"/>
                <a:gd name="connsiteY45" fmla="*/ 36095 h 107552"/>
                <a:gd name="connsiteX46" fmla="*/ 9267 w 83529"/>
                <a:gd name="connsiteY46" fmla="*/ 37680 h 107552"/>
                <a:gd name="connsiteX47" fmla="*/ 9267 w 83529"/>
                <a:gd name="connsiteY47" fmla="*/ 39875 h 107552"/>
                <a:gd name="connsiteX48" fmla="*/ 10243 w 83529"/>
                <a:gd name="connsiteY48" fmla="*/ 56337 h 107552"/>
                <a:gd name="connsiteX49" fmla="*/ 14267 w 83529"/>
                <a:gd name="connsiteY49" fmla="*/ 64507 h 107552"/>
                <a:gd name="connsiteX50" fmla="*/ 14999 w 83529"/>
                <a:gd name="connsiteY50" fmla="*/ 65848 h 107552"/>
                <a:gd name="connsiteX51" fmla="*/ 14999 w 83529"/>
                <a:gd name="connsiteY51" fmla="*/ 97309 h 107552"/>
                <a:gd name="connsiteX52" fmla="*/ 15730 w 83529"/>
                <a:gd name="connsiteY52" fmla="*/ 98529 h 107552"/>
                <a:gd name="connsiteX53" fmla="*/ 26461 w 83529"/>
                <a:gd name="connsiteY53" fmla="*/ 96822 h 107552"/>
                <a:gd name="connsiteX54" fmla="*/ 43777 w 83529"/>
                <a:gd name="connsiteY54" fmla="*/ 88164 h 107552"/>
                <a:gd name="connsiteX55" fmla="*/ 42923 w 83529"/>
                <a:gd name="connsiteY55" fmla="*/ 77921 h 107552"/>
                <a:gd name="connsiteX56" fmla="*/ 45362 w 83529"/>
                <a:gd name="connsiteY56" fmla="*/ 70482 h 107552"/>
                <a:gd name="connsiteX57" fmla="*/ 55240 w 83529"/>
                <a:gd name="connsiteY57" fmla="*/ 69263 h 107552"/>
                <a:gd name="connsiteX58" fmla="*/ 71702 w 83529"/>
                <a:gd name="connsiteY58" fmla="*/ 86701 h 107552"/>
                <a:gd name="connsiteX59" fmla="*/ 72677 w 83529"/>
                <a:gd name="connsiteY59" fmla="*/ 103041 h 107552"/>
                <a:gd name="connsiteX60" fmla="*/ 74872 w 83529"/>
                <a:gd name="connsiteY60" fmla="*/ 107552 h 107552"/>
                <a:gd name="connsiteX61" fmla="*/ 81945 w 83529"/>
                <a:gd name="connsiteY61" fmla="*/ 99870 h 107552"/>
                <a:gd name="connsiteX62" fmla="*/ 83530 w 83529"/>
                <a:gd name="connsiteY62" fmla="*/ 90724 h 107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3529" h="107552">
                  <a:moveTo>
                    <a:pt x="83530" y="90724"/>
                  </a:moveTo>
                  <a:lnTo>
                    <a:pt x="83530" y="90603"/>
                  </a:lnTo>
                  <a:lnTo>
                    <a:pt x="83042" y="88895"/>
                  </a:lnTo>
                  <a:lnTo>
                    <a:pt x="79872" y="77189"/>
                  </a:lnTo>
                  <a:lnTo>
                    <a:pt x="75969" y="60727"/>
                  </a:lnTo>
                  <a:lnTo>
                    <a:pt x="75604" y="59264"/>
                  </a:lnTo>
                  <a:lnTo>
                    <a:pt x="75238" y="59142"/>
                  </a:lnTo>
                  <a:lnTo>
                    <a:pt x="72311" y="66214"/>
                  </a:lnTo>
                  <a:lnTo>
                    <a:pt x="69385" y="73531"/>
                  </a:lnTo>
                  <a:lnTo>
                    <a:pt x="63044" y="68775"/>
                  </a:lnTo>
                  <a:lnTo>
                    <a:pt x="56825" y="64141"/>
                  </a:lnTo>
                  <a:lnTo>
                    <a:pt x="55361" y="62922"/>
                  </a:lnTo>
                  <a:lnTo>
                    <a:pt x="54752" y="61215"/>
                  </a:lnTo>
                  <a:lnTo>
                    <a:pt x="51094" y="51093"/>
                  </a:lnTo>
                  <a:lnTo>
                    <a:pt x="50240" y="48411"/>
                  </a:lnTo>
                  <a:lnTo>
                    <a:pt x="51703" y="45850"/>
                  </a:lnTo>
                  <a:lnTo>
                    <a:pt x="55971" y="39143"/>
                  </a:lnTo>
                  <a:lnTo>
                    <a:pt x="56093" y="39021"/>
                  </a:lnTo>
                  <a:lnTo>
                    <a:pt x="56093" y="38899"/>
                  </a:lnTo>
                  <a:lnTo>
                    <a:pt x="56215" y="38777"/>
                  </a:lnTo>
                  <a:lnTo>
                    <a:pt x="56459" y="38412"/>
                  </a:lnTo>
                  <a:lnTo>
                    <a:pt x="62312" y="31217"/>
                  </a:lnTo>
                  <a:lnTo>
                    <a:pt x="62678" y="30851"/>
                  </a:lnTo>
                  <a:lnTo>
                    <a:pt x="63166" y="30485"/>
                  </a:lnTo>
                  <a:lnTo>
                    <a:pt x="70604" y="24144"/>
                  </a:lnTo>
                  <a:lnTo>
                    <a:pt x="71092" y="18657"/>
                  </a:lnTo>
                  <a:lnTo>
                    <a:pt x="65848" y="11340"/>
                  </a:lnTo>
                  <a:lnTo>
                    <a:pt x="34997" y="13901"/>
                  </a:lnTo>
                  <a:lnTo>
                    <a:pt x="32071" y="14145"/>
                  </a:lnTo>
                  <a:lnTo>
                    <a:pt x="30120" y="12072"/>
                  </a:lnTo>
                  <a:lnTo>
                    <a:pt x="19510" y="732"/>
                  </a:lnTo>
                  <a:lnTo>
                    <a:pt x="6707" y="0"/>
                  </a:lnTo>
                  <a:lnTo>
                    <a:pt x="5121" y="1463"/>
                  </a:lnTo>
                  <a:lnTo>
                    <a:pt x="6707" y="1829"/>
                  </a:lnTo>
                  <a:lnTo>
                    <a:pt x="8048" y="3536"/>
                  </a:lnTo>
                  <a:lnTo>
                    <a:pt x="9877" y="5975"/>
                  </a:lnTo>
                  <a:lnTo>
                    <a:pt x="12926" y="10121"/>
                  </a:lnTo>
                  <a:lnTo>
                    <a:pt x="13779" y="11219"/>
                  </a:lnTo>
                  <a:lnTo>
                    <a:pt x="14023" y="12560"/>
                  </a:lnTo>
                  <a:lnTo>
                    <a:pt x="15364" y="19023"/>
                  </a:lnTo>
                  <a:lnTo>
                    <a:pt x="16706" y="26339"/>
                  </a:lnTo>
                  <a:lnTo>
                    <a:pt x="244" y="26339"/>
                  </a:lnTo>
                  <a:lnTo>
                    <a:pt x="122" y="26949"/>
                  </a:lnTo>
                  <a:lnTo>
                    <a:pt x="0" y="27681"/>
                  </a:lnTo>
                  <a:lnTo>
                    <a:pt x="4390" y="32436"/>
                  </a:lnTo>
                  <a:lnTo>
                    <a:pt x="7804" y="36095"/>
                  </a:lnTo>
                  <a:lnTo>
                    <a:pt x="9267" y="37680"/>
                  </a:lnTo>
                  <a:lnTo>
                    <a:pt x="9267" y="39875"/>
                  </a:lnTo>
                  <a:lnTo>
                    <a:pt x="10243" y="56337"/>
                  </a:lnTo>
                  <a:lnTo>
                    <a:pt x="14267" y="64507"/>
                  </a:lnTo>
                  <a:lnTo>
                    <a:pt x="14999" y="65848"/>
                  </a:lnTo>
                  <a:lnTo>
                    <a:pt x="14999" y="97309"/>
                  </a:lnTo>
                  <a:lnTo>
                    <a:pt x="15730" y="98529"/>
                  </a:lnTo>
                  <a:lnTo>
                    <a:pt x="26461" y="96822"/>
                  </a:lnTo>
                  <a:lnTo>
                    <a:pt x="43777" y="88164"/>
                  </a:lnTo>
                  <a:lnTo>
                    <a:pt x="42923" y="77921"/>
                  </a:lnTo>
                  <a:lnTo>
                    <a:pt x="45362" y="70482"/>
                  </a:lnTo>
                  <a:lnTo>
                    <a:pt x="55240" y="69263"/>
                  </a:lnTo>
                  <a:lnTo>
                    <a:pt x="71702" y="86701"/>
                  </a:lnTo>
                  <a:lnTo>
                    <a:pt x="72677" y="103041"/>
                  </a:lnTo>
                  <a:lnTo>
                    <a:pt x="74872" y="107552"/>
                  </a:lnTo>
                  <a:lnTo>
                    <a:pt x="81945" y="99870"/>
                  </a:lnTo>
                  <a:lnTo>
                    <a:pt x="83530" y="9072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6" name="Freihandform: Form 775">
              <a:extLst>
                <a:ext uri="{FF2B5EF4-FFF2-40B4-BE49-F238E27FC236}">
                  <a16:creationId xmlns:a16="http://schemas.microsoft.com/office/drawing/2014/main" id="{9BD6944E-8F5B-4854-92C2-28DD6FA9159D}"/>
                </a:ext>
              </a:extLst>
            </p:cNvPr>
            <p:cNvSpPr/>
            <p:nvPr/>
          </p:nvSpPr>
          <p:spPr>
            <a:xfrm>
              <a:off x="6711343" y="3589743"/>
              <a:ext cx="13169" cy="8779"/>
            </a:xfrm>
            <a:custGeom>
              <a:avLst/>
              <a:gdLst>
                <a:gd name="connsiteX0" fmla="*/ 0 w 13169"/>
                <a:gd name="connsiteY0" fmla="*/ 0 h 8779"/>
                <a:gd name="connsiteX1" fmla="*/ 610 w 13169"/>
                <a:gd name="connsiteY1" fmla="*/ 5731 h 8779"/>
                <a:gd name="connsiteX2" fmla="*/ 7317 w 13169"/>
                <a:gd name="connsiteY2" fmla="*/ 8780 h 8779"/>
                <a:gd name="connsiteX3" fmla="*/ 13170 w 13169"/>
                <a:gd name="connsiteY3" fmla="*/ 7438 h 8779"/>
                <a:gd name="connsiteX4" fmla="*/ 11950 w 13169"/>
                <a:gd name="connsiteY4" fmla="*/ 732 h 8779"/>
                <a:gd name="connsiteX5" fmla="*/ 0 w 13169"/>
                <a:gd name="connsiteY5" fmla="*/ 0 h 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69" h="8779">
                  <a:moveTo>
                    <a:pt x="0" y="0"/>
                  </a:moveTo>
                  <a:lnTo>
                    <a:pt x="610" y="5731"/>
                  </a:lnTo>
                  <a:lnTo>
                    <a:pt x="7317" y="8780"/>
                  </a:lnTo>
                  <a:lnTo>
                    <a:pt x="13170" y="7438"/>
                  </a:lnTo>
                  <a:lnTo>
                    <a:pt x="11950" y="7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7" name="Freihandform: Form 776">
              <a:extLst>
                <a:ext uri="{FF2B5EF4-FFF2-40B4-BE49-F238E27FC236}">
                  <a16:creationId xmlns:a16="http://schemas.microsoft.com/office/drawing/2014/main" id="{6E233E61-7D34-4090-87A5-A0239FB69645}"/>
                </a:ext>
              </a:extLst>
            </p:cNvPr>
            <p:cNvSpPr/>
            <p:nvPr/>
          </p:nvSpPr>
          <p:spPr>
            <a:xfrm>
              <a:off x="6534772" y="3547674"/>
              <a:ext cx="165352" cy="48044"/>
            </a:xfrm>
            <a:custGeom>
              <a:avLst/>
              <a:gdLst>
                <a:gd name="connsiteX0" fmla="*/ 161085 w 165352"/>
                <a:gd name="connsiteY0" fmla="*/ 35485 h 48044"/>
                <a:gd name="connsiteX1" fmla="*/ 153403 w 165352"/>
                <a:gd name="connsiteY1" fmla="*/ 37192 h 48044"/>
                <a:gd name="connsiteX2" fmla="*/ 128770 w 165352"/>
                <a:gd name="connsiteY2" fmla="*/ 31095 h 48044"/>
                <a:gd name="connsiteX3" fmla="*/ 127795 w 165352"/>
                <a:gd name="connsiteY3" fmla="*/ 18779 h 48044"/>
                <a:gd name="connsiteX4" fmla="*/ 97310 w 165352"/>
                <a:gd name="connsiteY4" fmla="*/ 10975 h 48044"/>
                <a:gd name="connsiteX5" fmla="*/ 94627 w 165352"/>
                <a:gd name="connsiteY5" fmla="*/ 13536 h 48044"/>
                <a:gd name="connsiteX6" fmla="*/ 91335 w 165352"/>
                <a:gd name="connsiteY6" fmla="*/ 21340 h 48044"/>
                <a:gd name="connsiteX7" fmla="*/ 51581 w 165352"/>
                <a:gd name="connsiteY7" fmla="*/ 15243 h 48044"/>
                <a:gd name="connsiteX8" fmla="*/ 47923 w 165352"/>
                <a:gd name="connsiteY8" fmla="*/ 4999 h 48044"/>
                <a:gd name="connsiteX9" fmla="*/ 30973 w 165352"/>
                <a:gd name="connsiteY9" fmla="*/ 4999 h 48044"/>
                <a:gd name="connsiteX10" fmla="*/ 24754 w 165352"/>
                <a:gd name="connsiteY10" fmla="*/ 8170 h 48044"/>
                <a:gd name="connsiteX11" fmla="*/ 9390 w 165352"/>
                <a:gd name="connsiteY11" fmla="*/ 0 h 48044"/>
                <a:gd name="connsiteX12" fmla="*/ 0 w 165352"/>
                <a:gd name="connsiteY12" fmla="*/ 12438 h 48044"/>
                <a:gd name="connsiteX13" fmla="*/ 8902 w 165352"/>
                <a:gd name="connsiteY13" fmla="*/ 25486 h 48044"/>
                <a:gd name="connsiteX14" fmla="*/ 41460 w 165352"/>
                <a:gd name="connsiteY14" fmla="*/ 28290 h 48044"/>
                <a:gd name="connsiteX15" fmla="*/ 47923 w 165352"/>
                <a:gd name="connsiteY15" fmla="*/ 31095 h 48044"/>
                <a:gd name="connsiteX16" fmla="*/ 74384 w 165352"/>
                <a:gd name="connsiteY16" fmla="*/ 31095 h 48044"/>
                <a:gd name="connsiteX17" fmla="*/ 95236 w 165352"/>
                <a:gd name="connsiteY17" fmla="*/ 40485 h 48044"/>
                <a:gd name="connsiteX18" fmla="*/ 132063 w 165352"/>
                <a:gd name="connsiteY18" fmla="*/ 40485 h 48044"/>
                <a:gd name="connsiteX19" fmla="*/ 153769 w 165352"/>
                <a:gd name="connsiteY19" fmla="*/ 48045 h 48044"/>
                <a:gd name="connsiteX20" fmla="*/ 165353 w 165352"/>
                <a:gd name="connsiteY20" fmla="*/ 48045 h 48044"/>
                <a:gd name="connsiteX21" fmla="*/ 164621 w 165352"/>
                <a:gd name="connsiteY21" fmla="*/ 39631 h 48044"/>
                <a:gd name="connsiteX22" fmla="*/ 161085 w 165352"/>
                <a:gd name="connsiteY22" fmla="*/ 35485 h 4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5352" h="48044">
                  <a:moveTo>
                    <a:pt x="161085" y="35485"/>
                  </a:moveTo>
                  <a:lnTo>
                    <a:pt x="153403" y="37192"/>
                  </a:lnTo>
                  <a:lnTo>
                    <a:pt x="128770" y="31095"/>
                  </a:lnTo>
                  <a:lnTo>
                    <a:pt x="127795" y="18779"/>
                  </a:lnTo>
                  <a:lnTo>
                    <a:pt x="97310" y="10975"/>
                  </a:lnTo>
                  <a:lnTo>
                    <a:pt x="94627" y="13536"/>
                  </a:lnTo>
                  <a:lnTo>
                    <a:pt x="91335" y="21340"/>
                  </a:lnTo>
                  <a:lnTo>
                    <a:pt x="51581" y="15243"/>
                  </a:lnTo>
                  <a:lnTo>
                    <a:pt x="47923" y="4999"/>
                  </a:lnTo>
                  <a:lnTo>
                    <a:pt x="30973" y="4999"/>
                  </a:lnTo>
                  <a:lnTo>
                    <a:pt x="24754" y="8170"/>
                  </a:lnTo>
                  <a:lnTo>
                    <a:pt x="9390" y="0"/>
                  </a:lnTo>
                  <a:lnTo>
                    <a:pt x="0" y="12438"/>
                  </a:lnTo>
                  <a:lnTo>
                    <a:pt x="8902" y="25486"/>
                  </a:lnTo>
                  <a:lnTo>
                    <a:pt x="41460" y="28290"/>
                  </a:lnTo>
                  <a:lnTo>
                    <a:pt x="47923" y="31095"/>
                  </a:lnTo>
                  <a:lnTo>
                    <a:pt x="74384" y="31095"/>
                  </a:lnTo>
                  <a:lnTo>
                    <a:pt x="95236" y="40485"/>
                  </a:lnTo>
                  <a:lnTo>
                    <a:pt x="132063" y="40485"/>
                  </a:lnTo>
                  <a:lnTo>
                    <a:pt x="153769" y="48045"/>
                  </a:lnTo>
                  <a:lnTo>
                    <a:pt x="165353" y="48045"/>
                  </a:lnTo>
                  <a:lnTo>
                    <a:pt x="164621" y="39631"/>
                  </a:lnTo>
                  <a:lnTo>
                    <a:pt x="161085" y="354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8" name="Freihandform: Form 777">
              <a:extLst>
                <a:ext uri="{FF2B5EF4-FFF2-40B4-BE49-F238E27FC236}">
                  <a16:creationId xmlns:a16="http://schemas.microsoft.com/office/drawing/2014/main" id="{0557C328-3040-44C1-911F-4B944323D099}"/>
                </a:ext>
              </a:extLst>
            </p:cNvPr>
            <p:cNvSpPr/>
            <p:nvPr/>
          </p:nvSpPr>
          <p:spPr>
            <a:xfrm>
              <a:off x="5634111" y="2676035"/>
              <a:ext cx="282660" cy="273027"/>
            </a:xfrm>
            <a:custGeom>
              <a:avLst/>
              <a:gdLst>
                <a:gd name="connsiteX0" fmla="*/ 148647 w 282660"/>
                <a:gd name="connsiteY0" fmla="*/ 261809 h 273027"/>
                <a:gd name="connsiteX1" fmla="*/ 149622 w 282660"/>
                <a:gd name="connsiteY1" fmla="*/ 261321 h 273027"/>
                <a:gd name="connsiteX2" fmla="*/ 164743 w 282660"/>
                <a:gd name="connsiteY2" fmla="*/ 253273 h 273027"/>
                <a:gd name="connsiteX3" fmla="*/ 166450 w 282660"/>
                <a:gd name="connsiteY3" fmla="*/ 252419 h 273027"/>
                <a:gd name="connsiteX4" fmla="*/ 168401 w 282660"/>
                <a:gd name="connsiteY4" fmla="*/ 252663 h 273027"/>
                <a:gd name="connsiteX5" fmla="*/ 182547 w 282660"/>
                <a:gd name="connsiteY5" fmla="*/ 254492 h 273027"/>
                <a:gd name="connsiteX6" fmla="*/ 192912 w 282660"/>
                <a:gd name="connsiteY6" fmla="*/ 255834 h 273027"/>
                <a:gd name="connsiteX7" fmla="*/ 193765 w 282660"/>
                <a:gd name="connsiteY7" fmla="*/ 248517 h 273027"/>
                <a:gd name="connsiteX8" fmla="*/ 194253 w 282660"/>
                <a:gd name="connsiteY8" fmla="*/ 244127 h 273027"/>
                <a:gd name="connsiteX9" fmla="*/ 172791 w 282660"/>
                <a:gd name="connsiteY9" fmla="*/ 207423 h 273027"/>
                <a:gd name="connsiteX10" fmla="*/ 171206 w 282660"/>
                <a:gd name="connsiteY10" fmla="*/ 204862 h 273027"/>
                <a:gd name="connsiteX11" fmla="*/ 172425 w 282660"/>
                <a:gd name="connsiteY11" fmla="*/ 202057 h 273027"/>
                <a:gd name="connsiteX12" fmla="*/ 181327 w 282660"/>
                <a:gd name="connsiteY12" fmla="*/ 180230 h 273027"/>
                <a:gd name="connsiteX13" fmla="*/ 184498 w 282660"/>
                <a:gd name="connsiteY13" fmla="*/ 172304 h 273027"/>
                <a:gd name="connsiteX14" fmla="*/ 190961 w 282660"/>
                <a:gd name="connsiteY14" fmla="*/ 178035 h 273027"/>
                <a:gd name="connsiteX15" fmla="*/ 194985 w 282660"/>
                <a:gd name="connsiteY15" fmla="*/ 181571 h 273027"/>
                <a:gd name="connsiteX16" fmla="*/ 207057 w 282660"/>
                <a:gd name="connsiteY16" fmla="*/ 180839 h 273027"/>
                <a:gd name="connsiteX17" fmla="*/ 211325 w 282660"/>
                <a:gd name="connsiteY17" fmla="*/ 176815 h 273027"/>
                <a:gd name="connsiteX18" fmla="*/ 244981 w 282660"/>
                <a:gd name="connsiteY18" fmla="*/ 144745 h 273027"/>
                <a:gd name="connsiteX19" fmla="*/ 247907 w 282660"/>
                <a:gd name="connsiteY19" fmla="*/ 132794 h 273027"/>
                <a:gd name="connsiteX20" fmla="*/ 249127 w 282660"/>
                <a:gd name="connsiteY20" fmla="*/ 127917 h 273027"/>
                <a:gd name="connsiteX21" fmla="*/ 249736 w 282660"/>
                <a:gd name="connsiteY21" fmla="*/ 125234 h 273027"/>
                <a:gd name="connsiteX22" fmla="*/ 252297 w 282660"/>
                <a:gd name="connsiteY22" fmla="*/ 124015 h 273027"/>
                <a:gd name="connsiteX23" fmla="*/ 262784 w 282660"/>
                <a:gd name="connsiteY23" fmla="*/ 118771 h 273027"/>
                <a:gd name="connsiteX24" fmla="*/ 265223 w 282660"/>
                <a:gd name="connsiteY24" fmla="*/ 100846 h 273027"/>
                <a:gd name="connsiteX25" fmla="*/ 265589 w 282660"/>
                <a:gd name="connsiteY25" fmla="*/ 98407 h 273027"/>
                <a:gd name="connsiteX26" fmla="*/ 267418 w 282660"/>
                <a:gd name="connsiteY26" fmla="*/ 96944 h 273027"/>
                <a:gd name="connsiteX27" fmla="*/ 280100 w 282660"/>
                <a:gd name="connsiteY27" fmla="*/ 86823 h 273027"/>
                <a:gd name="connsiteX28" fmla="*/ 282661 w 282660"/>
                <a:gd name="connsiteY28" fmla="*/ 80603 h 273027"/>
                <a:gd name="connsiteX29" fmla="*/ 270832 w 282660"/>
                <a:gd name="connsiteY29" fmla="*/ 68166 h 273027"/>
                <a:gd name="connsiteX30" fmla="*/ 260345 w 282660"/>
                <a:gd name="connsiteY30" fmla="*/ 64629 h 273027"/>
                <a:gd name="connsiteX31" fmla="*/ 259126 w 282660"/>
                <a:gd name="connsiteY31" fmla="*/ 64263 h 273027"/>
                <a:gd name="connsiteX32" fmla="*/ 254736 w 282660"/>
                <a:gd name="connsiteY32" fmla="*/ 62800 h 273027"/>
                <a:gd name="connsiteX33" fmla="*/ 254980 w 282660"/>
                <a:gd name="connsiteY33" fmla="*/ 58166 h 273027"/>
                <a:gd name="connsiteX34" fmla="*/ 256443 w 282660"/>
                <a:gd name="connsiteY34" fmla="*/ 29754 h 273027"/>
                <a:gd name="connsiteX35" fmla="*/ 256687 w 282660"/>
                <a:gd name="connsiteY35" fmla="*/ 23779 h 273027"/>
                <a:gd name="connsiteX36" fmla="*/ 256809 w 282660"/>
                <a:gd name="connsiteY36" fmla="*/ 22681 h 273027"/>
                <a:gd name="connsiteX37" fmla="*/ 257175 w 282660"/>
                <a:gd name="connsiteY37" fmla="*/ 21706 h 273027"/>
                <a:gd name="connsiteX38" fmla="*/ 260223 w 282660"/>
                <a:gd name="connsiteY38" fmla="*/ 14267 h 273027"/>
                <a:gd name="connsiteX39" fmla="*/ 258882 w 282660"/>
                <a:gd name="connsiteY39" fmla="*/ 13414 h 273027"/>
                <a:gd name="connsiteX40" fmla="*/ 254614 w 282660"/>
                <a:gd name="connsiteY40" fmla="*/ 10365 h 273027"/>
                <a:gd name="connsiteX41" fmla="*/ 255833 w 282660"/>
                <a:gd name="connsiteY41" fmla="*/ 7804 h 273027"/>
                <a:gd name="connsiteX42" fmla="*/ 255712 w 282660"/>
                <a:gd name="connsiteY42" fmla="*/ 7804 h 273027"/>
                <a:gd name="connsiteX43" fmla="*/ 253151 w 282660"/>
                <a:gd name="connsiteY43" fmla="*/ 7317 h 273027"/>
                <a:gd name="connsiteX44" fmla="*/ 251809 w 282660"/>
                <a:gd name="connsiteY44" fmla="*/ 5122 h 273027"/>
                <a:gd name="connsiteX45" fmla="*/ 249005 w 282660"/>
                <a:gd name="connsiteY45" fmla="*/ 732 h 273027"/>
                <a:gd name="connsiteX46" fmla="*/ 243761 w 282660"/>
                <a:gd name="connsiteY46" fmla="*/ 0 h 273027"/>
                <a:gd name="connsiteX47" fmla="*/ 241688 w 282660"/>
                <a:gd name="connsiteY47" fmla="*/ 1219 h 273027"/>
                <a:gd name="connsiteX48" fmla="*/ 216812 w 282660"/>
                <a:gd name="connsiteY48" fmla="*/ 15974 h 273027"/>
                <a:gd name="connsiteX49" fmla="*/ 204130 w 282660"/>
                <a:gd name="connsiteY49" fmla="*/ 38168 h 273027"/>
                <a:gd name="connsiteX50" fmla="*/ 200228 w 282660"/>
                <a:gd name="connsiteY50" fmla="*/ 44996 h 273027"/>
                <a:gd name="connsiteX51" fmla="*/ 198033 w 282660"/>
                <a:gd name="connsiteY51" fmla="*/ 48777 h 273027"/>
                <a:gd name="connsiteX52" fmla="*/ 193887 w 282660"/>
                <a:gd name="connsiteY52" fmla="*/ 48045 h 273027"/>
                <a:gd name="connsiteX53" fmla="*/ 181083 w 282660"/>
                <a:gd name="connsiteY53" fmla="*/ 45850 h 273027"/>
                <a:gd name="connsiteX54" fmla="*/ 181083 w 282660"/>
                <a:gd name="connsiteY54" fmla="*/ 45850 h 273027"/>
                <a:gd name="connsiteX55" fmla="*/ 175596 w 282660"/>
                <a:gd name="connsiteY55" fmla="*/ 55727 h 273027"/>
                <a:gd name="connsiteX56" fmla="*/ 164499 w 282660"/>
                <a:gd name="connsiteY56" fmla="*/ 75116 h 273027"/>
                <a:gd name="connsiteX57" fmla="*/ 164499 w 282660"/>
                <a:gd name="connsiteY57" fmla="*/ 100114 h 273027"/>
                <a:gd name="connsiteX58" fmla="*/ 157427 w 282660"/>
                <a:gd name="connsiteY58" fmla="*/ 98895 h 273027"/>
                <a:gd name="connsiteX59" fmla="*/ 137550 w 282660"/>
                <a:gd name="connsiteY59" fmla="*/ 95358 h 273027"/>
                <a:gd name="connsiteX60" fmla="*/ 125234 w 282660"/>
                <a:gd name="connsiteY60" fmla="*/ 105236 h 273027"/>
                <a:gd name="connsiteX61" fmla="*/ 123893 w 282660"/>
                <a:gd name="connsiteY61" fmla="*/ 106211 h 273027"/>
                <a:gd name="connsiteX62" fmla="*/ 122429 w 282660"/>
                <a:gd name="connsiteY62" fmla="*/ 106455 h 273027"/>
                <a:gd name="connsiteX63" fmla="*/ 108650 w 282660"/>
                <a:gd name="connsiteY63" fmla="*/ 108772 h 273027"/>
                <a:gd name="connsiteX64" fmla="*/ 106455 w 282660"/>
                <a:gd name="connsiteY64" fmla="*/ 119625 h 273027"/>
                <a:gd name="connsiteX65" fmla="*/ 106333 w 282660"/>
                <a:gd name="connsiteY65" fmla="*/ 137672 h 273027"/>
                <a:gd name="connsiteX66" fmla="*/ 106333 w 282660"/>
                <a:gd name="connsiteY66" fmla="*/ 142428 h 273027"/>
                <a:gd name="connsiteX67" fmla="*/ 101699 w 282660"/>
                <a:gd name="connsiteY67" fmla="*/ 143647 h 273027"/>
                <a:gd name="connsiteX68" fmla="*/ 75360 w 282660"/>
                <a:gd name="connsiteY68" fmla="*/ 150232 h 273027"/>
                <a:gd name="connsiteX69" fmla="*/ 74262 w 282660"/>
                <a:gd name="connsiteY69" fmla="*/ 150476 h 273027"/>
                <a:gd name="connsiteX70" fmla="*/ 73287 w 282660"/>
                <a:gd name="connsiteY70" fmla="*/ 150354 h 273027"/>
                <a:gd name="connsiteX71" fmla="*/ 30973 w 282660"/>
                <a:gd name="connsiteY71" fmla="*/ 146086 h 273027"/>
                <a:gd name="connsiteX72" fmla="*/ 21828 w 282660"/>
                <a:gd name="connsiteY72" fmla="*/ 144745 h 273027"/>
                <a:gd name="connsiteX73" fmla="*/ 21340 w 282660"/>
                <a:gd name="connsiteY73" fmla="*/ 144745 h 273027"/>
                <a:gd name="connsiteX74" fmla="*/ 0 w 282660"/>
                <a:gd name="connsiteY74" fmla="*/ 143525 h 273027"/>
                <a:gd name="connsiteX75" fmla="*/ 0 w 282660"/>
                <a:gd name="connsiteY75" fmla="*/ 150232 h 273027"/>
                <a:gd name="connsiteX76" fmla="*/ 33168 w 282660"/>
                <a:gd name="connsiteY76" fmla="*/ 178035 h 273027"/>
                <a:gd name="connsiteX77" fmla="*/ 35607 w 282660"/>
                <a:gd name="connsiteY77" fmla="*/ 180108 h 273027"/>
                <a:gd name="connsiteX78" fmla="*/ 35363 w 282660"/>
                <a:gd name="connsiteY78" fmla="*/ 183400 h 273027"/>
                <a:gd name="connsiteX79" fmla="*/ 34388 w 282660"/>
                <a:gd name="connsiteY79" fmla="*/ 192546 h 273027"/>
                <a:gd name="connsiteX80" fmla="*/ 41338 w 282660"/>
                <a:gd name="connsiteY80" fmla="*/ 193278 h 273027"/>
                <a:gd name="connsiteX81" fmla="*/ 46826 w 282660"/>
                <a:gd name="connsiteY81" fmla="*/ 193887 h 273027"/>
                <a:gd name="connsiteX82" fmla="*/ 46826 w 282660"/>
                <a:gd name="connsiteY82" fmla="*/ 214252 h 273027"/>
                <a:gd name="connsiteX83" fmla="*/ 43045 w 282660"/>
                <a:gd name="connsiteY83" fmla="*/ 215837 h 273027"/>
                <a:gd name="connsiteX84" fmla="*/ 30729 w 282660"/>
                <a:gd name="connsiteY84" fmla="*/ 221080 h 273027"/>
                <a:gd name="connsiteX85" fmla="*/ 19632 w 282660"/>
                <a:gd name="connsiteY85" fmla="*/ 225714 h 273027"/>
                <a:gd name="connsiteX86" fmla="*/ 18535 w 282660"/>
                <a:gd name="connsiteY86" fmla="*/ 240469 h 273027"/>
                <a:gd name="connsiteX87" fmla="*/ 18535 w 282660"/>
                <a:gd name="connsiteY87" fmla="*/ 241201 h 273027"/>
                <a:gd name="connsiteX88" fmla="*/ 18779 w 282660"/>
                <a:gd name="connsiteY88" fmla="*/ 241444 h 273027"/>
                <a:gd name="connsiteX89" fmla="*/ 23169 w 282660"/>
                <a:gd name="connsiteY89" fmla="*/ 243396 h 273027"/>
                <a:gd name="connsiteX90" fmla="*/ 26705 w 282660"/>
                <a:gd name="connsiteY90" fmla="*/ 244859 h 273027"/>
                <a:gd name="connsiteX91" fmla="*/ 54386 w 282660"/>
                <a:gd name="connsiteY91" fmla="*/ 243030 h 273027"/>
                <a:gd name="connsiteX92" fmla="*/ 63044 w 282660"/>
                <a:gd name="connsiteY92" fmla="*/ 241201 h 273027"/>
                <a:gd name="connsiteX93" fmla="*/ 89383 w 282660"/>
                <a:gd name="connsiteY93" fmla="*/ 243030 h 273027"/>
                <a:gd name="connsiteX94" fmla="*/ 97919 w 282660"/>
                <a:gd name="connsiteY94" fmla="*/ 240225 h 273027"/>
                <a:gd name="connsiteX95" fmla="*/ 114381 w 282660"/>
                <a:gd name="connsiteY95" fmla="*/ 241201 h 273027"/>
                <a:gd name="connsiteX96" fmla="*/ 115357 w 282660"/>
                <a:gd name="connsiteY96" fmla="*/ 241201 h 273027"/>
                <a:gd name="connsiteX97" fmla="*/ 117917 w 282660"/>
                <a:gd name="connsiteY97" fmla="*/ 244493 h 273027"/>
                <a:gd name="connsiteX98" fmla="*/ 119991 w 282660"/>
                <a:gd name="connsiteY98" fmla="*/ 247054 h 273027"/>
                <a:gd name="connsiteX99" fmla="*/ 122673 w 282660"/>
                <a:gd name="connsiteY99" fmla="*/ 259858 h 273027"/>
                <a:gd name="connsiteX100" fmla="*/ 130111 w 282660"/>
                <a:gd name="connsiteY100" fmla="*/ 264614 h 273027"/>
                <a:gd name="connsiteX101" fmla="*/ 130599 w 282660"/>
                <a:gd name="connsiteY101" fmla="*/ 265955 h 273027"/>
                <a:gd name="connsiteX102" fmla="*/ 132063 w 282660"/>
                <a:gd name="connsiteY102" fmla="*/ 270101 h 273027"/>
                <a:gd name="connsiteX103" fmla="*/ 138404 w 282660"/>
                <a:gd name="connsiteY103" fmla="*/ 273027 h 273027"/>
                <a:gd name="connsiteX104" fmla="*/ 138525 w 282660"/>
                <a:gd name="connsiteY104" fmla="*/ 272784 h 273027"/>
                <a:gd name="connsiteX105" fmla="*/ 138525 w 282660"/>
                <a:gd name="connsiteY105" fmla="*/ 270345 h 273027"/>
                <a:gd name="connsiteX106" fmla="*/ 138525 w 282660"/>
                <a:gd name="connsiteY106" fmla="*/ 270345 h 273027"/>
                <a:gd name="connsiteX107" fmla="*/ 138525 w 282660"/>
                <a:gd name="connsiteY107" fmla="*/ 270345 h 273027"/>
                <a:gd name="connsiteX108" fmla="*/ 139623 w 282660"/>
                <a:gd name="connsiteY108" fmla="*/ 271686 h 273027"/>
                <a:gd name="connsiteX109" fmla="*/ 144013 w 282660"/>
                <a:gd name="connsiteY109" fmla="*/ 266808 h 273027"/>
                <a:gd name="connsiteX110" fmla="*/ 147915 w 282660"/>
                <a:gd name="connsiteY110" fmla="*/ 262540 h 273027"/>
                <a:gd name="connsiteX111" fmla="*/ 148647 w 282660"/>
                <a:gd name="connsiteY111" fmla="*/ 261809 h 27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82660" h="273027">
                  <a:moveTo>
                    <a:pt x="148647" y="261809"/>
                  </a:moveTo>
                  <a:lnTo>
                    <a:pt x="149622" y="261321"/>
                  </a:lnTo>
                  <a:lnTo>
                    <a:pt x="164743" y="253273"/>
                  </a:lnTo>
                  <a:lnTo>
                    <a:pt x="166450" y="252419"/>
                  </a:lnTo>
                  <a:lnTo>
                    <a:pt x="168401" y="252663"/>
                  </a:lnTo>
                  <a:lnTo>
                    <a:pt x="182547" y="254492"/>
                  </a:lnTo>
                  <a:lnTo>
                    <a:pt x="192912" y="255834"/>
                  </a:lnTo>
                  <a:lnTo>
                    <a:pt x="193765" y="248517"/>
                  </a:lnTo>
                  <a:lnTo>
                    <a:pt x="194253" y="244127"/>
                  </a:lnTo>
                  <a:lnTo>
                    <a:pt x="172791" y="207423"/>
                  </a:lnTo>
                  <a:lnTo>
                    <a:pt x="171206" y="204862"/>
                  </a:lnTo>
                  <a:lnTo>
                    <a:pt x="172425" y="202057"/>
                  </a:lnTo>
                  <a:lnTo>
                    <a:pt x="181327" y="180230"/>
                  </a:lnTo>
                  <a:lnTo>
                    <a:pt x="184498" y="172304"/>
                  </a:lnTo>
                  <a:lnTo>
                    <a:pt x="190961" y="178035"/>
                  </a:lnTo>
                  <a:lnTo>
                    <a:pt x="194985" y="181571"/>
                  </a:lnTo>
                  <a:lnTo>
                    <a:pt x="207057" y="180839"/>
                  </a:lnTo>
                  <a:lnTo>
                    <a:pt x="211325" y="176815"/>
                  </a:lnTo>
                  <a:lnTo>
                    <a:pt x="244981" y="144745"/>
                  </a:lnTo>
                  <a:lnTo>
                    <a:pt x="247907" y="132794"/>
                  </a:lnTo>
                  <a:lnTo>
                    <a:pt x="249127" y="127917"/>
                  </a:lnTo>
                  <a:lnTo>
                    <a:pt x="249736" y="125234"/>
                  </a:lnTo>
                  <a:lnTo>
                    <a:pt x="252297" y="124015"/>
                  </a:lnTo>
                  <a:lnTo>
                    <a:pt x="262784" y="118771"/>
                  </a:lnTo>
                  <a:lnTo>
                    <a:pt x="265223" y="100846"/>
                  </a:lnTo>
                  <a:lnTo>
                    <a:pt x="265589" y="98407"/>
                  </a:lnTo>
                  <a:lnTo>
                    <a:pt x="267418" y="96944"/>
                  </a:lnTo>
                  <a:lnTo>
                    <a:pt x="280100" y="86823"/>
                  </a:lnTo>
                  <a:lnTo>
                    <a:pt x="282661" y="80603"/>
                  </a:lnTo>
                  <a:lnTo>
                    <a:pt x="270832" y="68166"/>
                  </a:lnTo>
                  <a:lnTo>
                    <a:pt x="260345" y="64629"/>
                  </a:lnTo>
                  <a:lnTo>
                    <a:pt x="259126" y="64263"/>
                  </a:lnTo>
                  <a:lnTo>
                    <a:pt x="254736" y="62800"/>
                  </a:lnTo>
                  <a:lnTo>
                    <a:pt x="254980" y="58166"/>
                  </a:lnTo>
                  <a:lnTo>
                    <a:pt x="256443" y="29754"/>
                  </a:lnTo>
                  <a:lnTo>
                    <a:pt x="256687" y="23779"/>
                  </a:lnTo>
                  <a:lnTo>
                    <a:pt x="256809" y="22681"/>
                  </a:lnTo>
                  <a:lnTo>
                    <a:pt x="257175" y="21706"/>
                  </a:lnTo>
                  <a:lnTo>
                    <a:pt x="260223" y="14267"/>
                  </a:lnTo>
                  <a:lnTo>
                    <a:pt x="258882" y="13414"/>
                  </a:lnTo>
                  <a:lnTo>
                    <a:pt x="254614" y="10365"/>
                  </a:lnTo>
                  <a:lnTo>
                    <a:pt x="255833" y="7804"/>
                  </a:lnTo>
                  <a:lnTo>
                    <a:pt x="255712" y="7804"/>
                  </a:lnTo>
                  <a:lnTo>
                    <a:pt x="253151" y="7317"/>
                  </a:lnTo>
                  <a:lnTo>
                    <a:pt x="251809" y="5122"/>
                  </a:lnTo>
                  <a:lnTo>
                    <a:pt x="249005" y="732"/>
                  </a:lnTo>
                  <a:lnTo>
                    <a:pt x="243761" y="0"/>
                  </a:lnTo>
                  <a:lnTo>
                    <a:pt x="241688" y="1219"/>
                  </a:lnTo>
                  <a:lnTo>
                    <a:pt x="216812" y="15974"/>
                  </a:lnTo>
                  <a:lnTo>
                    <a:pt x="204130" y="38168"/>
                  </a:lnTo>
                  <a:lnTo>
                    <a:pt x="200228" y="44996"/>
                  </a:lnTo>
                  <a:lnTo>
                    <a:pt x="198033" y="48777"/>
                  </a:lnTo>
                  <a:lnTo>
                    <a:pt x="193887" y="48045"/>
                  </a:lnTo>
                  <a:lnTo>
                    <a:pt x="181083" y="45850"/>
                  </a:lnTo>
                  <a:lnTo>
                    <a:pt x="181083" y="45850"/>
                  </a:lnTo>
                  <a:lnTo>
                    <a:pt x="175596" y="55727"/>
                  </a:lnTo>
                  <a:lnTo>
                    <a:pt x="164499" y="75116"/>
                  </a:lnTo>
                  <a:lnTo>
                    <a:pt x="164499" y="100114"/>
                  </a:lnTo>
                  <a:lnTo>
                    <a:pt x="157427" y="98895"/>
                  </a:lnTo>
                  <a:lnTo>
                    <a:pt x="137550" y="95358"/>
                  </a:lnTo>
                  <a:lnTo>
                    <a:pt x="125234" y="105236"/>
                  </a:lnTo>
                  <a:lnTo>
                    <a:pt x="123893" y="106211"/>
                  </a:lnTo>
                  <a:lnTo>
                    <a:pt x="122429" y="106455"/>
                  </a:lnTo>
                  <a:lnTo>
                    <a:pt x="108650" y="108772"/>
                  </a:lnTo>
                  <a:lnTo>
                    <a:pt x="106455" y="119625"/>
                  </a:lnTo>
                  <a:lnTo>
                    <a:pt x="106333" y="137672"/>
                  </a:lnTo>
                  <a:lnTo>
                    <a:pt x="106333" y="142428"/>
                  </a:lnTo>
                  <a:lnTo>
                    <a:pt x="101699" y="143647"/>
                  </a:lnTo>
                  <a:lnTo>
                    <a:pt x="75360" y="150232"/>
                  </a:lnTo>
                  <a:lnTo>
                    <a:pt x="74262" y="150476"/>
                  </a:lnTo>
                  <a:lnTo>
                    <a:pt x="73287" y="150354"/>
                  </a:lnTo>
                  <a:lnTo>
                    <a:pt x="30973" y="146086"/>
                  </a:lnTo>
                  <a:lnTo>
                    <a:pt x="21828" y="144745"/>
                  </a:lnTo>
                  <a:lnTo>
                    <a:pt x="21340" y="144745"/>
                  </a:lnTo>
                  <a:lnTo>
                    <a:pt x="0" y="143525"/>
                  </a:lnTo>
                  <a:lnTo>
                    <a:pt x="0" y="150232"/>
                  </a:lnTo>
                  <a:lnTo>
                    <a:pt x="33168" y="178035"/>
                  </a:lnTo>
                  <a:lnTo>
                    <a:pt x="35607" y="180108"/>
                  </a:lnTo>
                  <a:lnTo>
                    <a:pt x="35363" y="183400"/>
                  </a:lnTo>
                  <a:lnTo>
                    <a:pt x="34388" y="192546"/>
                  </a:lnTo>
                  <a:lnTo>
                    <a:pt x="41338" y="193278"/>
                  </a:lnTo>
                  <a:lnTo>
                    <a:pt x="46826" y="193887"/>
                  </a:lnTo>
                  <a:lnTo>
                    <a:pt x="46826" y="214252"/>
                  </a:lnTo>
                  <a:lnTo>
                    <a:pt x="43045" y="215837"/>
                  </a:lnTo>
                  <a:lnTo>
                    <a:pt x="30729" y="221080"/>
                  </a:lnTo>
                  <a:lnTo>
                    <a:pt x="19632" y="225714"/>
                  </a:lnTo>
                  <a:lnTo>
                    <a:pt x="18535" y="240469"/>
                  </a:lnTo>
                  <a:lnTo>
                    <a:pt x="18535" y="241201"/>
                  </a:lnTo>
                  <a:lnTo>
                    <a:pt x="18779" y="241444"/>
                  </a:lnTo>
                  <a:lnTo>
                    <a:pt x="23169" y="243396"/>
                  </a:lnTo>
                  <a:lnTo>
                    <a:pt x="26705" y="244859"/>
                  </a:lnTo>
                  <a:lnTo>
                    <a:pt x="54386" y="243030"/>
                  </a:lnTo>
                  <a:lnTo>
                    <a:pt x="63044" y="241201"/>
                  </a:lnTo>
                  <a:lnTo>
                    <a:pt x="89383" y="243030"/>
                  </a:lnTo>
                  <a:lnTo>
                    <a:pt x="97919" y="240225"/>
                  </a:lnTo>
                  <a:lnTo>
                    <a:pt x="114381" y="241201"/>
                  </a:lnTo>
                  <a:lnTo>
                    <a:pt x="115357" y="241201"/>
                  </a:lnTo>
                  <a:lnTo>
                    <a:pt x="117917" y="244493"/>
                  </a:lnTo>
                  <a:lnTo>
                    <a:pt x="119991" y="247054"/>
                  </a:lnTo>
                  <a:lnTo>
                    <a:pt x="122673" y="259858"/>
                  </a:lnTo>
                  <a:lnTo>
                    <a:pt x="130111" y="264614"/>
                  </a:lnTo>
                  <a:lnTo>
                    <a:pt x="130599" y="265955"/>
                  </a:lnTo>
                  <a:lnTo>
                    <a:pt x="132063" y="270101"/>
                  </a:lnTo>
                  <a:lnTo>
                    <a:pt x="138404" y="273027"/>
                  </a:lnTo>
                  <a:lnTo>
                    <a:pt x="138525" y="272784"/>
                  </a:lnTo>
                  <a:lnTo>
                    <a:pt x="138525" y="270345"/>
                  </a:lnTo>
                  <a:lnTo>
                    <a:pt x="138525" y="270345"/>
                  </a:lnTo>
                  <a:lnTo>
                    <a:pt x="138525" y="270345"/>
                  </a:lnTo>
                  <a:lnTo>
                    <a:pt x="139623" y="271686"/>
                  </a:lnTo>
                  <a:lnTo>
                    <a:pt x="144013" y="266808"/>
                  </a:lnTo>
                  <a:lnTo>
                    <a:pt x="147915" y="262540"/>
                  </a:lnTo>
                  <a:lnTo>
                    <a:pt x="148647" y="2618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79" name="Freihandform: Form 778">
              <a:extLst>
                <a:ext uri="{FF2B5EF4-FFF2-40B4-BE49-F238E27FC236}">
                  <a16:creationId xmlns:a16="http://schemas.microsoft.com/office/drawing/2014/main" id="{5D201D90-E74F-4A25-937B-F135F7B8E26E}"/>
                </a:ext>
              </a:extLst>
            </p:cNvPr>
            <p:cNvSpPr/>
            <p:nvPr/>
          </p:nvSpPr>
          <p:spPr>
            <a:xfrm>
              <a:off x="5462417" y="2926137"/>
              <a:ext cx="146329" cy="165596"/>
            </a:xfrm>
            <a:custGeom>
              <a:avLst/>
              <a:gdLst>
                <a:gd name="connsiteX0" fmla="*/ 134502 w 146329"/>
                <a:gd name="connsiteY0" fmla="*/ 49020 h 165596"/>
                <a:gd name="connsiteX1" fmla="*/ 120478 w 146329"/>
                <a:gd name="connsiteY1" fmla="*/ 33778 h 165596"/>
                <a:gd name="connsiteX2" fmla="*/ 117186 w 146329"/>
                <a:gd name="connsiteY2" fmla="*/ 27315 h 165596"/>
                <a:gd name="connsiteX3" fmla="*/ 102553 w 146329"/>
                <a:gd name="connsiteY3" fmla="*/ 25364 h 165596"/>
                <a:gd name="connsiteX4" fmla="*/ 84993 w 146329"/>
                <a:gd name="connsiteY4" fmla="*/ 17560 h 165596"/>
                <a:gd name="connsiteX5" fmla="*/ 78775 w 146329"/>
                <a:gd name="connsiteY5" fmla="*/ 7073 h 165596"/>
                <a:gd name="connsiteX6" fmla="*/ 76214 w 146329"/>
                <a:gd name="connsiteY6" fmla="*/ 0 h 165596"/>
                <a:gd name="connsiteX7" fmla="*/ 75482 w 146329"/>
                <a:gd name="connsiteY7" fmla="*/ 122 h 165596"/>
                <a:gd name="connsiteX8" fmla="*/ 69629 w 146329"/>
                <a:gd name="connsiteY8" fmla="*/ 488 h 165596"/>
                <a:gd name="connsiteX9" fmla="*/ 73165 w 146329"/>
                <a:gd name="connsiteY9" fmla="*/ 11463 h 165596"/>
                <a:gd name="connsiteX10" fmla="*/ 74384 w 146329"/>
                <a:gd name="connsiteY10" fmla="*/ 14999 h 165596"/>
                <a:gd name="connsiteX11" fmla="*/ 71702 w 146329"/>
                <a:gd name="connsiteY11" fmla="*/ 17682 h 165596"/>
                <a:gd name="connsiteX12" fmla="*/ 68409 w 146329"/>
                <a:gd name="connsiteY12" fmla="*/ 21096 h 165596"/>
                <a:gd name="connsiteX13" fmla="*/ 55240 w 146329"/>
                <a:gd name="connsiteY13" fmla="*/ 34144 h 165596"/>
                <a:gd name="connsiteX14" fmla="*/ 54142 w 146329"/>
                <a:gd name="connsiteY14" fmla="*/ 47313 h 165596"/>
                <a:gd name="connsiteX15" fmla="*/ 66458 w 146329"/>
                <a:gd name="connsiteY15" fmla="*/ 55117 h 165596"/>
                <a:gd name="connsiteX16" fmla="*/ 70116 w 146329"/>
                <a:gd name="connsiteY16" fmla="*/ 57434 h 165596"/>
                <a:gd name="connsiteX17" fmla="*/ 69141 w 146329"/>
                <a:gd name="connsiteY17" fmla="*/ 61702 h 165596"/>
                <a:gd name="connsiteX18" fmla="*/ 60971 w 146329"/>
                <a:gd name="connsiteY18" fmla="*/ 97309 h 165596"/>
                <a:gd name="connsiteX19" fmla="*/ 59508 w 146329"/>
                <a:gd name="connsiteY19" fmla="*/ 103894 h 165596"/>
                <a:gd name="connsiteX20" fmla="*/ 58410 w 146329"/>
                <a:gd name="connsiteY20" fmla="*/ 108650 h 165596"/>
                <a:gd name="connsiteX21" fmla="*/ 53533 w 146329"/>
                <a:gd name="connsiteY21" fmla="*/ 108650 h 165596"/>
                <a:gd name="connsiteX22" fmla="*/ 41826 w 146329"/>
                <a:gd name="connsiteY22" fmla="*/ 108650 h 165596"/>
                <a:gd name="connsiteX23" fmla="*/ 0 w 146329"/>
                <a:gd name="connsiteY23" fmla="*/ 127429 h 165596"/>
                <a:gd name="connsiteX24" fmla="*/ 7195 w 146329"/>
                <a:gd name="connsiteY24" fmla="*/ 143281 h 165596"/>
                <a:gd name="connsiteX25" fmla="*/ 8902 w 146329"/>
                <a:gd name="connsiteY25" fmla="*/ 147062 h 165596"/>
                <a:gd name="connsiteX26" fmla="*/ 6219 w 146329"/>
                <a:gd name="connsiteY26" fmla="*/ 149744 h 165596"/>
                <a:gd name="connsiteX27" fmla="*/ 8170 w 146329"/>
                <a:gd name="connsiteY27" fmla="*/ 151329 h 165596"/>
                <a:gd name="connsiteX28" fmla="*/ 18047 w 146329"/>
                <a:gd name="connsiteY28" fmla="*/ 156817 h 165596"/>
                <a:gd name="connsiteX29" fmla="*/ 18901 w 146329"/>
                <a:gd name="connsiteY29" fmla="*/ 157183 h 165596"/>
                <a:gd name="connsiteX30" fmla="*/ 24388 w 146329"/>
                <a:gd name="connsiteY30" fmla="*/ 162792 h 165596"/>
                <a:gd name="connsiteX31" fmla="*/ 27193 w 146329"/>
                <a:gd name="connsiteY31" fmla="*/ 165597 h 165596"/>
                <a:gd name="connsiteX32" fmla="*/ 51825 w 146329"/>
                <a:gd name="connsiteY32" fmla="*/ 163158 h 165596"/>
                <a:gd name="connsiteX33" fmla="*/ 56459 w 146329"/>
                <a:gd name="connsiteY33" fmla="*/ 151086 h 165596"/>
                <a:gd name="connsiteX34" fmla="*/ 73287 w 146329"/>
                <a:gd name="connsiteY34" fmla="*/ 147062 h 165596"/>
                <a:gd name="connsiteX35" fmla="*/ 80482 w 146329"/>
                <a:gd name="connsiteY35" fmla="*/ 143159 h 165596"/>
                <a:gd name="connsiteX36" fmla="*/ 80482 w 146329"/>
                <a:gd name="connsiteY36" fmla="*/ 134867 h 165596"/>
                <a:gd name="connsiteX37" fmla="*/ 98651 w 146329"/>
                <a:gd name="connsiteY37" fmla="*/ 119625 h 165596"/>
                <a:gd name="connsiteX38" fmla="*/ 101456 w 146329"/>
                <a:gd name="connsiteY38" fmla="*/ 107552 h 165596"/>
                <a:gd name="connsiteX39" fmla="*/ 111577 w 146329"/>
                <a:gd name="connsiteY39" fmla="*/ 94505 h 165596"/>
                <a:gd name="connsiteX40" fmla="*/ 120113 w 146329"/>
                <a:gd name="connsiteY40" fmla="*/ 90603 h 165596"/>
                <a:gd name="connsiteX41" fmla="*/ 137672 w 146329"/>
                <a:gd name="connsiteY41" fmla="*/ 72189 h 165596"/>
                <a:gd name="connsiteX42" fmla="*/ 146330 w 146329"/>
                <a:gd name="connsiteY42" fmla="*/ 58288 h 165596"/>
                <a:gd name="connsiteX43" fmla="*/ 142672 w 146329"/>
                <a:gd name="connsiteY43" fmla="*/ 50728 h 165596"/>
                <a:gd name="connsiteX44" fmla="*/ 134502 w 146329"/>
                <a:gd name="connsiteY44" fmla="*/ 49020 h 16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46329" h="165596">
                  <a:moveTo>
                    <a:pt x="134502" y="49020"/>
                  </a:moveTo>
                  <a:lnTo>
                    <a:pt x="120478" y="33778"/>
                  </a:lnTo>
                  <a:lnTo>
                    <a:pt x="117186" y="27315"/>
                  </a:lnTo>
                  <a:lnTo>
                    <a:pt x="102553" y="25364"/>
                  </a:lnTo>
                  <a:lnTo>
                    <a:pt x="84993" y="17560"/>
                  </a:lnTo>
                  <a:lnTo>
                    <a:pt x="78775" y="7073"/>
                  </a:lnTo>
                  <a:lnTo>
                    <a:pt x="76214" y="0"/>
                  </a:lnTo>
                  <a:lnTo>
                    <a:pt x="75482" y="122"/>
                  </a:lnTo>
                  <a:lnTo>
                    <a:pt x="69629" y="488"/>
                  </a:lnTo>
                  <a:lnTo>
                    <a:pt x="73165" y="11463"/>
                  </a:lnTo>
                  <a:lnTo>
                    <a:pt x="74384" y="14999"/>
                  </a:lnTo>
                  <a:lnTo>
                    <a:pt x="71702" y="17682"/>
                  </a:lnTo>
                  <a:lnTo>
                    <a:pt x="68409" y="21096"/>
                  </a:lnTo>
                  <a:lnTo>
                    <a:pt x="55240" y="34144"/>
                  </a:lnTo>
                  <a:lnTo>
                    <a:pt x="54142" y="47313"/>
                  </a:lnTo>
                  <a:lnTo>
                    <a:pt x="66458" y="55117"/>
                  </a:lnTo>
                  <a:lnTo>
                    <a:pt x="70116" y="57434"/>
                  </a:lnTo>
                  <a:lnTo>
                    <a:pt x="69141" y="61702"/>
                  </a:lnTo>
                  <a:lnTo>
                    <a:pt x="60971" y="97309"/>
                  </a:lnTo>
                  <a:lnTo>
                    <a:pt x="59508" y="103894"/>
                  </a:lnTo>
                  <a:lnTo>
                    <a:pt x="58410" y="108650"/>
                  </a:lnTo>
                  <a:lnTo>
                    <a:pt x="53533" y="108650"/>
                  </a:lnTo>
                  <a:lnTo>
                    <a:pt x="41826" y="108650"/>
                  </a:lnTo>
                  <a:lnTo>
                    <a:pt x="0" y="127429"/>
                  </a:lnTo>
                  <a:lnTo>
                    <a:pt x="7195" y="143281"/>
                  </a:lnTo>
                  <a:lnTo>
                    <a:pt x="8902" y="147062"/>
                  </a:lnTo>
                  <a:lnTo>
                    <a:pt x="6219" y="149744"/>
                  </a:lnTo>
                  <a:lnTo>
                    <a:pt x="8170" y="151329"/>
                  </a:lnTo>
                  <a:lnTo>
                    <a:pt x="18047" y="156817"/>
                  </a:lnTo>
                  <a:lnTo>
                    <a:pt x="18901" y="157183"/>
                  </a:lnTo>
                  <a:lnTo>
                    <a:pt x="24388" y="162792"/>
                  </a:lnTo>
                  <a:lnTo>
                    <a:pt x="27193" y="165597"/>
                  </a:lnTo>
                  <a:lnTo>
                    <a:pt x="51825" y="163158"/>
                  </a:lnTo>
                  <a:lnTo>
                    <a:pt x="56459" y="151086"/>
                  </a:lnTo>
                  <a:lnTo>
                    <a:pt x="73287" y="147062"/>
                  </a:lnTo>
                  <a:lnTo>
                    <a:pt x="80482" y="143159"/>
                  </a:lnTo>
                  <a:lnTo>
                    <a:pt x="80482" y="134867"/>
                  </a:lnTo>
                  <a:lnTo>
                    <a:pt x="98651" y="119625"/>
                  </a:lnTo>
                  <a:lnTo>
                    <a:pt x="101456" y="107552"/>
                  </a:lnTo>
                  <a:lnTo>
                    <a:pt x="111577" y="94505"/>
                  </a:lnTo>
                  <a:lnTo>
                    <a:pt x="120113" y="90603"/>
                  </a:lnTo>
                  <a:lnTo>
                    <a:pt x="137672" y="72189"/>
                  </a:lnTo>
                  <a:lnTo>
                    <a:pt x="146330" y="58288"/>
                  </a:lnTo>
                  <a:lnTo>
                    <a:pt x="142672" y="50728"/>
                  </a:lnTo>
                  <a:lnTo>
                    <a:pt x="134502" y="4902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0" name="Freihandform: Form 779">
              <a:extLst>
                <a:ext uri="{FF2B5EF4-FFF2-40B4-BE49-F238E27FC236}">
                  <a16:creationId xmlns:a16="http://schemas.microsoft.com/office/drawing/2014/main" id="{2A37CE95-4743-4B21-8442-61FE9A7E648C}"/>
                </a:ext>
              </a:extLst>
            </p:cNvPr>
            <p:cNvSpPr/>
            <p:nvPr/>
          </p:nvSpPr>
          <p:spPr>
            <a:xfrm>
              <a:off x="5300601" y="2583969"/>
              <a:ext cx="372409" cy="332778"/>
            </a:xfrm>
            <a:custGeom>
              <a:avLst/>
              <a:gdLst>
                <a:gd name="connsiteX0" fmla="*/ 372410 w 372409"/>
                <a:gd name="connsiteY0" fmla="*/ 301074 h 332778"/>
                <a:gd name="connsiteX1" fmla="*/ 372410 w 372409"/>
                <a:gd name="connsiteY1" fmla="*/ 293026 h 332778"/>
                <a:gd name="connsiteX2" fmla="*/ 365215 w 372409"/>
                <a:gd name="connsiteY2" fmla="*/ 292294 h 332778"/>
                <a:gd name="connsiteX3" fmla="*/ 359240 w 372409"/>
                <a:gd name="connsiteY3" fmla="*/ 291562 h 332778"/>
                <a:gd name="connsiteX4" fmla="*/ 359850 w 372409"/>
                <a:gd name="connsiteY4" fmla="*/ 285587 h 332778"/>
                <a:gd name="connsiteX5" fmla="*/ 360825 w 372409"/>
                <a:gd name="connsiteY5" fmla="*/ 275588 h 332778"/>
                <a:gd name="connsiteX6" fmla="*/ 327779 w 372409"/>
                <a:gd name="connsiteY6" fmla="*/ 247785 h 332778"/>
                <a:gd name="connsiteX7" fmla="*/ 326194 w 372409"/>
                <a:gd name="connsiteY7" fmla="*/ 246078 h 332778"/>
                <a:gd name="connsiteX8" fmla="*/ 326194 w 372409"/>
                <a:gd name="connsiteY8" fmla="*/ 235225 h 332778"/>
                <a:gd name="connsiteX9" fmla="*/ 324121 w 372409"/>
                <a:gd name="connsiteY9" fmla="*/ 235225 h 332778"/>
                <a:gd name="connsiteX10" fmla="*/ 326194 w 372409"/>
                <a:gd name="connsiteY10" fmla="*/ 230714 h 332778"/>
                <a:gd name="connsiteX11" fmla="*/ 326194 w 372409"/>
                <a:gd name="connsiteY11" fmla="*/ 227421 h 332778"/>
                <a:gd name="connsiteX12" fmla="*/ 327657 w 372409"/>
                <a:gd name="connsiteY12" fmla="*/ 227421 h 332778"/>
                <a:gd name="connsiteX13" fmla="*/ 327657 w 372409"/>
                <a:gd name="connsiteY13" fmla="*/ 227421 h 332778"/>
                <a:gd name="connsiteX14" fmla="*/ 333388 w 372409"/>
                <a:gd name="connsiteY14" fmla="*/ 215227 h 332778"/>
                <a:gd name="connsiteX15" fmla="*/ 333388 w 372409"/>
                <a:gd name="connsiteY15" fmla="*/ 215227 h 332778"/>
                <a:gd name="connsiteX16" fmla="*/ 333388 w 372409"/>
                <a:gd name="connsiteY16" fmla="*/ 215227 h 332778"/>
                <a:gd name="connsiteX17" fmla="*/ 343144 w 372409"/>
                <a:gd name="connsiteY17" fmla="*/ 200594 h 332778"/>
                <a:gd name="connsiteX18" fmla="*/ 338632 w 372409"/>
                <a:gd name="connsiteY18" fmla="*/ 193765 h 332778"/>
                <a:gd name="connsiteX19" fmla="*/ 335583 w 372409"/>
                <a:gd name="connsiteY19" fmla="*/ 196326 h 332778"/>
                <a:gd name="connsiteX20" fmla="*/ 329608 w 372409"/>
                <a:gd name="connsiteY20" fmla="*/ 201204 h 332778"/>
                <a:gd name="connsiteX21" fmla="*/ 326194 w 372409"/>
                <a:gd name="connsiteY21" fmla="*/ 194375 h 332778"/>
                <a:gd name="connsiteX22" fmla="*/ 322048 w 372409"/>
                <a:gd name="connsiteY22" fmla="*/ 185961 h 332778"/>
                <a:gd name="connsiteX23" fmla="*/ 321194 w 372409"/>
                <a:gd name="connsiteY23" fmla="*/ 184376 h 332778"/>
                <a:gd name="connsiteX24" fmla="*/ 321194 w 372409"/>
                <a:gd name="connsiteY24" fmla="*/ 182669 h 332778"/>
                <a:gd name="connsiteX25" fmla="*/ 322536 w 372409"/>
                <a:gd name="connsiteY25" fmla="*/ 166816 h 332778"/>
                <a:gd name="connsiteX26" fmla="*/ 317170 w 372409"/>
                <a:gd name="connsiteY26" fmla="*/ 135599 h 332778"/>
                <a:gd name="connsiteX27" fmla="*/ 317170 w 372409"/>
                <a:gd name="connsiteY27" fmla="*/ 133038 h 332778"/>
                <a:gd name="connsiteX28" fmla="*/ 318756 w 372409"/>
                <a:gd name="connsiteY28" fmla="*/ 130843 h 332778"/>
                <a:gd name="connsiteX29" fmla="*/ 333023 w 372409"/>
                <a:gd name="connsiteY29" fmla="*/ 111455 h 332778"/>
                <a:gd name="connsiteX30" fmla="*/ 333023 w 372409"/>
                <a:gd name="connsiteY30" fmla="*/ 93407 h 332778"/>
                <a:gd name="connsiteX31" fmla="*/ 330584 w 372409"/>
                <a:gd name="connsiteY31" fmla="*/ 75238 h 332778"/>
                <a:gd name="connsiteX32" fmla="*/ 296074 w 372409"/>
                <a:gd name="connsiteY32" fmla="*/ 50850 h 332778"/>
                <a:gd name="connsiteX33" fmla="*/ 282173 w 372409"/>
                <a:gd name="connsiteY33" fmla="*/ 49630 h 332778"/>
                <a:gd name="connsiteX34" fmla="*/ 279978 w 372409"/>
                <a:gd name="connsiteY34" fmla="*/ 49630 h 332778"/>
                <a:gd name="connsiteX35" fmla="*/ 278515 w 372409"/>
                <a:gd name="connsiteY35" fmla="*/ 48167 h 332778"/>
                <a:gd name="connsiteX36" fmla="*/ 272905 w 372409"/>
                <a:gd name="connsiteY36" fmla="*/ 42558 h 332778"/>
                <a:gd name="connsiteX37" fmla="*/ 228763 w 372409"/>
                <a:gd name="connsiteY37" fmla="*/ 37314 h 332778"/>
                <a:gd name="connsiteX38" fmla="*/ 220836 w 372409"/>
                <a:gd name="connsiteY38" fmla="*/ 53410 h 332778"/>
                <a:gd name="connsiteX39" fmla="*/ 218885 w 372409"/>
                <a:gd name="connsiteY39" fmla="*/ 57190 h 332778"/>
                <a:gd name="connsiteX40" fmla="*/ 214617 w 372409"/>
                <a:gd name="connsiteY40" fmla="*/ 57190 h 332778"/>
                <a:gd name="connsiteX41" fmla="*/ 202423 w 372409"/>
                <a:gd name="connsiteY41" fmla="*/ 55605 h 332778"/>
                <a:gd name="connsiteX42" fmla="*/ 196570 w 372409"/>
                <a:gd name="connsiteY42" fmla="*/ 54874 h 332778"/>
                <a:gd name="connsiteX43" fmla="*/ 196570 w 372409"/>
                <a:gd name="connsiteY43" fmla="*/ 64019 h 332778"/>
                <a:gd name="connsiteX44" fmla="*/ 194497 w 372409"/>
                <a:gd name="connsiteY44" fmla="*/ 67678 h 332778"/>
                <a:gd name="connsiteX45" fmla="*/ 194497 w 372409"/>
                <a:gd name="connsiteY45" fmla="*/ 68287 h 332778"/>
                <a:gd name="connsiteX46" fmla="*/ 191448 w 372409"/>
                <a:gd name="connsiteY46" fmla="*/ 70360 h 332778"/>
                <a:gd name="connsiteX47" fmla="*/ 190839 w 372409"/>
                <a:gd name="connsiteY47" fmla="*/ 70360 h 332778"/>
                <a:gd name="connsiteX48" fmla="*/ 187302 w 372409"/>
                <a:gd name="connsiteY48" fmla="*/ 71214 h 332778"/>
                <a:gd name="connsiteX49" fmla="*/ 187302 w 372409"/>
                <a:gd name="connsiteY49" fmla="*/ 71214 h 332778"/>
                <a:gd name="connsiteX50" fmla="*/ 183278 w 372409"/>
                <a:gd name="connsiteY50" fmla="*/ 71214 h 332778"/>
                <a:gd name="connsiteX51" fmla="*/ 175108 w 372409"/>
                <a:gd name="connsiteY51" fmla="*/ 71214 h 332778"/>
                <a:gd name="connsiteX52" fmla="*/ 170352 w 372409"/>
                <a:gd name="connsiteY52" fmla="*/ 71214 h 332778"/>
                <a:gd name="connsiteX53" fmla="*/ 170352 w 372409"/>
                <a:gd name="connsiteY53" fmla="*/ 71214 h 332778"/>
                <a:gd name="connsiteX54" fmla="*/ 159256 w 372409"/>
                <a:gd name="connsiteY54" fmla="*/ 74262 h 332778"/>
                <a:gd name="connsiteX55" fmla="*/ 156329 w 372409"/>
                <a:gd name="connsiteY55" fmla="*/ 74262 h 332778"/>
                <a:gd name="connsiteX56" fmla="*/ 146086 w 372409"/>
                <a:gd name="connsiteY56" fmla="*/ 75238 h 332778"/>
                <a:gd name="connsiteX57" fmla="*/ 143281 w 372409"/>
                <a:gd name="connsiteY57" fmla="*/ 75238 h 332778"/>
                <a:gd name="connsiteX58" fmla="*/ 134136 w 372409"/>
                <a:gd name="connsiteY58" fmla="*/ 74506 h 332778"/>
                <a:gd name="connsiteX59" fmla="*/ 134136 w 372409"/>
                <a:gd name="connsiteY59" fmla="*/ 74506 h 332778"/>
                <a:gd name="connsiteX60" fmla="*/ 134136 w 372409"/>
                <a:gd name="connsiteY60" fmla="*/ 74506 h 332778"/>
                <a:gd name="connsiteX61" fmla="*/ 127551 w 372409"/>
                <a:gd name="connsiteY61" fmla="*/ 69872 h 332778"/>
                <a:gd name="connsiteX62" fmla="*/ 117674 w 372409"/>
                <a:gd name="connsiteY62" fmla="*/ 62678 h 332778"/>
                <a:gd name="connsiteX63" fmla="*/ 112430 w 372409"/>
                <a:gd name="connsiteY63" fmla="*/ 52069 h 332778"/>
                <a:gd name="connsiteX64" fmla="*/ 105967 w 372409"/>
                <a:gd name="connsiteY64" fmla="*/ 50362 h 332778"/>
                <a:gd name="connsiteX65" fmla="*/ 100968 w 372409"/>
                <a:gd name="connsiteY65" fmla="*/ 48289 h 332778"/>
                <a:gd name="connsiteX66" fmla="*/ 99992 w 372409"/>
                <a:gd name="connsiteY66" fmla="*/ 48289 h 332778"/>
                <a:gd name="connsiteX67" fmla="*/ 89627 w 372409"/>
                <a:gd name="connsiteY67" fmla="*/ 39387 h 332778"/>
                <a:gd name="connsiteX68" fmla="*/ 89627 w 372409"/>
                <a:gd name="connsiteY68" fmla="*/ 39387 h 332778"/>
                <a:gd name="connsiteX69" fmla="*/ 82554 w 372409"/>
                <a:gd name="connsiteY69" fmla="*/ 34266 h 332778"/>
                <a:gd name="connsiteX70" fmla="*/ 74384 w 372409"/>
                <a:gd name="connsiteY70" fmla="*/ 28290 h 332778"/>
                <a:gd name="connsiteX71" fmla="*/ 71702 w 372409"/>
                <a:gd name="connsiteY71" fmla="*/ 26217 h 332778"/>
                <a:gd name="connsiteX72" fmla="*/ 71702 w 372409"/>
                <a:gd name="connsiteY72" fmla="*/ 22925 h 332778"/>
                <a:gd name="connsiteX73" fmla="*/ 72921 w 372409"/>
                <a:gd name="connsiteY73" fmla="*/ 5243 h 332778"/>
                <a:gd name="connsiteX74" fmla="*/ 72190 w 372409"/>
                <a:gd name="connsiteY74" fmla="*/ 3658 h 332778"/>
                <a:gd name="connsiteX75" fmla="*/ 59995 w 372409"/>
                <a:gd name="connsiteY75" fmla="*/ 7682 h 332778"/>
                <a:gd name="connsiteX76" fmla="*/ 59995 w 372409"/>
                <a:gd name="connsiteY76" fmla="*/ 7682 h 332778"/>
                <a:gd name="connsiteX77" fmla="*/ 53410 w 372409"/>
                <a:gd name="connsiteY77" fmla="*/ 9389 h 332778"/>
                <a:gd name="connsiteX78" fmla="*/ 51216 w 372409"/>
                <a:gd name="connsiteY78" fmla="*/ 10121 h 332778"/>
                <a:gd name="connsiteX79" fmla="*/ 51216 w 372409"/>
                <a:gd name="connsiteY79" fmla="*/ 10121 h 332778"/>
                <a:gd name="connsiteX80" fmla="*/ 36826 w 372409"/>
                <a:gd name="connsiteY80" fmla="*/ 13657 h 332778"/>
                <a:gd name="connsiteX81" fmla="*/ 31705 w 372409"/>
                <a:gd name="connsiteY81" fmla="*/ 14999 h 332778"/>
                <a:gd name="connsiteX82" fmla="*/ 29144 w 372409"/>
                <a:gd name="connsiteY82" fmla="*/ 14999 h 332778"/>
                <a:gd name="connsiteX83" fmla="*/ 26949 w 372409"/>
                <a:gd name="connsiteY83" fmla="*/ 13535 h 332778"/>
                <a:gd name="connsiteX84" fmla="*/ 9146 w 372409"/>
                <a:gd name="connsiteY84" fmla="*/ 2195 h 332778"/>
                <a:gd name="connsiteX85" fmla="*/ 8048 w 372409"/>
                <a:gd name="connsiteY85" fmla="*/ 1463 h 332778"/>
                <a:gd name="connsiteX86" fmla="*/ 5731 w 372409"/>
                <a:gd name="connsiteY86" fmla="*/ 0 h 332778"/>
                <a:gd name="connsiteX87" fmla="*/ 0 w 372409"/>
                <a:gd name="connsiteY87" fmla="*/ 4878 h 332778"/>
                <a:gd name="connsiteX88" fmla="*/ 10487 w 372409"/>
                <a:gd name="connsiteY88" fmla="*/ 41460 h 332778"/>
                <a:gd name="connsiteX89" fmla="*/ 10487 w 372409"/>
                <a:gd name="connsiteY89" fmla="*/ 42558 h 332778"/>
                <a:gd name="connsiteX90" fmla="*/ 10487 w 372409"/>
                <a:gd name="connsiteY90" fmla="*/ 43655 h 332778"/>
                <a:gd name="connsiteX91" fmla="*/ 9268 w 372409"/>
                <a:gd name="connsiteY91" fmla="*/ 57434 h 332778"/>
                <a:gd name="connsiteX92" fmla="*/ 9268 w 372409"/>
                <a:gd name="connsiteY92" fmla="*/ 57434 h 332778"/>
                <a:gd name="connsiteX93" fmla="*/ 9268 w 372409"/>
                <a:gd name="connsiteY93" fmla="*/ 57434 h 332778"/>
                <a:gd name="connsiteX94" fmla="*/ 12804 w 372409"/>
                <a:gd name="connsiteY94" fmla="*/ 63775 h 332778"/>
                <a:gd name="connsiteX95" fmla="*/ 24998 w 372409"/>
                <a:gd name="connsiteY95" fmla="*/ 83896 h 332778"/>
                <a:gd name="connsiteX96" fmla="*/ 36095 w 372409"/>
                <a:gd name="connsiteY96" fmla="*/ 83896 h 332778"/>
                <a:gd name="connsiteX97" fmla="*/ 37924 w 372409"/>
                <a:gd name="connsiteY97" fmla="*/ 86578 h 332778"/>
                <a:gd name="connsiteX98" fmla="*/ 42314 w 372409"/>
                <a:gd name="connsiteY98" fmla="*/ 93041 h 332778"/>
                <a:gd name="connsiteX99" fmla="*/ 44265 w 372409"/>
                <a:gd name="connsiteY99" fmla="*/ 96090 h 332778"/>
                <a:gd name="connsiteX100" fmla="*/ 42558 w 372409"/>
                <a:gd name="connsiteY100" fmla="*/ 99260 h 332778"/>
                <a:gd name="connsiteX101" fmla="*/ 33656 w 372409"/>
                <a:gd name="connsiteY101" fmla="*/ 116454 h 332778"/>
                <a:gd name="connsiteX102" fmla="*/ 24510 w 372409"/>
                <a:gd name="connsiteY102" fmla="*/ 134258 h 332778"/>
                <a:gd name="connsiteX103" fmla="*/ 32193 w 372409"/>
                <a:gd name="connsiteY103" fmla="*/ 144501 h 332778"/>
                <a:gd name="connsiteX104" fmla="*/ 43289 w 372409"/>
                <a:gd name="connsiteY104" fmla="*/ 159378 h 332778"/>
                <a:gd name="connsiteX105" fmla="*/ 56459 w 372409"/>
                <a:gd name="connsiteY105" fmla="*/ 161695 h 332778"/>
                <a:gd name="connsiteX106" fmla="*/ 59020 w 372409"/>
                <a:gd name="connsiteY106" fmla="*/ 161695 h 332778"/>
                <a:gd name="connsiteX107" fmla="*/ 60483 w 372409"/>
                <a:gd name="connsiteY107" fmla="*/ 163889 h 332778"/>
                <a:gd name="connsiteX108" fmla="*/ 63897 w 372409"/>
                <a:gd name="connsiteY108" fmla="*/ 169011 h 332778"/>
                <a:gd name="connsiteX109" fmla="*/ 73775 w 372409"/>
                <a:gd name="connsiteY109" fmla="*/ 183766 h 332778"/>
                <a:gd name="connsiteX110" fmla="*/ 74872 w 372409"/>
                <a:gd name="connsiteY110" fmla="*/ 185473 h 332778"/>
                <a:gd name="connsiteX111" fmla="*/ 74872 w 372409"/>
                <a:gd name="connsiteY111" fmla="*/ 187546 h 332778"/>
                <a:gd name="connsiteX112" fmla="*/ 73653 w 372409"/>
                <a:gd name="connsiteY112" fmla="*/ 209374 h 332778"/>
                <a:gd name="connsiteX113" fmla="*/ 76823 w 372409"/>
                <a:gd name="connsiteY113" fmla="*/ 213398 h 332778"/>
                <a:gd name="connsiteX114" fmla="*/ 82920 w 372409"/>
                <a:gd name="connsiteY114" fmla="*/ 220958 h 332778"/>
                <a:gd name="connsiteX115" fmla="*/ 82920 w 372409"/>
                <a:gd name="connsiteY115" fmla="*/ 221690 h 332778"/>
                <a:gd name="connsiteX116" fmla="*/ 90481 w 372409"/>
                <a:gd name="connsiteY116" fmla="*/ 218885 h 332778"/>
                <a:gd name="connsiteX117" fmla="*/ 114869 w 372409"/>
                <a:gd name="connsiteY117" fmla="*/ 220836 h 332778"/>
                <a:gd name="connsiteX118" fmla="*/ 116820 w 372409"/>
                <a:gd name="connsiteY118" fmla="*/ 220836 h 332778"/>
                <a:gd name="connsiteX119" fmla="*/ 118893 w 372409"/>
                <a:gd name="connsiteY119" fmla="*/ 232299 h 332778"/>
                <a:gd name="connsiteX120" fmla="*/ 131087 w 372409"/>
                <a:gd name="connsiteY120" fmla="*/ 246444 h 332778"/>
                <a:gd name="connsiteX121" fmla="*/ 136941 w 372409"/>
                <a:gd name="connsiteY121" fmla="*/ 257419 h 332778"/>
                <a:gd name="connsiteX122" fmla="*/ 138648 w 372409"/>
                <a:gd name="connsiteY122" fmla="*/ 266077 h 332778"/>
                <a:gd name="connsiteX123" fmla="*/ 151695 w 372409"/>
                <a:gd name="connsiteY123" fmla="*/ 275588 h 332778"/>
                <a:gd name="connsiteX124" fmla="*/ 152671 w 372409"/>
                <a:gd name="connsiteY124" fmla="*/ 275588 h 332778"/>
                <a:gd name="connsiteX125" fmla="*/ 160475 w 372409"/>
                <a:gd name="connsiteY125" fmla="*/ 276442 h 332778"/>
                <a:gd name="connsiteX126" fmla="*/ 173767 w 372409"/>
                <a:gd name="connsiteY126" fmla="*/ 291684 h 332778"/>
                <a:gd name="connsiteX127" fmla="*/ 183034 w 372409"/>
                <a:gd name="connsiteY127" fmla="*/ 293513 h 332778"/>
                <a:gd name="connsiteX128" fmla="*/ 188522 w 372409"/>
                <a:gd name="connsiteY128" fmla="*/ 297172 h 332778"/>
                <a:gd name="connsiteX129" fmla="*/ 226689 w 372409"/>
                <a:gd name="connsiteY129" fmla="*/ 298025 h 332778"/>
                <a:gd name="connsiteX130" fmla="*/ 237908 w 372409"/>
                <a:gd name="connsiteY130" fmla="*/ 287782 h 332778"/>
                <a:gd name="connsiteX131" fmla="*/ 245103 w 372409"/>
                <a:gd name="connsiteY131" fmla="*/ 286685 h 332778"/>
                <a:gd name="connsiteX132" fmla="*/ 250224 w 372409"/>
                <a:gd name="connsiteY132" fmla="*/ 290465 h 332778"/>
                <a:gd name="connsiteX133" fmla="*/ 254004 w 372409"/>
                <a:gd name="connsiteY133" fmla="*/ 293269 h 332778"/>
                <a:gd name="connsiteX134" fmla="*/ 258028 w 372409"/>
                <a:gd name="connsiteY134" fmla="*/ 308512 h 332778"/>
                <a:gd name="connsiteX135" fmla="*/ 258882 w 372409"/>
                <a:gd name="connsiteY135" fmla="*/ 314975 h 332778"/>
                <a:gd name="connsiteX136" fmla="*/ 267174 w 372409"/>
                <a:gd name="connsiteY136" fmla="*/ 319975 h 332778"/>
                <a:gd name="connsiteX137" fmla="*/ 285709 w 372409"/>
                <a:gd name="connsiteY137" fmla="*/ 324609 h 332778"/>
                <a:gd name="connsiteX138" fmla="*/ 297903 w 372409"/>
                <a:gd name="connsiteY138" fmla="*/ 328267 h 332778"/>
                <a:gd name="connsiteX139" fmla="*/ 311926 w 372409"/>
                <a:gd name="connsiteY139" fmla="*/ 326438 h 332778"/>
                <a:gd name="connsiteX140" fmla="*/ 324121 w 372409"/>
                <a:gd name="connsiteY140" fmla="*/ 328389 h 332778"/>
                <a:gd name="connsiteX141" fmla="*/ 336315 w 372409"/>
                <a:gd name="connsiteY141" fmla="*/ 329364 h 332778"/>
                <a:gd name="connsiteX142" fmla="*/ 341437 w 372409"/>
                <a:gd name="connsiteY142" fmla="*/ 332779 h 332778"/>
                <a:gd name="connsiteX143" fmla="*/ 343388 w 372409"/>
                <a:gd name="connsiteY143" fmla="*/ 331803 h 332778"/>
                <a:gd name="connsiteX144" fmla="*/ 343388 w 372409"/>
                <a:gd name="connsiteY144" fmla="*/ 331437 h 332778"/>
                <a:gd name="connsiteX145" fmla="*/ 344607 w 372409"/>
                <a:gd name="connsiteY145" fmla="*/ 315585 h 332778"/>
                <a:gd name="connsiteX146" fmla="*/ 344607 w 372409"/>
                <a:gd name="connsiteY146" fmla="*/ 311927 h 332778"/>
                <a:gd name="connsiteX147" fmla="*/ 348021 w 372409"/>
                <a:gd name="connsiteY147" fmla="*/ 310463 h 332778"/>
                <a:gd name="connsiteX148" fmla="*/ 359606 w 372409"/>
                <a:gd name="connsiteY148" fmla="*/ 305586 h 33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372409" h="332778">
                  <a:moveTo>
                    <a:pt x="372410" y="301074"/>
                  </a:moveTo>
                  <a:lnTo>
                    <a:pt x="372410" y="293026"/>
                  </a:lnTo>
                  <a:lnTo>
                    <a:pt x="365215" y="292294"/>
                  </a:lnTo>
                  <a:lnTo>
                    <a:pt x="359240" y="291562"/>
                  </a:lnTo>
                  <a:lnTo>
                    <a:pt x="359850" y="285587"/>
                  </a:lnTo>
                  <a:lnTo>
                    <a:pt x="360825" y="275588"/>
                  </a:lnTo>
                  <a:lnTo>
                    <a:pt x="327779" y="247785"/>
                  </a:lnTo>
                  <a:lnTo>
                    <a:pt x="326194" y="246078"/>
                  </a:lnTo>
                  <a:lnTo>
                    <a:pt x="326194" y="235225"/>
                  </a:lnTo>
                  <a:lnTo>
                    <a:pt x="324121" y="235225"/>
                  </a:lnTo>
                  <a:lnTo>
                    <a:pt x="326194" y="230714"/>
                  </a:lnTo>
                  <a:lnTo>
                    <a:pt x="326194" y="227421"/>
                  </a:lnTo>
                  <a:lnTo>
                    <a:pt x="327657" y="227421"/>
                  </a:lnTo>
                  <a:lnTo>
                    <a:pt x="327657" y="227421"/>
                  </a:lnTo>
                  <a:lnTo>
                    <a:pt x="333388" y="215227"/>
                  </a:lnTo>
                  <a:lnTo>
                    <a:pt x="333388" y="215227"/>
                  </a:lnTo>
                  <a:lnTo>
                    <a:pt x="333388" y="215227"/>
                  </a:lnTo>
                  <a:lnTo>
                    <a:pt x="343144" y="200594"/>
                  </a:lnTo>
                  <a:lnTo>
                    <a:pt x="338632" y="193765"/>
                  </a:lnTo>
                  <a:lnTo>
                    <a:pt x="335583" y="196326"/>
                  </a:lnTo>
                  <a:lnTo>
                    <a:pt x="329608" y="201204"/>
                  </a:lnTo>
                  <a:lnTo>
                    <a:pt x="326194" y="194375"/>
                  </a:lnTo>
                  <a:lnTo>
                    <a:pt x="322048" y="185961"/>
                  </a:lnTo>
                  <a:lnTo>
                    <a:pt x="321194" y="184376"/>
                  </a:lnTo>
                  <a:lnTo>
                    <a:pt x="321194" y="182669"/>
                  </a:lnTo>
                  <a:lnTo>
                    <a:pt x="322536" y="166816"/>
                  </a:lnTo>
                  <a:lnTo>
                    <a:pt x="317170" y="135599"/>
                  </a:lnTo>
                  <a:lnTo>
                    <a:pt x="317170" y="133038"/>
                  </a:lnTo>
                  <a:lnTo>
                    <a:pt x="318756" y="130843"/>
                  </a:lnTo>
                  <a:lnTo>
                    <a:pt x="333023" y="111455"/>
                  </a:lnTo>
                  <a:lnTo>
                    <a:pt x="333023" y="93407"/>
                  </a:lnTo>
                  <a:lnTo>
                    <a:pt x="330584" y="75238"/>
                  </a:lnTo>
                  <a:lnTo>
                    <a:pt x="296074" y="50850"/>
                  </a:lnTo>
                  <a:lnTo>
                    <a:pt x="282173" y="49630"/>
                  </a:lnTo>
                  <a:lnTo>
                    <a:pt x="279978" y="49630"/>
                  </a:lnTo>
                  <a:lnTo>
                    <a:pt x="278515" y="48167"/>
                  </a:lnTo>
                  <a:lnTo>
                    <a:pt x="272905" y="42558"/>
                  </a:lnTo>
                  <a:lnTo>
                    <a:pt x="228763" y="37314"/>
                  </a:lnTo>
                  <a:lnTo>
                    <a:pt x="220836" y="53410"/>
                  </a:lnTo>
                  <a:lnTo>
                    <a:pt x="218885" y="57190"/>
                  </a:lnTo>
                  <a:lnTo>
                    <a:pt x="214617" y="57190"/>
                  </a:lnTo>
                  <a:lnTo>
                    <a:pt x="202423" y="55605"/>
                  </a:lnTo>
                  <a:lnTo>
                    <a:pt x="196570" y="54874"/>
                  </a:lnTo>
                  <a:lnTo>
                    <a:pt x="196570" y="64019"/>
                  </a:lnTo>
                  <a:cubicBezTo>
                    <a:pt x="196130" y="65365"/>
                    <a:pt x="195425" y="66609"/>
                    <a:pt x="194497" y="67678"/>
                  </a:cubicBezTo>
                  <a:lnTo>
                    <a:pt x="194497" y="68287"/>
                  </a:lnTo>
                  <a:cubicBezTo>
                    <a:pt x="193592" y="69129"/>
                    <a:pt x="192564" y="69828"/>
                    <a:pt x="191448" y="70360"/>
                  </a:cubicBezTo>
                  <a:lnTo>
                    <a:pt x="190839" y="70360"/>
                  </a:lnTo>
                  <a:cubicBezTo>
                    <a:pt x="189694" y="70773"/>
                    <a:pt x="188509" y="71059"/>
                    <a:pt x="187302" y="71214"/>
                  </a:cubicBezTo>
                  <a:lnTo>
                    <a:pt x="187302" y="71214"/>
                  </a:lnTo>
                  <a:lnTo>
                    <a:pt x="183278" y="71214"/>
                  </a:lnTo>
                  <a:lnTo>
                    <a:pt x="175108" y="71214"/>
                  </a:lnTo>
                  <a:cubicBezTo>
                    <a:pt x="173526" y="71075"/>
                    <a:pt x="171934" y="71075"/>
                    <a:pt x="170352" y="71214"/>
                  </a:cubicBezTo>
                  <a:lnTo>
                    <a:pt x="170352" y="71214"/>
                  </a:lnTo>
                  <a:cubicBezTo>
                    <a:pt x="166752" y="72558"/>
                    <a:pt x="163038" y="73578"/>
                    <a:pt x="159256" y="74262"/>
                  </a:cubicBezTo>
                  <a:lnTo>
                    <a:pt x="156329" y="74262"/>
                  </a:lnTo>
                  <a:cubicBezTo>
                    <a:pt x="152950" y="74889"/>
                    <a:pt x="149522" y="75215"/>
                    <a:pt x="146086" y="75238"/>
                  </a:cubicBezTo>
                  <a:lnTo>
                    <a:pt x="143281" y="75238"/>
                  </a:lnTo>
                  <a:cubicBezTo>
                    <a:pt x="140218" y="75246"/>
                    <a:pt x="137159" y="75002"/>
                    <a:pt x="134136" y="74506"/>
                  </a:cubicBezTo>
                  <a:lnTo>
                    <a:pt x="134136" y="74506"/>
                  </a:lnTo>
                  <a:lnTo>
                    <a:pt x="134136" y="74506"/>
                  </a:lnTo>
                  <a:cubicBezTo>
                    <a:pt x="132045" y="72818"/>
                    <a:pt x="129845" y="71270"/>
                    <a:pt x="127551" y="69872"/>
                  </a:cubicBezTo>
                  <a:cubicBezTo>
                    <a:pt x="124016" y="67825"/>
                    <a:pt x="120706" y="65414"/>
                    <a:pt x="117674" y="62678"/>
                  </a:cubicBezTo>
                  <a:cubicBezTo>
                    <a:pt x="114708" y="59886"/>
                    <a:pt x="112847" y="56120"/>
                    <a:pt x="112430" y="52069"/>
                  </a:cubicBezTo>
                  <a:cubicBezTo>
                    <a:pt x="110225" y="51714"/>
                    <a:pt x="108060" y="51142"/>
                    <a:pt x="105967" y="50362"/>
                  </a:cubicBezTo>
                  <a:cubicBezTo>
                    <a:pt x="104252" y="49795"/>
                    <a:pt x="102581" y="49102"/>
                    <a:pt x="100968" y="48289"/>
                  </a:cubicBezTo>
                  <a:lnTo>
                    <a:pt x="99992" y="48289"/>
                  </a:lnTo>
                  <a:cubicBezTo>
                    <a:pt x="95833" y="46257"/>
                    <a:pt x="92264" y="43192"/>
                    <a:pt x="89627" y="39387"/>
                  </a:cubicBezTo>
                  <a:lnTo>
                    <a:pt x="89627" y="39387"/>
                  </a:lnTo>
                  <a:lnTo>
                    <a:pt x="82554" y="34266"/>
                  </a:lnTo>
                  <a:lnTo>
                    <a:pt x="74384" y="28290"/>
                  </a:lnTo>
                  <a:lnTo>
                    <a:pt x="71702" y="26217"/>
                  </a:lnTo>
                  <a:lnTo>
                    <a:pt x="71702" y="22925"/>
                  </a:lnTo>
                  <a:lnTo>
                    <a:pt x="72921" y="5243"/>
                  </a:lnTo>
                  <a:lnTo>
                    <a:pt x="72190" y="3658"/>
                  </a:lnTo>
                  <a:lnTo>
                    <a:pt x="59995" y="7682"/>
                  </a:lnTo>
                  <a:lnTo>
                    <a:pt x="59995" y="7682"/>
                  </a:lnTo>
                  <a:lnTo>
                    <a:pt x="53410" y="9389"/>
                  </a:lnTo>
                  <a:lnTo>
                    <a:pt x="51216" y="10121"/>
                  </a:lnTo>
                  <a:lnTo>
                    <a:pt x="51216" y="10121"/>
                  </a:lnTo>
                  <a:lnTo>
                    <a:pt x="36826" y="13657"/>
                  </a:lnTo>
                  <a:lnTo>
                    <a:pt x="31705" y="14999"/>
                  </a:lnTo>
                  <a:lnTo>
                    <a:pt x="29144" y="14999"/>
                  </a:lnTo>
                  <a:lnTo>
                    <a:pt x="26949" y="13535"/>
                  </a:lnTo>
                  <a:lnTo>
                    <a:pt x="9146" y="2195"/>
                  </a:lnTo>
                  <a:lnTo>
                    <a:pt x="8048" y="1463"/>
                  </a:lnTo>
                  <a:lnTo>
                    <a:pt x="5731" y="0"/>
                  </a:lnTo>
                  <a:lnTo>
                    <a:pt x="0" y="4878"/>
                  </a:lnTo>
                  <a:lnTo>
                    <a:pt x="10487" y="41460"/>
                  </a:lnTo>
                  <a:lnTo>
                    <a:pt x="10487" y="42558"/>
                  </a:lnTo>
                  <a:lnTo>
                    <a:pt x="10487" y="43655"/>
                  </a:lnTo>
                  <a:lnTo>
                    <a:pt x="9268" y="57434"/>
                  </a:lnTo>
                  <a:lnTo>
                    <a:pt x="9268" y="57434"/>
                  </a:lnTo>
                  <a:lnTo>
                    <a:pt x="9268" y="57434"/>
                  </a:lnTo>
                  <a:lnTo>
                    <a:pt x="12804" y="63775"/>
                  </a:lnTo>
                  <a:lnTo>
                    <a:pt x="24998" y="83896"/>
                  </a:lnTo>
                  <a:lnTo>
                    <a:pt x="36095" y="83896"/>
                  </a:lnTo>
                  <a:lnTo>
                    <a:pt x="37924" y="86578"/>
                  </a:lnTo>
                  <a:lnTo>
                    <a:pt x="42314" y="93041"/>
                  </a:lnTo>
                  <a:lnTo>
                    <a:pt x="44265" y="96090"/>
                  </a:lnTo>
                  <a:lnTo>
                    <a:pt x="42558" y="99260"/>
                  </a:lnTo>
                  <a:lnTo>
                    <a:pt x="33656" y="116454"/>
                  </a:lnTo>
                  <a:lnTo>
                    <a:pt x="24510" y="134258"/>
                  </a:lnTo>
                  <a:lnTo>
                    <a:pt x="32193" y="144501"/>
                  </a:lnTo>
                  <a:lnTo>
                    <a:pt x="43289" y="159378"/>
                  </a:lnTo>
                  <a:lnTo>
                    <a:pt x="56459" y="161695"/>
                  </a:lnTo>
                  <a:lnTo>
                    <a:pt x="59020" y="161695"/>
                  </a:lnTo>
                  <a:lnTo>
                    <a:pt x="60483" y="163889"/>
                  </a:lnTo>
                  <a:lnTo>
                    <a:pt x="63897" y="169011"/>
                  </a:lnTo>
                  <a:lnTo>
                    <a:pt x="73775" y="183766"/>
                  </a:lnTo>
                  <a:lnTo>
                    <a:pt x="74872" y="185473"/>
                  </a:lnTo>
                  <a:lnTo>
                    <a:pt x="74872" y="187546"/>
                  </a:lnTo>
                  <a:lnTo>
                    <a:pt x="73653" y="209374"/>
                  </a:lnTo>
                  <a:lnTo>
                    <a:pt x="76823" y="213398"/>
                  </a:lnTo>
                  <a:lnTo>
                    <a:pt x="82920" y="220958"/>
                  </a:lnTo>
                  <a:lnTo>
                    <a:pt x="82920" y="221690"/>
                  </a:lnTo>
                  <a:lnTo>
                    <a:pt x="90481" y="218885"/>
                  </a:lnTo>
                  <a:lnTo>
                    <a:pt x="114869" y="220836"/>
                  </a:lnTo>
                  <a:lnTo>
                    <a:pt x="116820" y="220836"/>
                  </a:lnTo>
                  <a:lnTo>
                    <a:pt x="118893" y="232299"/>
                  </a:lnTo>
                  <a:lnTo>
                    <a:pt x="131087" y="246444"/>
                  </a:lnTo>
                  <a:lnTo>
                    <a:pt x="136941" y="257419"/>
                  </a:lnTo>
                  <a:lnTo>
                    <a:pt x="138648" y="266077"/>
                  </a:lnTo>
                  <a:lnTo>
                    <a:pt x="151695" y="275588"/>
                  </a:lnTo>
                  <a:lnTo>
                    <a:pt x="152671" y="275588"/>
                  </a:lnTo>
                  <a:lnTo>
                    <a:pt x="160475" y="276442"/>
                  </a:lnTo>
                  <a:lnTo>
                    <a:pt x="173767" y="291684"/>
                  </a:lnTo>
                  <a:lnTo>
                    <a:pt x="183034" y="293513"/>
                  </a:lnTo>
                  <a:lnTo>
                    <a:pt x="188522" y="297172"/>
                  </a:lnTo>
                  <a:lnTo>
                    <a:pt x="226689" y="298025"/>
                  </a:lnTo>
                  <a:lnTo>
                    <a:pt x="237908" y="287782"/>
                  </a:lnTo>
                  <a:lnTo>
                    <a:pt x="245103" y="286685"/>
                  </a:lnTo>
                  <a:lnTo>
                    <a:pt x="250224" y="290465"/>
                  </a:lnTo>
                  <a:lnTo>
                    <a:pt x="254004" y="293269"/>
                  </a:lnTo>
                  <a:lnTo>
                    <a:pt x="258028" y="308512"/>
                  </a:lnTo>
                  <a:lnTo>
                    <a:pt x="258882" y="314975"/>
                  </a:lnTo>
                  <a:lnTo>
                    <a:pt x="267174" y="319975"/>
                  </a:lnTo>
                  <a:lnTo>
                    <a:pt x="285709" y="324609"/>
                  </a:lnTo>
                  <a:lnTo>
                    <a:pt x="297903" y="328267"/>
                  </a:lnTo>
                  <a:lnTo>
                    <a:pt x="311926" y="326438"/>
                  </a:lnTo>
                  <a:lnTo>
                    <a:pt x="324121" y="328389"/>
                  </a:lnTo>
                  <a:lnTo>
                    <a:pt x="336315" y="329364"/>
                  </a:lnTo>
                  <a:lnTo>
                    <a:pt x="341437" y="332779"/>
                  </a:lnTo>
                  <a:lnTo>
                    <a:pt x="343388" y="331803"/>
                  </a:lnTo>
                  <a:lnTo>
                    <a:pt x="343388" y="331437"/>
                  </a:lnTo>
                  <a:lnTo>
                    <a:pt x="344607" y="315585"/>
                  </a:lnTo>
                  <a:lnTo>
                    <a:pt x="344607" y="311927"/>
                  </a:lnTo>
                  <a:lnTo>
                    <a:pt x="348021" y="310463"/>
                  </a:lnTo>
                  <a:lnTo>
                    <a:pt x="359606" y="30558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1" name="Freihandform: Form 780">
              <a:extLst>
                <a:ext uri="{FF2B5EF4-FFF2-40B4-BE49-F238E27FC236}">
                  <a16:creationId xmlns:a16="http://schemas.microsoft.com/office/drawing/2014/main" id="{38443866-9F0A-4EB3-BC64-FAAC9FC06087}"/>
                </a:ext>
              </a:extLst>
            </p:cNvPr>
            <p:cNvSpPr/>
            <p:nvPr/>
          </p:nvSpPr>
          <p:spPr>
            <a:xfrm>
              <a:off x="6012374" y="3245502"/>
              <a:ext cx="40118" cy="68653"/>
            </a:xfrm>
            <a:custGeom>
              <a:avLst/>
              <a:gdLst>
                <a:gd name="connsiteX0" fmla="*/ 35485 w 40118"/>
                <a:gd name="connsiteY0" fmla="*/ 39387 h 68653"/>
                <a:gd name="connsiteX1" fmla="*/ 34631 w 40118"/>
                <a:gd name="connsiteY1" fmla="*/ 25608 h 68653"/>
                <a:gd name="connsiteX2" fmla="*/ 18657 w 40118"/>
                <a:gd name="connsiteY2" fmla="*/ 14389 h 68653"/>
                <a:gd name="connsiteX3" fmla="*/ 16706 w 40118"/>
                <a:gd name="connsiteY3" fmla="*/ 5487 h 68653"/>
                <a:gd name="connsiteX4" fmla="*/ 12804 w 40118"/>
                <a:gd name="connsiteY4" fmla="*/ 0 h 68653"/>
                <a:gd name="connsiteX5" fmla="*/ 8292 w 40118"/>
                <a:gd name="connsiteY5" fmla="*/ 0 h 68653"/>
                <a:gd name="connsiteX6" fmla="*/ 2683 w 40118"/>
                <a:gd name="connsiteY6" fmla="*/ 6341 h 68653"/>
                <a:gd name="connsiteX7" fmla="*/ 1829 w 40118"/>
                <a:gd name="connsiteY7" fmla="*/ 15243 h 68653"/>
                <a:gd name="connsiteX8" fmla="*/ 0 w 40118"/>
                <a:gd name="connsiteY8" fmla="*/ 24388 h 68653"/>
                <a:gd name="connsiteX9" fmla="*/ 6463 w 40118"/>
                <a:gd name="connsiteY9" fmla="*/ 61337 h 68653"/>
                <a:gd name="connsiteX10" fmla="*/ 12194 w 40118"/>
                <a:gd name="connsiteY10" fmla="*/ 68653 h 68653"/>
                <a:gd name="connsiteX11" fmla="*/ 22437 w 40118"/>
                <a:gd name="connsiteY11" fmla="*/ 68653 h 68653"/>
                <a:gd name="connsiteX12" fmla="*/ 40119 w 40118"/>
                <a:gd name="connsiteY12" fmla="*/ 50118 h 68653"/>
                <a:gd name="connsiteX13" fmla="*/ 39387 w 40118"/>
                <a:gd name="connsiteY13" fmla="*/ 44143 h 68653"/>
                <a:gd name="connsiteX14" fmla="*/ 35485 w 40118"/>
                <a:gd name="connsiteY14" fmla="*/ 39387 h 6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118" h="68653">
                  <a:moveTo>
                    <a:pt x="35485" y="39387"/>
                  </a:moveTo>
                  <a:lnTo>
                    <a:pt x="34631" y="25608"/>
                  </a:lnTo>
                  <a:lnTo>
                    <a:pt x="18657" y="14389"/>
                  </a:lnTo>
                  <a:lnTo>
                    <a:pt x="16706" y="5487"/>
                  </a:lnTo>
                  <a:lnTo>
                    <a:pt x="12804" y="0"/>
                  </a:lnTo>
                  <a:lnTo>
                    <a:pt x="8292" y="0"/>
                  </a:lnTo>
                  <a:lnTo>
                    <a:pt x="2683" y="6341"/>
                  </a:lnTo>
                  <a:lnTo>
                    <a:pt x="1829" y="15243"/>
                  </a:lnTo>
                  <a:lnTo>
                    <a:pt x="0" y="24388"/>
                  </a:lnTo>
                  <a:lnTo>
                    <a:pt x="6463" y="61337"/>
                  </a:lnTo>
                  <a:lnTo>
                    <a:pt x="12194" y="68653"/>
                  </a:lnTo>
                  <a:lnTo>
                    <a:pt x="22437" y="68653"/>
                  </a:lnTo>
                  <a:lnTo>
                    <a:pt x="40119" y="50118"/>
                  </a:lnTo>
                  <a:lnTo>
                    <a:pt x="39387" y="44143"/>
                  </a:lnTo>
                  <a:lnTo>
                    <a:pt x="35485" y="3938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2" name="Freihandform: Form 781">
              <a:extLst>
                <a:ext uri="{FF2B5EF4-FFF2-40B4-BE49-F238E27FC236}">
                  <a16:creationId xmlns:a16="http://schemas.microsoft.com/office/drawing/2014/main" id="{070AD47F-71F5-47DB-B1F2-FA5E8DF6243E}"/>
                </a:ext>
              </a:extLst>
            </p:cNvPr>
            <p:cNvSpPr/>
            <p:nvPr/>
          </p:nvSpPr>
          <p:spPr>
            <a:xfrm>
              <a:off x="5778734" y="2647013"/>
              <a:ext cx="571418" cy="627023"/>
            </a:xfrm>
            <a:custGeom>
              <a:avLst/>
              <a:gdLst>
                <a:gd name="connsiteX0" fmla="*/ 405334 w 571418"/>
                <a:gd name="connsiteY0" fmla="*/ 303513 h 627023"/>
                <a:gd name="connsiteX1" fmla="*/ 405212 w 571418"/>
                <a:gd name="connsiteY1" fmla="*/ 302293 h 627023"/>
                <a:gd name="connsiteX2" fmla="*/ 404480 w 571418"/>
                <a:gd name="connsiteY2" fmla="*/ 286197 h 627023"/>
                <a:gd name="connsiteX3" fmla="*/ 401554 w 571418"/>
                <a:gd name="connsiteY3" fmla="*/ 283148 h 627023"/>
                <a:gd name="connsiteX4" fmla="*/ 396554 w 571418"/>
                <a:gd name="connsiteY4" fmla="*/ 277539 h 627023"/>
                <a:gd name="connsiteX5" fmla="*/ 394603 w 571418"/>
                <a:gd name="connsiteY5" fmla="*/ 275466 h 627023"/>
                <a:gd name="connsiteX6" fmla="*/ 395091 w 571418"/>
                <a:gd name="connsiteY6" fmla="*/ 272662 h 627023"/>
                <a:gd name="connsiteX7" fmla="*/ 395213 w 571418"/>
                <a:gd name="connsiteY7" fmla="*/ 271686 h 627023"/>
                <a:gd name="connsiteX8" fmla="*/ 395579 w 571418"/>
                <a:gd name="connsiteY8" fmla="*/ 268759 h 627023"/>
                <a:gd name="connsiteX9" fmla="*/ 396310 w 571418"/>
                <a:gd name="connsiteY9" fmla="*/ 263638 h 627023"/>
                <a:gd name="connsiteX10" fmla="*/ 401676 w 571418"/>
                <a:gd name="connsiteY10" fmla="*/ 263638 h 627023"/>
                <a:gd name="connsiteX11" fmla="*/ 410090 w 571418"/>
                <a:gd name="connsiteY11" fmla="*/ 263638 h 627023"/>
                <a:gd name="connsiteX12" fmla="*/ 409358 w 571418"/>
                <a:gd name="connsiteY12" fmla="*/ 259736 h 627023"/>
                <a:gd name="connsiteX13" fmla="*/ 406310 w 571418"/>
                <a:gd name="connsiteY13" fmla="*/ 255833 h 627023"/>
                <a:gd name="connsiteX14" fmla="*/ 405090 w 571418"/>
                <a:gd name="connsiteY14" fmla="*/ 254126 h 627023"/>
                <a:gd name="connsiteX15" fmla="*/ 402773 w 571418"/>
                <a:gd name="connsiteY15" fmla="*/ 253517 h 627023"/>
                <a:gd name="connsiteX16" fmla="*/ 391921 w 571418"/>
                <a:gd name="connsiteY16" fmla="*/ 250346 h 627023"/>
                <a:gd name="connsiteX17" fmla="*/ 400578 w 571418"/>
                <a:gd name="connsiteY17" fmla="*/ 242664 h 627023"/>
                <a:gd name="connsiteX18" fmla="*/ 405090 w 571418"/>
                <a:gd name="connsiteY18" fmla="*/ 238762 h 627023"/>
                <a:gd name="connsiteX19" fmla="*/ 406919 w 571418"/>
                <a:gd name="connsiteY19" fmla="*/ 237054 h 627023"/>
                <a:gd name="connsiteX20" fmla="*/ 409480 w 571418"/>
                <a:gd name="connsiteY20" fmla="*/ 237176 h 627023"/>
                <a:gd name="connsiteX21" fmla="*/ 423747 w 571418"/>
                <a:gd name="connsiteY21" fmla="*/ 238030 h 627023"/>
                <a:gd name="connsiteX22" fmla="*/ 426186 w 571418"/>
                <a:gd name="connsiteY22" fmla="*/ 238152 h 627023"/>
                <a:gd name="connsiteX23" fmla="*/ 427893 w 571418"/>
                <a:gd name="connsiteY23" fmla="*/ 239981 h 627023"/>
                <a:gd name="connsiteX24" fmla="*/ 438258 w 571418"/>
                <a:gd name="connsiteY24" fmla="*/ 251200 h 627023"/>
                <a:gd name="connsiteX25" fmla="*/ 469231 w 571418"/>
                <a:gd name="connsiteY25" fmla="*/ 248639 h 627023"/>
                <a:gd name="connsiteX26" fmla="*/ 472646 w 571418"/>
                <a:gd name="connsiteY26" fmla="*/ 248273 h 627023"/>
                <a:gd name="connsiteX27" fmla="*/ 474597 w 571418"/>
                <a:gd name="connsiteY27" fmla="*/ 251078 h 627023"/>
                <a:gd name="connsiteX28" fmla="*/ 475816 w 571418"/>
                <a:gd name="connsiteY28" fmla="*/ 252541 h 627023"/>
                <a:gd name="connsiteX29" fmla="*/ 481060 w 571418"/>
                <a:gd name="connsiteY29" fmla="*/ 259858 h 627023"/>
                <a:gd name="connsiteX30" fmla="*/ 482401 w 571418"/>
                <a:gd name="connsiteY30" fmla="*/ 261931 h 627023"/>
                <a:gd name="connsiteX31" fmla="*/ 482157 w 571418"/>
                <a:gd name="connsiteY31" fmla="*/ 264369 h 627023"/>
                <a:gd name="connsiteX32" fmla="*/ 481426 w 571418"/>
                <a:gd name="connsiteY32" fmla="*/ 270954 h 627023"/>
                <a:gd name="connsiteX33" fmla="*/ 481182 w 571418"/>
                <a:gd name="connsiteY33" fmla="*/ 273393 h 627023"/>
                <a:gd name="connsiteX34" fmla="*/ 479352 w 571418"/>
                <a:gd name="connsiteY34" fmla="*/ 274978 h 627023"/>
                <a:gd name="connsiteX35" fmla="*/ 472036 w 571418"/>
                <a:gd name="connsiteY35" fmla="*/ 281075 h 627023"/>
                <a:gd name="connsiteX36" fmla="*/ 464110 w 571418"/>
                <a:gd name="connsiteY36" fmla="*/ 288026 h 627023"/>
                <a:gd name="connsiteX37" fmla="*/ 461183 w 571418"/>
                <a:gd name="connsiteY37" fmla="*/ 294489 h 627023"/>
                <a:gd name="connsiteX38" fmla="*/ 463744 w 571418"/>
                <a:gd name="connsiteY38" fmla="*/ 302659 h 627023"/>
                <a:gd name="connsiteX39" fmla="*/ 468866 w 571418"/>
                <a:gd name="connsiteY39" fmla="*/ 306927 h 627023"/>
                <a:gd name="connsiteX40" fmla="*/ 471426 w 571418"/>
                <a:gd name="connsiteY40" fmla="*/ 301562 h 627023"/>
                <a:gd name="connsiteX41" fmla="*/ 472646 w 571418"/>
                <a:gd name="connsiteY41" fmla="*/ 299123 h 627023"/>
                <a:gd name="connsiteX42" fmla="*/ 473987 w 571418"/>
                <a:gd name="connsiteY42" fmla="*/ 298757 h 627023"/>
                <a:gd name="connsiteX43" fmla="*/ 474353 w 571418"/>
                <a:gd name="connsiteY43" fmla="*/ 297781 h 627023"/>
                <a:gd name="connsiteX44" fmla="*/ 476426 w 571418"/>
                <a:gd name="connsiteY44" fmla="*/ 298025 h 627023"/>
                <a:gd name="connsiteX45" fmla="*/ 478743 w 571418"/>
                <a:gd name="connsiteY45" fmla="*/ 297416 h 627023"/>
                <a:gd name="connsiteX46" fmla="*/ 484718 w 571418"/>
                <a:gd name="connsiteY46" fmla="*/ 295830 h 627023"/>
                <a:gd name="connsiteX47" fmla="*/ 486181 w 571418"/>
                <a:gd name="connsiteY47" fmla="*/ 301927 h 627023"/>
                <a:gd name="connsiteX48" fmla="*/ 486669 w 571418"/>
                <a:gd name="connsiteY48" fmla="*/ 303756 h 627023"/>
                <a:gd name="connsiteX49" fmla="*/ 490693 w 571418"/>
                <a:gd name="connsiteY49" fmla="*/ 320463 h 627023"/>
                <a:gd name="connsiteX50" fmla="*/ 493132 w 571418"/>
                <a:gd name="connsiteY50" fmla="*/ 329730 h 627023"/>
                <a:gd name="connsiteX51" fmla="*/ 499595 w 571418"/>
                <a:gd name="connsiteY51" fmla="*/ 326316 h 627023"/>
                <a:gd name="connsiteX52" fmla="*/ 500448 w 571418"/>
                <a:gd name="connsiteY52" fmla="*/ 325828 h 627023"/>
                <a:gd name="connsiteX53" fmla="*/ 499717 w 571418"/>
                <a:gd name="connsiteY53" fmla="*/ 320706 h 627023"/>
                <a:gd name="connsiteX54" fmla="*/ 498863 w 571418"/>
                <a:gd name="connsiteY54" fmla="*/ 313634 h 627023"/>
                <a:gd name="connsiteX55" fmla="*/ 497644 w 571418"/>
                <a:gd name="connsiteY55" fmla="*/ 309244 h 627023"/>
                <a:gd name="connsiteX56" fmla="*/ 498985 w 571418"/>
                <a:gd name="connsiteY56" fmla="*/ 309244 h 627023"/>
                <a:gd name="connsiteX57" fmla="*/ 498985 w 571418"/>
                <a:gd name="connsiteY57" fmla="*/ 309000 h 627023"/>
                <a:gd name="connsiteX58" fmla="*/ 501546 w 571418"/>
                <a:gd name="connsiteY58" fmla="*/ 302537 h 627023"/>
                <a:gd name="connsiteX59" fmla="*/ 500936 w 571418"/>
                <a:gd name="connsiteY59" fmla="*/ 294611 h 627023"/>
                <a:gd name="connsiteX60" fmla="*/ 500448 w 571418"/>
                <a:gd name="connsiteY60" fmla="*/ 288514 h 627023"/>
                <a:gd name="connsiteX61" fmla="*/ 506546 w 571418"/>
                <a:gd name="connsiteY61" fmla="*/ 288026 h 627023"/>
                <a:gd name="connsiteX62" fmla="*/ 515691 w 571418"/>
                <a:gd name="connsiteY62" fmla="*/ 287294 h 627023"/>
                <a:gd name="connsiteX63" fmla="*/ 517520 w 571418"/>
                <a:gd name="connsiteY63" fmla="*/ 279734 h 627023"/>
                <a:gd name="connsiteX64" fmla="*/ 518008 w 571418"/>
                <a:gd name="connsiteY64" fmla="*/ 277905 h 627023"/>
                <a:gd name="connsiteX65" fmla="*/ 519228 w 571418"/>
                <a:gd name="connsiteY65" fmla="*/ 276685 h 627023"/>
                <a:gd name="connsiteX66" fmla="*/ 524837 w 571418"/>
                <a:gd name="connsiteY66" fmla="*/ 271564 h 627023"/>
                <a:gd name="connsiteX67" fmla="*/ 525081 w 571418"/>
                <a:gd name="connsiteY67" fmla="*/ 259614 h 627023"/>
                <a:gd name="connsiteX68" fmla="*/ 524837 w 571418"/>
                <a:gd name="connsiteY68" fmla="*/ 257053 h 627023"/>
                <a:gd name="connsiteX69" fmla="*/ 525081 w 571418"/>
                <a:gd name="connsiteY69" fmla="*/ 256809 h 627023"/>
                <a:gd name="connsiteX70" fmla="*/ 525081 w 571418"/>
                <a:gd name="connsiteY70" fmla="*/ 254980 h 627023"/>
                <a:gd name="connsiteX71" fmla="*/ 527276 w 571418"/>
                <a:gd name="connsiteY71" fmla="*/ 253151 h 627023"/>
                <a:gd name="connsiteX72" fmla="*/ 529593 w 571418"/>
                <a:gd name="connsiteY72" fmla="*/ 251200 h 627023"/>
                <a:gd name="connsiteX73" fmla="*/ 529593 w 571418"/>
                <a:gd name="connsiteY73" fmla="*/ 251200 h 627023"/>
                <a:gd name="connsiteX74" fmla="*/ 531056 w 571418"/>
                <a:gd name="connsiteY74" fmla="*/ 249371 h 627023"/>
                <a:gd name="connsiteX75" fmla="*/ 532153 w 571418"/>
                <a:gd name="connsiteY75" fmla="*/ 235957 h 627023"/>
                <a:gd name="connsiteX76" fmla="*/ 532275 w 571418"/>
                <a:gd name="connsiteY76" fmla="*/ 234250 h 627023"/>
                <a:gd name="connsiteX77" fmla="*/ 532641 w 571418"/>
                <a:gd name="connsiteY77" fmla="*/ 233762 h 627023"/>
                <a:gd name="connsiteX78" fmla="*/ 532641 w 571418"/>
                <a:gd name="connsiteY78" fmla="*/ 233396 h 627023"/>
                <a:gd name="connsiteX79" fmla="*/ 533617 w 571418"/>
                <a:gd name="connsiteY79" fmla="*/ 232421 h 627023"/>
                <a:gd name="connsiteX80" fmla="*/ 540202 w 571418"/>
                <a:gd name="connsiteY80" fmla="*/ 223031 h 627023"/>
                <a:gd name="connsiteX81" fmla="*/ 541055 w 571418"/>
                <a:gd name="connsiteY81" fmla="*/ 221934 h 627023"/>
                <a:gd name="connsiteX82" fmla="*/ 542274 w 571418"/>
                <a:gd name="connsiteY82" fmla="*/ 221324 h 627023"/>
                <a:gd name="connsiteX83" fmla="*/ 556663 w 571418"/>
                <a:gd name="connsiteY83" fmla="*/ 213276 h 627023"/>
                <a:gd name="connsiteX84" fmla="*/ 558615 w 571418"/>
                <a:gd name="connsiteY84" fmla="*/ 212178 h 627023"/>
                <a:gd name="connsiteX85" fmla="*/ 560931 w 571418"/>
                <a:gd name="connsiteY85" fmla="*/ 212666 h 627023"/>
                <a:gd name="connsiteX86" fmla="*/ 564956 w 571418"/>
                <a:gd name="connsiteY86" fmla="*/ 213520 h 627023"/>
                <a:gd name="connsiteX87" fmla="*/ 565809 w 571418"/>
                <a:gd name="connsiteY87" fmla="*/ 208276 h 627023"/>
                <a:gd name="connsiteX88" fmla="*/ 565443 w 571418"/>
                <a:gd name="connsiteY88" fmla="*/ 205715 h 627023"/>
                <a:gd name="connsiteX89" fmla="*/ 568248 w 571418"/>
                <a:gd name="connsiteY89" fmla="*/ 203520 h 627023"/>
                <a:gd name="connsiteX90" fmla="*/ 571419 w 571418"/>
                <a:gd name="connsiteY90" fmla="*/ 199374 h 627023"/>
                <a:gd name="connsiteX91" fmla="*/ 570321 w 571418"/>
                <a:gd name="connsiteY91" fmla="*/ 197180 h 627023"/>
                <a:gd name="connsiteX92" fmla="*/ 558249 w 571418"/>
                <a:gd name="connsiteY92" fmla="*/ 189375 h 627023"/>
                <a:gd name="connsiteX93" fmla="*/ 554834 w 571418"/>
                <a:gd name="connsiteY93" fmla="*/ 187058 h 627023"/>
                <a:gd name="connsiteX94" fmla="*/ 555566 w 571418"/>
                <a:gd name="connsiteY94" fmla="*/ 183034 h 627023"/>
                <a:gd name="connsiteX95" fmla="*/ 556176 w 571418"/>
                <a:gd name="connsiteY95" fmla="*/ 180108 h 627023"/>
                <a:gd name="connsiteX96" fmla="*/ 544469 w 571418"/>
                <a:gd name="connsiteY96" fmla="*/ 172913 h 627023"/>
                <a:gd name="connsiteX97" fmla="*/ 534592 w 571418"/>
                <a:gd name="connsiteY97" fmla="*/ 179010 h 627023"/>
                <a:gd name="connsiteX98" fmla="*/ 532885 w 571418"/>
                <a:gd name="connsiteY98" fmla="*/ 179986 h 627023"/>
                <a:gd name="connsiteX99" fmla="*/ 532153 w 571418"/>
                <a:gd name="connsiteY99" fmla="*/ 180596 h 627023"/>
                <a:gd name="connsiteX100" fmla="*/ 532031 w 571418"/>
                <a:gd name="connsiteY100" fmla="*/ 180473 h 627023"/>
                <a:gd name="connsiteX101" fmla="*/ 531422 w 571418"/>
                <a:gd name="connsiteY101" fmla="*/ 180961 h 627023"/>
                <a:gd name="connsiteX102" fmla="*/ 528251 w 571418"/>
                <a:gd name="connsiteY102" fmla="*/ 179010 h 627023"/>
                <a:gd name="connsiteX103" fmla="*/ 519715 w 571418"/>
                <a:gd name="connsiteY103" fmla="*/ 173767 h 627023"/>
                <a:gd name="connsiteX104" fmla="*/ 518618 w 571418"/>
                <a:gd name="connsiteY104" fmla="*/ 173157 h 627023"/>
                <a:gd name="connsiteX105" fmla="*/ 517276 w 571418"/>
                <a:gd name="connsiteY105" fmla="*/ 174864 h 627023"/>
                <a:gd name="connsiteX106" fmla="*/ 508253 w 571418"/>
                <a:gd name="connsiteY106" fmla="*/ 187790 h 627023"/>
                <a:gd name="connsiteX107" fmla="*/ 507521 w 571418"/>
                <a:gd name="connsiteY107" fmla="*/ 188766 h 627023"/>
                <a:gd name="connsiteX108" fmla="*/ 506546 w 571418"/>
                <a:gd name="connsiteY108" fmla="*/ 189497 h 627023"/>
                <a:gd name="connsiteX109" fmla="*/ 479840 w 571418"/>
                <a:gd name="connsiteY109" fmla="*/ 206569 h 627023"/>
                <a:gd name="connsiteX110" fmla="*/ 479475 w 571418"/>
                <a:gd name="connsiteY110" fmla="*/ 206813 h 627023"/>
                <a:gd name="connsiteX111" fmla="*/ 479109 w 571418"/>
                <a:gd name="connsiteY111" fmla="*/ 207057 h 627023"/>
                <a:gd name="connsiteX112" fmla="*/ 478987 w 571418"/>
                <a:gd name="connsiteY112" fmla="*/ 207057 h 627023"/>
                <a:gd name="connsiteX113" fmla="*/ 477523 w 571418"/>
                <a:gd name="connsiteY113" fmla="*/ 208032 h 627023"/>
                <a:gd name="connsiteX114" fmla="*/ 476670 w 571418"/>
                <a:gd name="connsiteY114" fmla="*/ 208154 h 627023"/>
                <a:gd name="connsiteX115" fmla="*/ 472402 w 571418"/>
                <a:gd name="connsiteY115" fmla="*/ 210105 h 627023"/>
                <a:gd name="connsiteX116" fmla="*/ 471914 w 571418"/>
                <a:gd name="connsiteY116" fmla="*/ 210349 h 627023"/>
                <a:gd name="connsiteX117" fmla="*/ 471792 w 571418"/>
                <a:gd name="connsiteY117" fmla="*/ 211325 h 627023"/>
                <a:gd name="connsiteX118" fmla="*/ 474231 w 571418"/>
                <a:gd name="connsiteY118" fmla="*/ 212300 h 627023"/>
                <a:gd name="connsiteX119" fmla="*/ 478255 w 571418"/>
                <a:gd name="connsiteY119" fmla="*/ 214007 h 627023"/>
                <a:gd name="connsiteX120" fmla="*/ 477889 w 571418"/>
                <a:gd name="connsiteY120" fmla="*/ 218275 h 627023"/>
                <a:gd name="connsiteX121" fmla="*/ 477523 w 571418"/>
                <a:gd name="connsiteY121" fmla="*/ 225958 h 627023"/>
                <a:gd name="connsiteX122" fmla="*/ 477158 w 571418"/>
                <a:gd name="connsiteY122" fmla="*/ 230957 h 627023"/>
                <a:gd name="connsiteX123" fmla="*/ 472280 w 571418"/>
                <a:gd name="connsiteY123" fmla="*/ 231689 h 627023"/>
                <a:gd name="connsiteX124" fmla="*/ 430942 w 571418"/>
                <a:gd name="connsiteY124" fmla="*/ 237420 h 627023"/>
                <a:gd name="connsiteX125" fmla="*/ 427406 w 571418"/>
                <a:gd name="connsiteY125" fmla="*/ 237908 h 627023"/>
                <a:gd name="connsiteX126" fmla="*/ 425210 w 571418"/>
                <a:gd name="connsiteY126" fmla="*/ 234981 h 627023"/>
                <a:gd name="connsiteX127" fmla="*/ 423138 w 571418"/>
                <a:gd name="connsiteY127" fmla="*/ 232177 h 627023"/>
                <a:gd name="connsiteX128" fmla="*/ 417894 w 571418"/>
                <a:gd name="connsiteY128" fmla="*/ 230957 h 627023"/>
                <a:gd name="connsiteX129" fmla="*/ 414358 w 571418"/>
                <a:gd name="connsiteY129" fmla="*/ 229982 h 627023"/>
                <a:gd name="connsiteX130" fmla="*/ 413504 w 571418"/>
                <a:gd name="connsiteY130" fmla="*/ 226446 h 627023"/>
                <a:gd name="connsiteX131" fmla="*/ 411431 w 571418"/>
                <a:gd name="connsiteY131" fmla="*/ 218154 h 627023"/>
                <a:gd name="connsiteX132" fmla="*/ 410943 w 571418"/>
                <a:gd name="connsiteY132" fmla="*/ 216568 h 627023"/>
                <a:gd name="connsiteX133" fmla="*/ 411431 w 571418"/>
                <a:gd name="connsiteY133" fmla="*/ 214983 h 627023"/>
                <a:gd name="connsiteX134" fmla="*/ 413138 w 571418"/>
                <a:gd name="connsiteY134" fmla="*/ 209130 h 627023"/>
                <a:gd name="connsiteX135" fmla="*/ 412407 w 571418"/>
                <a:gd name="connsiteY135" fmla="*/ 208398 h 627023"/>
                <a:gd name="connsiteX136" fmla="*/ 408992 w 571418"/>
                <a:gd name="connsiteY136" fmla="*/ 204740 h 627023"/>
                <a:gd name="connsiteX137" fmla="*/ 399359 w 571418"/>
                <a:gd name="connsiteY137" fmla="*/ 210227 h 627023"/>
                <a:gd name="connsiteX138" fmla="*/ 401554 w 571418"/>
                <a:gd name="connsiteY138" fmla="*/ 218641 h 627023"/>
                <a:gd name="connsiteX139" fmla="*/ 402529 w 571418"/>
                <a:gd name="connsiteY139" fmla="*/ 222421 h 627023"/>
                <a:gd name="connsiteX140" fmla="*/ 403017 w 571418"/>
                <a:gd name="connsiteY140" fmla="*/ 224373 h 627023"/>
                <a:gd name="connsiteX141" fmla="*/ 402164 w 571418"/>
                <a:gd name="connsiteY141" fmla="*/ 226324 h 627023"/>
                <a:gd name="connsiteX142" fmla="*/ 396310 w 571418"/>
                <a:gd name="connsiteY142" fmla="*/ 239737 h 627023"/>
                <a:gd name="connsiteX143" fmla="*/ 395091 w 571418"/>
                <a:gd name="connsiteY143" fmla="*/ 242786 h 627023"/>
                <a:gd name="connsiteX144" fmla="*/ 391798 w 571418"/>
                <a:gd name="connsiteY144" fmla="*/ 243395 h 627023"/>
                <a:gd name="connsiteX145" fmla="*/ 370702 w 571418"/>
                <a:gd name="connsiteY145" fmla="*/ 246810 h 627023"/>
                <a:gd name="connsiteX146" fmla="*/ 369239 w 571418"/>
                <a:gd name="connsiteY146" fmla="*/ 247054 h 627023"/>
                <a:gd name="connsiteX147" fmla="*/ 367776 w 571418"/>
                <a:gd name="connsiteY147" fmla="*/ 246566 h 627023"/>
                <a:gd name="connsiteX148" fmla="*/ 345948 w 571418"/>
                <a:gd name="connsiteY148" fmla="*/ 239371 h 627023"/>
                <a:gd name="connsiteX149" fmla="*/ 344973 w 571418"/>
                <a:gd name="connsiteY149" fmla="*/ 239005 h 627023"/>
                <a:gd name="connsiteX150" fmla="*/ 344241 w 571418"/>
                <a:gd name="connsiteY150" fmla="*/ 238396 h 627023"/>
                <a:gd name="connsiteX151" fmla="*/ 335096 w 571418"/>
                <a:gd name="connsiteY151" fmla="*/ 231445 h 627023"/>
                <a:gd name="connsiteX152" fmla="*/ 321682 w 571418"/>
                <a:gd name="connsiteY152" fmla="*/ 221324 h 627023"/>
                <a:gd name="connsiteX153" fmla="*/ 302171 w 571418"/>
                <a:gd name="connsiteY153" fmla="*/ 219617 h 627023"/>
                <a:gd name="connsiteX154" fmla="*/ 301805 w 571418"/>
                <a:gd name="connsiteY154" fmla="*/ 219495 h 627023"/>
                <a:gd name="connsiteX155" fmla="*/ 301440 w 571418"/>
                <a:gd name="connsiteY155" fmla="*/ 219495 h 627023"/>
                <a:gd name="connsiteX156" fmla="*/ 276442 w 571418"/>
                <a:gd name="connsiteY156" fmla="*/ 214251 h 627023"/>
                <a:gd name="connsiteX157" fmla="*/ 266077 w 571418"/>
                <a:gd name="connsiteY157" fmla="*/ 212056 h 627023"/>
                <a:gd name="connsiteX158" fmla="*/ 264979 w 571418"/>
                <a:gd name="connsiteY158" fmla="*/ 211813 h 627023"/>
                <a:gd name="connsiteX159" fmla="*/ 264126 w 571418"/>
                <a:gd name="connsiteY159" fmla="*/ 211203 h 627023"/>
                <a:gd name="connsiteX160" fmla="*/ 255346 w 571418"/>
                <a:gd name="connsiteY160" fmla="*/ 205959 h 627023"/>
                <a:gd name="connsiteX161" fmla="*/ 245591 w 571418"/>
                <a:gd name="connsiteY161" fmla="*/ 201813 h 627023"/>
                <a:gd name="connsiteX162" fmla="*/ 243152 w 571418"/>
                <a:gd name="connsiteY162" fmla="*/ 200716 h 627023"/>
                <a:gd name="connsiteX163" fmla="*/ 240591 w 571418"/>
                <a:gd name="connsiteY163" fmla="*/ 199618 h 627023"/>
                <a:gd name="connsiteX164" fmla="*/ 239737 w 571418"/>
                <a:gd name="connsiteY164" fmla="*/ 196936 h 627023"/>
                <a:gd name="connsiteX165" fmla="*/ 235469 w 571418"/>
                <a:gd name="connsiteY165" fmla="*/ 183522 h 627023"/>
                <a:gd name="connsiteX166" fmla="*/ 234860 w 571418"/>
                <a:gd name="connsiteY166" fmla="*/ 181327 h 627023"/>
                <a:gd name="connsiteX167" fmla="*/ 235713 w 571418"/>
                <a:gd name="connsiteY167" fmla="*/ 179254 h 627023"/>
                <a:gd name="connsiteX168" fmla="*/ 241079 w 571418"/>
                <a:gd name="connsiteY168" fmla="*/ 166938 h 627023"/>
                <a:gd name="connsiteX169" fmla="*/ 244005 w 571418"/>
                <a:gd name="connsiteY169" fmla="*/ 158890 h 627023"/>
                <a:gd name="connsiteX170" fmla="*/ 245346 w 571418"/>
                <a:gd name="connsiteY170" fmla="*/ 155232 h 627023"/>
                <a:gd name="connsiteX171" fmla="*/ 232665 w 571418"/>
                <a:gd name="connsiteY171" fmla="*/ 142550 h 627023"/>
                <a:gd name="connsiteX172" fmla="*/ 217666 w 571418"/>
                <a:gd name="connsiteY172" fmla="*/ 142550 h 627023"/>
                <a:gd name="connsiteX173" fmla="*/ 216325 w 571418"/>
                <a:gd name="connsiteY173" fmla="*/ 141696 h 627023"/>
                <a:gd name="connsiteX174" fmla="*/ 208032 w 571418"/>
                <a:gd name="connsiteY174" fmla="*/ 137062 h 627023"/>
                <a:gd name="connsiteX175" fmla="*/ 204618 w 571418"/>
                <a:gd name="connsiteY175" fmla="*/ 135111 h 627023"/>
                <a:gd name="connsiteX176" fmla="*/ 204984 w 571418"/>
                <a:gd name="connsiteY176" fmla="*/ 131209 h 627023"/>
                <a:gd name="connsiteX177" fmla="*/ 206081 w 571418"/>
                <a:gd name="connsiteY177" fmla="*/ 116210 h 627023"/>
                <a:gd name="connsiteX178" fmla="*/ 197911 w 571418"/>
                <a:gd name="connsiteY178" fmla="*/ 109016 h 627023"/>
                <a:gd name="connsiteX179" fmla="*/ 193034 w 571418"/>
                <a:gd name="connsiteY179" fmla="*/ 104748 h 627023"/>
                <a:gd name="connsiteX180" fmla="*/ 197668 w 571418"/>
                <a:gd name="connsiteY180" fmla="*/ 100114 h 627023"/>
                <a:gd name="connsiteX181" fmla="*/ 199375 w 571418"/>
                <a:gd name="connsiteY181" fmla="*/ 98407 h 627023"/>
                <a:gd name="connsiteX182" fmla="*/ 202911 w 571418"/>
                <a:gd name="connsiteY182" fmla="*/ 94992 h 627023"/>
                <a:gd name="connsiteX183" fmla="*/ 207057 w 571418"/>
                <a:gd name="connsiteY183" fmla="*/ 97675 h 627023"/>
                <a:gd name="connsiteX184" fmla="*/ 213276 w 571418"/>
                <a:gd name="connsiteY184" fmla="*/ 101821 h 627023"/>
                <a:gd name="connsiteX185" fmla="*/ 214983 w 571418"/>
                <a:gd name="connsiteY185" fmla="*/ 100480 h 627023"/>
                <a:gd name="connsiteX186" fmla="*/ 216325 w 571418"/>
                <a:gd name="connsiteY186" fmla="*/ 99504 h 627023"/>
                <a:gd name="connsiteX187" fmla="*/ 216690 w 571418"/>
                <a:gd name="connsiteY187" fmla="*/ 99260 h 627023"/>
                <a:gd name="connsiteX188" fmla="*/ 217178 w 571418"/>
                <a:gd name="connsiteY188" fmla="*/ 98895 h 627023"/>
                <a:gd name="connsiteX189" fmla="*/ 217788 w 571418"/>
                <a:gd name="connsiteY189" fmla="*/ 98651 h 627023"/>
                <a:gd name="connsiteX190" fmla="*/ 216203 w 571418"/>
                <a:gd name="connsiteY190" fmla="*/ 93895 h 627023"/>
                <a:gd name="connsiteX191" fmla="*/ 215349 w 571418"/>
                <a:gd name="connsiteY191" fmla="*/ 90968 h 627023"/>
                <a:gd name="connsiteX192" fmla="*/ 212057 w 571418"/>
                <a:gd name="connsiteY192" fmla="*/ 84871 h 627023"/>
                <a:gd name="connsiteX193" fmla="*/ 209618 w 571418"/>
                <a:gd name="connsiteY193" fmla="*/ 79994 h 627023"/>
                <a:gd name="connsiteX194" fmla="*/ 208764 w 571418"/>
                <a:gd name="connsiteY194" fmla="*/ 78287 h 627023"/>
                <a:gd name="connsiteX195" fmla="*/ 209130 w 571418"/>
                <a:gd name="connsiteY195" fmla="*/ 76335 h 627023"/>
                <a:gd name="connsiteX196" fmla="*/ 209740 w 571418"/>
                <a:gd name="connsiteY196" fmla="*/ 71945 h 627023"/>
                <a:gd name="connsiteX197" fmla="*/ 210106 w 571418"/>
                <a:gd name="connsiteY197" fmla="*/ 69629 h 627023"/>
                <a:gd name="connsiteX198" fmla="*/ 212057 w 571418"/>
                <a:gd name="connsiteY198" fmla="*/ 68165 h 627023"/>
                <a:gd name="connsiteX199" fmla="*/ 227665 w 571418"/>
                <a:gd name="connsiteY199" fmla="*/ 56093 h 627023"/>
                <a:gd name="connsiteX200" fmla="*/ 229128 w 571418"/>
                <a:gd name="connsiteY200" fmla="*/ 51215 h 627023"/>
                <a:gd name="connsiteX201" fmla="*/ 230957 w 571418"/>
                <a:gd name="connsiteY201" fmla="*/ 45484 h 627023"/>
                <a:gd name="connsiteX202" fmla="*/ 231080 w 571418"/>
                <a:gd name="connsiteY202" fmla="*/ 45118 h 627023"/>
                <a:gd name="connsiteX203" fmla="*/ 231202 w 571418"/>
                <a:gd name="connsiteY203" fmla="*/ 44753 h 627023"/>
                <a:gd name="connsiteX204" fmla="*/ 232909 w 571418"/>
                <a:gd name="connsiteY204" fmla="*/ 40972 h 627023"/>
                <a:gd name="connsiteX205" fmla="*/ 231323 w 571418"/>
                <a:gd name="connsiteY205" fmla="*/ 39875 h 627023"/>
                <a:gd name="connsiteX206" fmla="*/ 225714 w 571418"/>
                <a:gd name="connsiteY206" fmla="*/ 36582 h 627023"/>
                <a:gd name="connsiteX207" fmla="*/ 223275 w 571418"/>
                <a:gd name="connsiteY207" fmla="*/ 35485 h 627023"/>
                <a:gd name="connsiteX208" fmla="*/ 221690 w 571418"/>
                <a:gd name="connsiteY208" fmla="*/ 37802 h 627023"/>
                <a:gd name="connsiteX209" fmla="*/ 218275 w 571418"/>
                <a:gd name="connsiteY209" fmla="*/ 37192 h 627023"/>
                <a:gd name="connsiteX210" fmla="*/ 218032 w 571418"/>
                <a:gd name="connsiteY210" fmla="*/ 37314 h 627023"/>
                <a:gd name="connsiteX211" fmla="*/ 217056 w 571418"/>
                <a:gd name="connsiteY211" fmla="*/ 36948 h 627023"/>
                <a:gd name="connsiteX212" fmla="*/ 212666 w 571418"/>
                <a:gd name="connsiteY212" fmla="*/ 36095 h 627023"/>
                <a:gd name="connsiteX213" fmla="*/ 202423 w 571418"/>
                <a:gd name="connsiteY213" fmla="*/ 41094 h 627023"/>
                <a:gd name="connsiteX214" fmla="*/ 197424 w 571418"/>
                <a:gd name="connsiteY214" fmla="*/ 43777 h 627023"/>
                <a:gd name="connsiteX215" fmla="*/ 195960 w 571418"/>
                <a:gd name="connsiteY215" fmla="*/ 44509 h 627023"/>
                <a:gd name="connsiteX216" fmla="*/ 194375 w 571418"/>
                <a:gd name="connsiteY216" fmla="*/ 44509 h 627023"/>
                <a:gd name="connsiteX217" fmla="*/ 183644 w 571418"/>
                <a:gd name="connsiteY217" fmla="*/ 44387 h 627023"/>
                <a:gd name="connsiteX218" fmla="*/ 176450 w 571418"/>
                <a:gd name="connsiteY218" fmla="*/ 44143 h 627023"/>
                <a:gd name="connsiteX219" fmla="*/ 177791 w 571418"/>
                <a:gd name="connsiteY219" fmla="*/ 37070 h 627023"/>
                <a:gd name="connsiteX220" fmla="*/ 178035 w 571418"/>
                <a:gd name="connsiteY220" fmla="*/ 36095 h 627023"/>
                <a:gd name="connsiteX221" fmla="*/ 172669 w 571418"/>
                <a:gd name="connsiteY221" fmla="*/ 33290 h 627023"/>
                <a:gd name="connsiteX222" fmla="*/ 170962 w 571418"/>
                <a:gd name="connsiteY222" fmla="*/ 32436 h 627023"/>
                <a:gd name="connsiteX223" fmla="*/ 169987 w 571418"/>
                <a:gd name="connsiteY223" fmla="*/ 30607 h 627023"/>
                <a:gd name="connsiteX224" fmla="*/ 166572 w 571418"/>
                <a:gd name="connsiteY224" fmla="*/ 23900 h 627023"/>
                <a:gd name="connsiteX225" fmla="*/ 160231 w 571418"/>
                <a:gd name="connsiteY225" fmla="*/ 20730 h 627023"/>
                <a:gd name="connsiteX226" fmla="*/ 159256 w 571418"/>
                <a:gd name="connsiteY226" fmla="*/ 20242 h 627023"/>
                <a:gd name="connsiteX227" fmla="*/ 158524 w 571418"/>
                <a:gd name="connsiteY227" fmla="*/ 19389 h 627023"/>
                <a:gd name="connsiteX228" fmla="*/ 153769 w 571418"/>
                <a:gd name="connsiteY228" fmla="*/ 14267 h 627023"/>
                <a:gd name="connsiteX229" fmla="*/ 148403 w 571418"/>
                <a:gd name="connsiteY229" fmla="*/ 10487 h 627023"/>
                <a:gd name="connsiteX230" fmla="*/ 141452 w 571418"/>
                <a:gd name="connsiteY230" fmla="*/ 5853 h 627023"/>
                <a:gd name="connsiteX231" fmla="*/ 140477 w 571418"/>
                <a:gd name="connsiteY231" fmla="*/ 5122 h 627023"/>
                <a:gd name="connsiteX232" fmla="*/ 139745 w 571418"/>
                <a:gd name="connsiteY232" fmla="*/ 4146 h 627023"/>
                <a:gd name="connsiteX233" fmla="*/ 138282 w 571418"/>
                <a:gd name="connsiteY233" fmla="*/ 1829 h 627023"/>
                <a:gd name="connsiteX234" fmla="*/ 137184 w 571418"/>
                <a:gd name="connsiteY234" fmla="*/ 1341 h 627023"/>
                <a:gd name="connsiteX235" fmla="*/ 133526 w 571418"/>
                <a:gd name="connsiteY235" fmla="*/ 0 h 627023"/>
                <a:gd name="connsiteX236" fmla="*/ 131453 w 571418"/>
                <a:gd name="connsiteY236" fmla="*/ 1219 h 627023"/>
                <a:gd name="connsiteX237" fmla="*/ 130234 w 571418"/>
                <a:gd name="connsiteY237" fmla="*/ 1951 h 627023"/>
                <a:gd name="connsiteX238" fmla="*/ 127795 w 571418"/>
                <a:gd name="connsiteY238" fmla="*/ 3536 h 627023"/>
                <a:gd name="connsiteX239" fmla="*/ 125112 w 571418"/>
                <a:gd name="connsiteY239" fmla="*/ 2561 h 627023"/>
                <a:gd name="connsiteX240" fmla="*/ 121820 w 571418"/>
                <a:gd name="connsiteY240" fmla="*/ 1463 h 627023"/>
                <a:gd name="connsiteX241" fmla="*/ 121576 w 571418"/>
                <a:gd name="connsiteY241" fmla="*/ 2439 h 627023"/>
                <a:gd name="connsiteX242" fmla="*/ 120113 w 571418"/>
                <a:gd name="connsiteY242" fmla="*/ 7195 h 627023"/>
                <a:gd name="connsiteX243" fmla="*/ 115113 w 571418"/>
                <a:gd name="connsiteY243" fmla="*/ 6707 h 627023"/>
                <a:gd name="connsiteX244" fmla="*/ 109992 w 571418"/>
                <a:gd name="connsiteY244" fmla="*/ 6341 h 627023"/>
                <a:gd name="connsiteX245" fmla="*/ 97553 w 571418"/>
                <a:gd name="connsiteY245" fmla="*/ 16462 h 627023"/>
                <a:gd name="connsiteX246" fmla="*/ 98895 w 571418"/>
                <a:gd name="connsiteY246" fmla="*/ 20364 h 627023"/>
                <a:gd name="connsiteX247" fmla="*/ 99870 w 571418"/>
                <a:gd name="connsiteY247" fmla="*/ 20486 h 627023"/>
                <a:gd name="connsiteX248" fmla="*/ 106943 w 571418"/>
                <a:gd name="connsiteY248" fmla="*/ 21706 h 627023"/>
                <a:gd name="connsiteX249" fmla="*/ 110235 w 571418"/>
                <a:gd name="connsiteY249" fmla="*/ 22315 h 627023"/>
                <a:gd name="connsiteX250" fmla="*/ 111577 w 571418"/>
                <a:gd name="connsiteY250" fmla="*/ 25364 h 627023"/>
                <a:gd name="connsiteX251" fmla="*/ 112430 w 571418"/>
                <a:gd name="connsiteY251" fmla="*/ 27437 h 627023"/>
                <a:gd name="connsiteX252" fmla="*/ 116698 w 571418"/>
                <a:gd name="connsiteY252" fmla="*/ 28290 h 627023"/>
                <a:gd name="connsiteX253" fmla="*/ 126453 w 571418"/>
                <a:gd name="connsiteY253" fmla="*/ 29998 h 627023"/>
                <a:gd name="connsiteX254" fmla="*/ 121942 w 571418"/>
                <a:gd name="connsiteY254" fmla="*/ 36095 h 627023"/>
                <a:gd name="connsiteX255" fmla="*/ 122917 w 571418"/>
                <a:gd name="connsiteY255" fmla="*/ 36826 h 627023"/>
                <a:gd name="connsiteX256" fmla="*/ 126210 w 571418"/>
                <a:gd name="connsiteY256" fmla="*/ 39753 h 627023"/>
                <a:gd name="connsiteX257" fmla="*/ 124381 w 571418"/>
                <a:gd name="connsiteY257" fmla="*/ 43899 h 627023"/>
                <a:gd name="connsiteX258" fmla="*/ 120113 w 571418"/>
                <a:gd name="connsiteY258" fmla="*/ 53776 h 627023"/>
                <a:gd name="connsiteX259" fmla="*/ 119625 w 571418"/>
                <a:gd name="connsiteY259" fmla="*/ 62190 h 627023"/>
                <a:gd name="connsiteX260" fmla="*/ 118406 w 571418"/>
                <a:gd name="connsiteY260" fmla="*/ 86091 h 627023"/>
                <a:gd name="connsiteX261" fmla="*/ 129258 w 571418"/>
                <a:gd name="connsiteY261" fmla="*/ 89749 h 627023"/>
                <a:gd name="connsiteX262" fmla="*/ 130721 w 571418"/>
                <a:gd name="connsiteY262" fmla="*/ 90237 h 627023"/>
                <a:gd name="connsiteX263" fmla="*/ 131697 w 571418"/>
                <a:gd name="connsiteY263" fmla="*/ 91334 h 627023"/>
                <a:gd name="connsiteX264" fmla="*/ 144623 w 571418"/>
                <a:gd name="connsiteY264" fmla="*/ 105114 h 627023"/>
                <a:gd name="connsiteX265" fmla="*/ 147306 w 571418"/>
                <a:gd name="connsiteY265" fmla="*/ 107918 h 627023"/>
                <a:gd name="connsiteX266" fmla="*/ 145842 w 571418"/>
                <a:gd name="connsiteY266" fmla="*/ 111577 h 627023"/>
                <a:gd name="connsiteX267" fmla="*/ 142794 w 571418"/>
                <a:gd name="connsiteY267" fmla="*/ 119259 h 627023"/>
                <a:gd name="connsiteX268" fmla="*/ 142184 w 571418"/>
                <a:gd name="connsiteY268" fmla="*/ 120722 h 627023"/>
                <a:gd name="connsiteX269" fmla="*/ 140843 w 571418"/>
                <a:gd name="connsiteY269" fmla="*/ 121698 h 627023"/>
                <a:gd name="connsiteX270" fmla="*/ 128405 w 571418"/>
                <a:gd name="connsiteY270" fmla="*/ 131697 h 627023"/>
                <a:gd name="connsiteX271" fmla="*/ 125966 w 571418"/>
                <a:gd name="connsiteY271" fmla="*/ 149866 h 627023"/>
                <a:gd name="connsiteX272" fmla="*/ 125478 w 571418"/>
                <a:gd name="connsiteY272" fmla="*/ 153037 h 627023"/>
                <a:gd name="connsiteX273" fmla="*/ 122552 w 571418"/>
                <a:gd name="connsiteY273" fmla="*/ 154500 h 627023"/>
                <a:gd name="connsiteX274" fmla="*/ 111943 w 571418"/>
                <a:gd name="connsiteY274" fmla="*/ 159743 h 627023"/>
                <a:gd name="connsiteX275" fmla="*/ 111089 w 571418"/>
                <a:gd name="connsiteY275" fmla="*/ 163402 h 627023"/>
                <a:gd name="connsiteX276" fmla="*/ 107918 w 571418"/>
                <a:gd name="connsiteY276" fmla="*/ 176206 h 627023"/>
                <a:gd name="connsiteX277" fmla="*/ 107431 w 571418"/>
                <a:gd name="connsiteY277" fmla="*/ 178035 h 627023"/>
                <a:gd name="connsiteX278" fmla="*/ 106211 w 571418"/>
                <a:gd name="connsiteY278" fmla="*/ 179254 h 627023"/>
                <a:gd name="connsiteX279" fmla="*/ 69873 w 571418"/>
                <a:gd name="connsiteY279" fmla="*/ 213764 h 627023"/>
                <a:gd name="connsiteX280" fmla="*/ 67434 w 571418"/>
                <a:gd name="connsiteY280" fmla="*/ 216081 h 627023"/>
                <a:gd name="connsiteX281" fmla="*/ 65848 w 571418"/>
                <a:gd name="connsiteY281" fmla="*/ 217544 h 627023"/>
                <a:gd name="connsiteX282" fmla="*/ 63654 w 571418"/>
                <a:gd name="connsiteY282" fmla="*/ 217666 h 627023"/>
                <a:gd name="connsiteX283" fmla="*/ 50118 w 571418"/>
                <a:gd name="connsiteY283" fmla="*/ 218519 h 627023"/>
                <a:gd name="connsiteX284" fmla="*/ 47679 w 571418"/>
                <a:gd name="connsiteY284" fmla="*/ 218763 h 627023"/>
                <a:gd name="connsiteX285" fmla="*/ 45728 w 571418"/>
                <a:gd name="connsiteY285" fmla="*/ 217056 h 627023"/>
                <a:gd name="connsiteX286" fmla="*/ 43167 w 571418"/>
                <a:gd name="connsiteY286" fmla="*/ 214861 h 627023"/>
                <a:gd name="connsiteX287" fmla="*/ 43167 w 571418"/>
                <a:gd name="connsiteY287" fmla="*/ 214861 h 627023"/>
                <a:gd name="connsiteX288" fmla="*/ 43045 w 571418"/>
                <a:gd name="connsiteY288" fmla="*/ 214739 h 627023"/>
                <a:gd name="connsiteX289" fmla="*/ 35485 w 571418"/>
                <a:gd name="connsiteY289" fmla="*/ 233274 h 627023"/>
                <a:gd name="connsiteX290" fmla="*/ 54020 w 571418"/>
                <a:gd name="connsiteY290" fmla="*/ 264979 h 627023"/>
                <a:gd name="connsiteX291" fmla="*/ 56825 w 571418"/>
                <a:gd name="connsiteY291" fmla="*/ 269735 h 627023"/>
                <a:gd name="connsiteX292" fmla="*/ 57801 w 571418"/>
                <a:gd name="connsiteY292" fmla="*/ 271442 h 627023"/>
                <a:gd name="connsiteX293" fmla="*/ 57679 w 571418"/>
                <a:gd name="connsiteY293" fmla="*/ 273393 h 627023"/>
                <a:gd name="connsiteX294" fmla="*/ 57191 w 571418"/>
                <a:gd name="connsiteY294" fmla="*/ 277051 h 627023"/>
                <a:gd name="connsiteX295" fmla="*/ 56093 w 571418"/>
                <a:gd name="connsiteY295" fmla="*/ 287660 h 627023"/>
                <a:gd name="connsiteX296" fmla="*/ 55362 w 571418"/>
                <a:gd name="connsiteY296" fmla="*/ 293757 h 627023"/>
                <a:gd name="connsiteX297" fmla="*/ 49265 w 571418"/>
                <a:gd name="connsiteY297" fmla="*/ 293026 h 627023"/>
                <a:gd name="connsiteX298" fmla="*/ 36705 w 571418"/>
                <a:gd name="connsiteY298" fmla="*/ 291319 h 627023"/>
                <a:gd name="connsiteX299" fmla="*/ 23291 w 571418"/>
                <a:gd name="connsiteY299" fmla="*/ 289611 h 627023"/>
                <a:gd name="connsiteX300" fmla="*/ 8902 w 571418"/>
                <a:gd name="connsiteY300" fmla="*/ 297294 h 627023"/>
                <a:gd name="connsiteX301" fmla="*/ 5365 w 571418"/>
                <a:gd name="connsiteY301" fmla="*/ 301196 h 627023"/>
                <a:gd name="connsiteX302" fmla="*/ 610 w 571418"/>
                <a:gd name="connsiteY302" fmla="*/ 306195 h 627023"/>
                <a:gd name="connsiteX303" fmla="*/ 0 w 571418"/>
                <a:gd name="connsiteY303" fmla="*/ 306927 h 627023"/>
                <a:gd name="connsiteX304" fmla="*/ 0 w 571418"/>
                <a:gd name="connsiteY304" fmla="*/ 306927 h 627023"/>
                <a:gd name="connsiteX305" fmla="*/ 1097 w 571418"/>
                <a:gd name="connsiteY305" fmla="*/ 308268 h 627023"/>
                <a:gd name="connsiteX306" fmla="*/ 7439 w 571418"/>
                <a:gd name="connsiteY306" fmla="*/ 310341 h 627023"/>
                <a:gd name="connsiteX307" fmla="*/ 8536 w 571418"/>
                <a:gd name="connsiteY307" fmla="*/ 319487 h 627023"/>
                <a:gd name="connsiteX308" fmla="*/ 13048 w 571418"/>
                <a:gd name="connsiteY308" fmla="*/ 323999 h 627023"/>
                <a:gd name="connsiteX309" fmla="*/ 26096 w 571418"/>
                <a:gd name="connsiteY309" fmla="*/ 323999 h 627023"/>
                <a:gd name="connsiteX310" fmla="*/ 46216 w 571418"/>
                <a:gd name="connsiteY310" fmla="*/ 318633 h 627023"/>
                <a:gd name="connsiteX311" fmla="*/ 34144 w 571418"/>
                <a:gd name="connsiteY311" fmla="*/ 333754 h 627023"/>
                <a:gd name="connsiteX312" fmla="*/ 23413 w 571418"/>
                <a:gd name="connsiteY312" fmla="*/ 335827 h 627023"/>
                <a:gd name="connsiteX313" fmla="*/ 23413 w 571418"/>
                <a:gd name="connsiteY313" fmla="*/ 335827 h 627023"/>
                <a:gd name="connsiteX314" fmla="*/ 17316 w 571418"/>
                <a:gd name="connsiteY314" fmla="*/ 334486 h 627023"/>
                <a:gd name="connsiteX315" fmla="*/ 17925 w 571418"/>
                <a:gd name="connsiteY315" fmla="*/ 341315 h 627023"/>
                <a:gd name="connsiteX316" fmla="*/ 37070 w 571418"/>
                <a:gd name="connsiteY316" fmla="*/ 360337 h 627023"/>
                <a:gd name="connsiteX317" fmla="*/ 49387 w 571418"/>
                <a:gd name="connsiteY317" fmla="*/ 367410 h 627023"/>
                <a:gd name="connsiteX318" fmla="*/ 68531 w 571418"/>
                <a:gd name="connsiteY318" fmla="*/ 364849 h 627023"/>
                <a:gd name="connsiteX319" fmla="*/ 73409 w 571418"/>
                <a:gd name="connsiteY319" fmla="*/ 357655 h 627023"/>
                <a:gd name="connsiteX320" fmla="*/ 73409 w 571418"/>
                <a:gd name="connsiteY320" fmla="*/ 352167 h 627023"/>
                <a:gd name="connsiteX321" fmla="*/ 78043 w 571418"/>
                <a:gd name="connsiteY321" fmla="*/ 330462 h 627023"/>
                <a:gd name="connsiteX322" fmla="*/ 89018 w 571418"/>
                <a:gd name="connsiteY322" fmla="*/ 341437 h 627023"/>
                <a:gd name="connsiteX323" fmla="*/ 88042 w 571418"/>
                <a:gd name="connsiteY323" fmla="*/ 359606 h 627023"/>
                <a:gd name="connsiteX324" fmla="*/ 90847 w 571418"/>
                <a:gd name="connsiteY324" fmla="*/ 364361 h 627023"/>
                <a:gd name="connsiteX325" fmla="*/ 91822 w 571418"/>
                <a:gd name="connsiteY325" fmla="*/ 396798 h 627023"/>
                <a:gd name="connsiteX326" fmla="*/ 96456 w 571418"/>
                <a:gd name="connsiteY326" fmla="*/ 426796 h 627023"/>
                <a:gd name="connsiteX327" fmla="*/ 106699 w 571418"/>
                <a:gd name="connsiteY327" fmla="*/ 461305 h 627023"/>
                <a:gd name="connsiteX328" fmla="*/ 109747 w 571418"/>
                <a:gd name="connsiteY328" fmla="*/ 465939 h 627023"/>
                <a:gd name="connsiteX329" fmla="*/ 114381 w 571418"/>
                <a:gd name="connsiteY329" fmla="*/ 472768 h 627023"/>
                <a:gd name="connsiteX330" fmla="*/ 123771 w 571418"/>
                <a:gd name="connsiteY330" fmla="*/ 495815 h 627023"/>
                <a:gd name="connsiteX331" fmla="*/ 127673 w 571418"/>
                <a:gd name="connsiteY331" fmla="*/ 505204 h 627023"/>
                <a:gd name="connsiteX332" fmla="*/ 130478 w 571418"/>
                <a:gd name="connsiteY332" fmla="*/ 516545 h 627023"/>
                <a:gd name="connsiteX333" fmla="*/ 134258 w 571418"/>
                <a:gd name="connsiteY333" fmla="*/ 528007 h 627023"/>
                <a:gd name="connsiteX334" fmla="*/ 136087 w 571418"/>
                <a:gd name="connsiteY334" fmla="*/ 537031 h 627023"/>
                <a:gd name="connsiteX335" fmla="*/ 140721 w 571418"/>
                <a:gd name="connsiteY335" fmla="*/ 543616 h 627023"/>
                <a:gd name="connsiteX336" fmla="*/ 147427 w 571418"/>
                <a:gd name="connsiteY336" fmla="*/ 553005 h 627023"/>
                <a:gd name="connsiteX337" fmla="*/ 154988 w 571418"/>
                <a:gd name="connsiteY337" fmla="*/ 570077 h 627023"/>
                <a:gd name="connsiteX338" fmla="*/ 162670 w 571418"/>
                <a:gd name="connsiteY338" fmla="*/ 588368 h 627023"/>
                <a:gd name="connsiteX339" fmla="*/ 169133 w 571418"/>
                <a:gd name="connsiteY339" fmla="*/ 612513 h 627023"/>
                <a:gd name="connsiteX340" fmla="*/ 177059 w 571418"/>
                <a:gd name="connsiteY340" fmla="*/ 622146 h 627023"/>
                <a:gd name="connsiteX341" fmla="*/ 188522 w 571418"/>
                <a:gd name="connsiteY341" fmla="*/ 627024 h 627023"/>
                <a:gd name="connsiteX342" fmla="*/ 198643 w 571418"/>
                <a:gd name="connsiteY342" fmla="*/ 616781 h 627023"/>
                <a:gd name="connsiteX343" fmla="*/ 202423 w 571418"/>
                <a:gd name="connsiteY343" fmla="*/ 611171 h 627023"/>
                <a:gd name="connsiteX344" fmla="*/ 208520 w 571418"/>
                <a:gd name="connsiteY344" fmla="*/ 604221 h 627023"/>
                <a:gd name="connsiteX345" fmla="*/ 218154 w 571418"/>
                <a:gd name="connsiteY345" fmla="*/ 597148 h 627023"/>
                <a:gd name="connsiteX346" fmla="*/ 219129 w 571418"/>
                <a:gd name="connsiteY346" fmla="*/ 588003 h 627023"/>
                <a:gd name="connsiteX347" fmla="*/ 226689 w 571418"/>
                <a:gd name="connsiteY347" fmla="*/ 579345 h 627023"/>
                <a:gd name="connsiteX348" fmla="*/ 232055 w 571418"/>
                <a:gd name="connsiteY348" fmla="*/ 578613 h 627023"/>
                <a:gd name="connsiteX349" fmla="*/ 230348 w 571418"/>
                <a:gd name="connsiteY349" fmla="*/ 552518 h 627023"/>
                <a:gd name="connsiteX350" fmla="*/ 236933 w 571418"/>
                <a:gd name="connsiteY350" fmla="*/ 539226 h 627023"/>
                <a:gd name="connsiteX351" fmla="*/ 238884 w 571418"/>
                <a:gd name="connsiteY351" fmla="*/ 512399 h 627023"/>
                <a:gd name="connsiteX352" fmla="*/ 237908 w 571418"/>
                <a:gd name="connsiteY352" fmla="*/ 503131 h 627023"/>
                <a:gd name="connsiteX353" fmla="*/ 236933 w 571418"/>
                <a:gd name="connsiteY353" fmla="*/ 481426 h 627023"/>
                <a:gd name="connsiteX354" fmla="*/ 243639 w 571418"/>
                <a:gd name="connsiteY354" fmla="*/ 472524 h 627023"/>
                <a:gd name="connsiteX355" fmla="*/ 253273 w 571418"/>
                <a:gd name="connsiteY355" fmla="*/ 471548 h 627023"/>
                <a:gd name="connsiteX356" fmla="*/ 265711 w 571418"/>
                <a:gd name="connsiteY356" fmla="*/ 460086 h 627023"/>
                <a:gd name="connsiteX357" fmla="*/ 274734 w 571418"/>
                <a:gd name="connsiteY357" fmla="*/ 460086 h 627023"/>
                <a:gd name="connsiteX358" fmla="*/ 281929 w 571418"/>
                <a:gd name="connsiteY358" fmla="*/ 446672 h 627023"/>
                <a:gd name="connsiteX359" fmla="*/ 297537 w 571418"/>
                <a:gd name="connsiteY359" fmla="*/ 430210 h 627023"/>
                <a:gd name="connsiteX360" fmla="*/ 309488 w 571418"/>
                <a:gd name="connsiteY360" fmla="*/ 422772 h 627023"/>
                <a:gd name="connsiteX361" fmla="*/ 314244 w 571418"/>
                <a:gd name="connsiteY361" fmla="*/ 417040 h 627023"/>
                <a:gd name="connsiteX362" fmla="*/ 326194 w 571418"/>
                <a:gd name="connsiteY362" fmla="*/ 410699 h 627023"/>
                <a:gd name="connsiteX363" fmla="*/ 328877 w 571418"/>
                <a:gd name="connsiteY363" fmla="*/ 400578 h 627023"/>
                <a:gd name="connsiteX364" fmla="*/ 341924 w 571418"/>
                <a:gd name="connsiteY364" fmla="*/ 388628 h 627023"/>
                <a:gd name="connsiteX365" fmla="*/ 358387 w 571418"/>
                <a:gd name="connsiteY365" fmla="*/ 382775 h 627023"/>
                <a:gd name="connsiteX366" fmla="*/ 371678 w 571418"/>
                <a:gd name="connsiteY366" fmla="*/ 376556 h 627023"/>
                <a:gd name="connsiteX367" fmla="*/ 374849 w 571418"/>
                <a:gd name="connsiteY367" fmla="*/ 369605 h 627023"/>
                <a:gd name="connsiteX368" fmla="*/ 372166 w 571418"/>
                <a:gd name="connsiteY368" fmla="*/ 363630 h 627023"/>
                <a:gd name="connsiteX369" fmla="*/ 370947 w 571418"/>
                <a:gd name="connsiteY369" fmla="*/ 360947 h 627023"/>
                <a:gd name="connsiteX370" fmla="*/ 370947 w 571418"/>
                <a:gd name="connsiteY370" fmla="*/ 360947 h 627023"/>
                <a:gd name="connsiteX371" fmla="*/ 379604 w 571418"/>
                <a:gd name="connsiteY371" fmla="*/ 348875 h 627023"/>
                <a:gd name="connsiteX372" fmla="*/ 409968 w 571418"/>
                <a:gd name="connsiteY372" fmla="*/ 339364 h 627023"/>
                <a:gd name="connsiteX373" fmla="*/ 409968 w 571418"/>
                <a:gd name="connsiteY373" fmla="*/ 312902 h 627023"/>
                <a:gd name="connsiteX374" fmla="*/ 405944 w 571418"/>
                <a:gd name="connsiteY374" fmla="*/ 304732 h 627023"/>
                <a:gd name="connsiteX375" fmla="*/ 405334 w 571418"/>
                <a:gd name="connsiteY375" fmla="*/ 303513 h 627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</a:cxnLst>
              <a:rect l="l" t="t" r="r" b="b"/>
              <a:pathLst>
                <a:path w="571418" h="627023">
                  <a:moveTo>
                    <a:pt x="405334" y="303513"/>
                  </a:moveTo>
                  <a:lnTo>
                    <a:pt x="405212" y="302293"/>
                  </a:lnTo>
                  <a:lnTo>
                    <a:pt x="404480" y="286197"/>
                  </a:lnTo>
                  <a:lnTo>
                    <a:pt x="401554" y="283148"/>
                  </a:lnTo>
                  <a:lnTo>
                    <a:pt x="396554" y="277539"/>
                  </a:lnTo>
                  <a:lnTo>
                    <a:pt x="394603" y="275466"/>
                  </a:lnTo>
                  <a:lnTo>
                    <a:pt x="395091" y="272662"/>
                  </a:lnTo>
                  <a:lnTo>
                    <a:pt x="395213" y="271686"/>
                  </a:lnTo>
                  <a:lnTo>
                    <a:pt x="395579" y="268759"/>
                  </a:lnTo>
                  <a:lnTo>
                    <a:pt x="396310" y="263638"/>
                  </a:lnTo>
                  <a:lnTo>
                    <a:pt x="401676" y="263638"/>
                  </a:lnTo>
                  <a:lnTo>
                    <a:pt x="410090" y="263638"/>
                  </a:lnTo>
                  <a:lnTo>
                    <a:pt x="409358" y="259736"/>
                  </a:lnTo>
                  <a:lnTo>
                    <a:pt x="406310" y="255833"/>
                  </a:lnTo>
                  <a:lnTo>
                    <a:pt x="405090" y="254126"/>
                  </a:lnTo>
                  <a:lnTo>
                    <a:pt x="402773" y="253517"/>
                  </a:lnTo>
                  <a:lnTo>
                    <a:pt x="391921" y="250346"/>
                  </a:lnTo>
                  <a:lnTo>
                    <a:pt x="400578" y="242664"/>
                  </a:lnTo>
                  <a:lnTo>
                    <a:pt x="405090" y="238762"/>
                  </a:lnTo>
                  <a:lnTo>
                    <a:pt x="406919" y="237054"/>
                  </a:lnTo>
                  <a:lnTo>
                    <a:pt x="409480" y="237176"/>
                  </a:lnTo>
                  <a:lnTo>
                    <a:pt x="423747" y="238030"/>
                  </a:lnTo>
                  <a:lnTo>
                    <a:pt x="426186" y="238152"/>
                  </a:lnTo>
                  <a:lnTo>
                    <a:pt x="427893" y="239981"/>
                  </a:lnTo>
                  <a:lnTo>
                    <a:pt x="438258" y="251200"/>
                  </a:lnTo>
                  <a:lnTo>
                    <a:pt x="469231" y="248639"/>
                  </a:lnTo>
                  <a:lnTo>
                    <a:pt x="472646" y="248273"/>
                  </a:lnTo>
                  <a:lnTo>
                    <a:pt x="474597" y="251078"/>
                  </a:lnTo>
                  <a:lnTo>
                    <a:pt x="475816" y="252541"/>
                  </a:lnTo>
                  <a:lnTo>
                    <a:pt x="481060" y="259858"/>
                  </a:lnTo>
                  <a:lnTo>
                    <a:pt x="482401" y="261931"/>
                  </a:lnTo>
                  <a:lnTo>
                    <a:pt x="482157" y="264369"/>
                  </a:lnTo>
                  <a:lnTo>
                    <a:pt x="481426" y="270954"/>
                  </a:lnTo>
                  <a:lnTo>
                    <a:pt x="481182" y="273393"/>
                  </a:lnTo>
                  <a:lnTo>
                    <a:pt x="479352" y="274978"/>
                  </a:lnTo>
                  <a:lnTo>
                    <a:pt x="472036" y="281075"/>
                  </a:lnTo>
                  <a:lnTo>
                    <a:pt x="464110" y="288026"/>
                  </a:lnTo>
                  <a:lnTo>
                    <a:pt x="461183" y="294489"/>
                  </a:lnTo>
                  <a:lnTo>
                    <a:pt x="463744" y="302659"/>
                  </a:lnTo>
                  <a:lnTo>
                    <a:pt x="468866" y="306927"/>
                  </a:lnTo>
                  <a:lnTo>
                    <a:pt x="471426" y="301562"/>
                  </a:lnTo>
                  <a:lnTo>
                    <a:pt x="472646" y="299123"/>
                  </a:lnTo>
                  <a:lnTo>
                    <a:pt x="473987" y="298757"/>
                  </a:lnTo>
                  <a:lnTo>
                    <a:pt x="474353" y="297781"/>
                  </a:lnTo>
                  <a:lnTo>
                    <a:pt x="476426" y="298025"/>
                  </a:lnTo>
                  <a:lnTo>
                    <a:pt x="478743" y="297416"/>
                  </a:lnTo>
                  <a:lnTo>
                    <a:pt x="484718" y="295830"/>
                  </a:lnTo>
                  <a:lnTo>
                    <a:pt x="486181" y="301927"/>
                  </a:lnTo>
                  <a:lnTo>
                    <a:pt x="486669" y="303756"/>
                  </a:lnTo>
                  <a:lnTo>
                    <a:pt x="490693" y="320463"/>
                  </a:lnTo>
                  <a:lnTo>
                    <a:pt x="493132" y="329730"/>
                  </a:lnTo>
                  <a:lnTo>
                    <a:pt x="499595" y="326316"/>
                  </a:lnTo>
                  <a:lnTo>
                    <a:pt x="500448" y="325828"/>
                  </a:lnTo>
                  <a:lnTo>
                    <a:pt x="499717" y="320706"/>
                  </a:lnTo>
                  <a:lnTo>
                    <a:pt x="498863" y="313634"/>
                  </a:lnTo>
                  <a:lnTo>
                    <a:pt x="497644" y="309244"/>
                  </a:lnTo>
                  <a:lnTo>
                    <a:pt x="498985" y="309244"/>
                  </a:lnTo>
                  <a:lnTo>
                    <a:pt x="498985" y="309000"/>
                  </a:lnTo>
                  <a:lnTo>
                    <a:pt x="501546" y="302537"/>
                  </a:lnTo>
                  <a:lnTo>
                    <a:pt x="500936" y="294611"/>
                  </a:lnTo>
                  <a:lnTo>
                    <a:pt x="500448" y="288514"/>
                  </a:lnTo>
                  <a:lnTo>
                    <a:pt x="506546" y="288026"/>
                  </a:lnTo>
                  <a:lnTo>
                    <a:pt x="515691" y="287294"/>
                  </a:lnTo>
                  <a:lnTo>
                    <a:pt x="517520" y="279734"/>
                  </a:lnTo>
                  <a:lnTo>
                    <a:pt x="518008" y="277905"/>
                  </a:lnTo>
                  <a:lnTo>
                    <a:pt x="519228" y="276685"/>
                  </a:lnTo>
                  <a:lnTo>
                    <a:pt x="524837" y="271564"/>
                  </a:lnTo>
                  <a:lnTo>
                    <a:pt x="525081" y="259614"/>
                  </a:lnTo>
                  <a:lnTo>
                    <a:pt x="524837" y="257053"/>
                  </a:lnTo>
                  <a:lnTo>
                    <a:pt x="525081" y="256809"/>
                  </a:lnTo>
                  <a:lnTo>
                    <a:pt x="525081" y="254980"/>
                  </a:lnTo>
                  <a:lnTo>
                    <a:pt x="527276" y="253151"/>
                  </a:lnTo>
                  <a:lnTo>
                    <a:pt x="529593" y="251200"/>
                  </a:lnTo>
                  <a:lnTo>
                    <a:pt x="529593" y="251200"/>
                  </a:lnTo>
                  <a:lnTo>
                    <a:pt x="531056" y="249371"/>
                  </a:lnTo>
                  <a:lnTo>
                    <a:pt x="532153" y="235957"/>
                  </a:lnTo>
                  <a:lnTo>
                    <a:pt x="532275" y="234250"/>
                  </a:lnTo>
                  <a:lnTo>
                    <a:pt x="532641" y="233762"/>
                  </a:lnTo>
                  <a:lnTo>
                    <a:pt x="532641" y="233396"/>
                  </a:lnTo>
                  <a:lnTo>
                    <a:pt x="533617" y="232421"/>
                  </a:lnTo>
                  <a:lnTo>
                    <a:pt x="540202" y="223031"/>
                  </a:lnTo>
                  <a:lnTo>
                    <a:pt x="541055" y="221934"/>
                  </a:lnTo>
                  <a:lnTo>
                    <a:pt x="542274" y="221324"/>
                  </a:lnTo>
                  <a:lnTo>
                    <a:pt x="556663" y="213276"/>
                  </a:lnTo>
                  <a:lnTo>
                    <a:pt x="558615" y="212178"/>
                  </a:lnTo>
                  <a:lnTo>
                    <a:pt x="560931" y="212666"/>
                  </a:lnTo>
                  <a:lnTo>
                    <a:pt x="564956" y="213520"/>
                  </a:lnTo>
                  <a:lnTo>
                    <a:pt x="565809" y="208276"/>
                  </a:lnTo>
                  <a:lnTo>
                    <a:pt x="565443" y="205715"/>
                  </a:lnTo>
                  <a:lnTo>
                    <a:pt x="568248" y="203520"/>
                  </a:lnTo>
                  <a:lnTo>
                    <a:pt x="571419" y="199374"/>
                  </a:lnTo>
                  <a:lnTo>
                    <a:pt x="570321" y="197180"/>
                  </a:lnTo>
                  <a:lnTo>
                    <a:pt x="558249" y="189375"/>
                  </a:lnTo>
                  <a:lnTo>
                    <a:pt x="554834" y="187058"/>
                  </a:lnTo>
                  <a:lnTo>
                    <a:pt x="555566" y="183034"/>
                  </a:lnTo>
                  <a:lnTo>
                    <a:pt x="556176" y="180108"/>
                  </a:lnTo>
                  <a:lnTo>
                    <a:pt x="544469" y="172913"/>
                  </a:lnTo>
                  <a:lnTo>
                    <a:pt x="534592" y="179010"/>
                  </a:lnTo>
                  <a:lnTo>
                    <a:pt x="532885" y="179986"/>
                  </a:lnTo>
                  <a:lnTo>
                    <a:pt x="532153" y="180596"/>
                  </a:lnTo>
                  <a:lnTo>
                    <a:pt x="532031" y="180473"/>
                  </a:lnTo>
                  <a:lnTo>
                    <a:pt x="531422" y="180961"/>
                  </a:lnTo>
                  <a:lnTo>
                    <a:pt x="528251" y="179010"/>
                  </a:lnTo>
                  <a:lnTo>
                    <a:pt x="519715" y="173767"/>
                  </a:lnTo>
                  <a:lnTo>
                    <a:pt x="518618" y="173157"/>
                  </a:lnTo>
                  <a:lnTo>
                    <a:pt x="517276" y="174864"/>
                  </a:lnTo>
                  <a:lnTo>
                    <a:pt x="508253" y="187790"/>
                  </a:lnTo>
                  <a:lnTo>
                    <a:pt x="507521" y="188766"/>
                  </a:lnTo>
                  <a:lnTo>
                    <a:pt x="506546" y="189497"/>
                  </a:lnTo>
                  <a:lnTo>
                    <a:pt x="479840" y="206569"/>
                  </a:lnTo>
                  <a:lnTo>
                    <a:pt x="479475" y="206813"/>
                  </a:lnTo>
                  <a:lnTo>
                    <a:pt x="479109" y="207057"/>
                  </a:lnTo>
                  <a:lnTo>
                    <a:pt x="478987" y="207057"/>
                  </a:lnTo>
                  <a:lnTo>
                    <a:pt x="477523" y="208032"/>
                  </a:lnTo>
                  <a:lnTo>
                    <a:pt x="476670" y="208154"/>
                  </a:lnTo>
                  <a:lnTo>
                    <a:pt x="472402" y="210105"/>
                  </a:lnTo>
                  <a:lnTo>
                    <a:pt x="471914" y="210349"/>
                  </a:lnTo>
                  <a:lnTo>
                    <a:pt x="471792" y="211325"/>
                  </a:lnTo>
                  <a:lnTo>
                    <a:pt x="474231" y="212300"/>
                  </a:lnTo>
                  <a:lnTo>
                    <a:pt x="478255" y="214007"/>
                  </a:lnTo>
                  <a:lnTo>
                    <a:pt x="477889" y="218275"/>
                  </a:lnTo>
                  <a:lnTo>
                    <a:pt x="477523" y="225958"/>
                  </a:lnTo>
                  <a:lnTo>
                    <a:pt x="477158" y="230957"/>
                  </a:lnTo>
                  <a:lnTo>
                    <a:pt x="472280" y="231689"/>
                  </a:lnTo>
                  <a:lnTo>
                    <a:pt x="430942" y="237420"/>
                  </a:lnTo>
                  <a:lnTo>
                    <a:pt x="427406" y="237908"/>
                  </a:lnTo>
                  <a:lnTo>
                    <a:pt x="425210" y="234981"/>
                  </a:lnTo>
                  <a:lnTo>
                    <a:pt x="423138" y="232177"/>
                  </a:lnTo>
                  <a:lnTo>
                    <a:pt x="417894" y="230957"/>
                  </a:lnTo>
                  <a:lnTo>
                    <a:pt x="414358" y="229982"/>
                  </a:lnTo>
                  <a:lnTo>
                    <a:pt x="413504" y="226446"/>
                  </a:lnTo>
                  <a:lnTo>
                    <a:pt x="411431" y="218154"/>
                  </a:lnTo>
                  <a:lnTo>
                    <a:pt x="410943" y="216568"/>
                  </a:lnTo>
                  <a:lnTo>
                    <a:pt x="411431" y="214983"/>
                  </a:lnTo>
                  <a:lnTo>
                    <a:pt x="413138" y="209130"/>
                  </a:lnTo>
                  <a:lnTo>
                    <a:pt x="412407" y="208398"/>
                  </a:lnTo>
                  <a:lnTo>
                    <a:pt x="408992" y="204740"/>
                  </a:lnTo>
                  <a:lnTo>
                    <a:pt x="399359" y="210227"/>
                  </a:lnTo>
                  <a:lnTo>
                    <a:pt x="401554" y="218641"/>
                  </a:lnTo>
                  <a:lnTo>
                    <a:pt x="402529" y="222421"/>
                  </a:lnTo>
                  <a:lnTo>
                    <a:pt x="403017" y="224373"/>
                  </a:lnTo>
                  <a:lnTo>
                    <a:pt x="402164" y="226324"/>
                  </a:lnTo>
                  <a:lnTo>
                    <a:pt x="396310" y="239737"/>
                  </a:lnTo>
                  <a:lnTo>
                    <a:pt x="395091" y="242786"/>
                  </a:lnTo>
                  <a:lnTo>
                    <a:pt x="391798" y="243395"/>
                  </a:lnTo>
                  <a:lnTo>
                    <a:pt x="370702" y="246810"/>
                  </a:lnTo>
                  <a:lnTo>
                    <a:pt x="369239" y="247054"/>
                  </a:lnTo>
                  <a:lnTo>
                    <a:pt x="367776" y="246566"/>
                  </a:lnTo>
                  <a:lnTo>
                    <a:pt x="345948" y="239371"/>
                  </a:lnTo>
                  <a:lnTo>
                    <a:pt x="344973" y="239005"/>
                  </a:lnTo>
                  <a:lnTo>
                    <a:pt x="344241" y="238396"/>
                  </a:lnTo>
                  <a:lnTo>
                    <a:pt x="335096" y="231445"/>
                  </a:lnTo>
                  <a:lnTo>
                    <a:pt x="321682" y="221324"/>
                  </a:lnTo>
                  <a:lnTo>
                    <a:pt x="302171" y="219617"/>
                  </a:lnTo>
                  <a:lnTo>
                    <a:pt x="301805" y="219495"/>
                  </a:lnTo>
                  <a:lnTo>
                    <a:pt x="301440" y="219495"/>
                  </a:lnTo>
                  <a:lnTo>
                    <a:pt x="276442" y="214251"/>
                  </a:lnTo>
                  <a:lnTo>
                    <a:pt x="266077" y="212056"/>
                  </a:lnTo>
                  <a:lnTo>
                    <a:pt x="264979" y="211813"/>
                  </a:lnTo>
                  <a:lnTo>
                    <a:pt x="264126" y="211203"/>
                  </a:lnTo>
                  <a:lnTo>
                    <a:pt x="255346" y="205959"/>
                  </a:lnTo>
                  <a:lnTo>
                    <a:pt x="245591" y="201813"/>
                  </a:lnTo>
                  <a:lnTo>
                    <a:pt x="243152" y="200716"/>
                  </a:lnTo>
                  <a:lnTo>
                    <a:pt x="240591" y="199618"/>
                  </a:lnTo>
                  <a:lnTo>
                    <a:pt x="239737" y="196936"/>
                  </a:lnTo>
                  <a:lnTo>
                    <a:pt x="235469" y="183522"/>
                  </a:lnTo>
                  <a:lnTo>
                    <a:pt x="234860" y="181327"/>
                  </a:lnTo>
                  <a:lnTo>
                    <a:pt x="235713" y="179254"/>
                  </a:lnTo>
                  <a:lnTo>
                    <a:pt x="241079" y="166938"/>
                  </a:lnTo>
                  <a:lnTo>
                    <a:pt x="244005" y="158890"/>
                  </a:lnTo>
                  <a:lnTo>
                    <a:pt x="245346" y="155232"/>
                  </a:lnTo>
                  <a:lnTo>
                    <a:pt x="232665" y="142550"/>
                  </a:lnTo>
                  <a:lnTo>
                    <a:pt x="217666" y="142550"/>
                  </a:lnTo>
                  <a:lnTo>
                    <a:pt x="216325" y="141696"/>
                  </a:lnTo>
                  <a:lnTo>
                    <a:pt x="208032" y="137062"/>
                  </a:lnTo>
                  <a:lnTo>
                    <a:pt x="204618" y="135111"/>
                  </a:lnTo>
                  <a:lnTo>
                    <a:pt x="204984" y="131209"/>
                  </a:lnTo>
                  <a:lnTo>
                    <a:pt x="206081" y="116210"/>
                  </a:lnTo>
                  <a:lnTo>
                    <a:pt x="197911" y="109016"/>
                  </a:lnTo>
                  <a:lnTo>
                    <a:pt x="193034" y="104748"/>
                  </a:lnTo>
                  <a:lnTo>
                    <a:pt x="197668" y="100114"/>
                  </a:lnTo>
                  <a:lnTo>
                    <a:pt x="199375" y="98407"/>
                  </a:lnTo>
                  <a:lnTo>
                    <a:pt x="202911" y="94992"/>
                  </a:lnTo>
                  <a:lnTo>
                    <a:pt x="207057" y="97675"/>
                  </a:lnTo>
                  <a:lnTo>
                    <a:pt x="213276" y="101821"/>
                  </a:lnTo>
                  <a:lnTo>
                    <a:pt x="214983" y="100480"/>
                  </a:lnTo>
                  <a:lnTo>
                    <a:pt x="216325" y="99504"/>
                  </a:lnTo>
                  <a:lnTo>
                    <a:pt x="216690" y="99260"/>
                  </a:lnTo>
                  <a:lnTo>
                    <a:pt x="217178" y="98895"/>
                  </a:lnTo>
                  <a:lnTo>
                    <a:pt x="217788" y="98651"/>
                  </a:lnTo>
                  <a:lnTo>
                    <a:pt x="216203" y="93895"/>
                  </a:lnTo>
                  <a:lnTo>
                    <a:pt x="215349" y="90968"/>
                  </a:lnTo>
                  <a:lnTo>
                    <a:pt x="212057" y="84871"/>
                  </a:lnTo>
                  <a:lnTo>
                    <a:pt x="209618" y="79994"/>
                  </a:lnTo>
                  <a:lnTo>
                    <a:pt x="208764" y="78287"/>
                  </a:lnTo>
                  <a:lnTo>
                    <a:pt x="209130" y="76335"/>
                  </a:lnTo>
                  <a:lnTo>
                    <a:pt x="209740" y="71945"/>
                  </a:lnTo>
                  <a:lnTo>
                    <a:pt x="210106" y="69629"/>
                  </a:lnTo>
                  <a:lnTo>
                    <a:pt x="212057" y="68165"/>
                  </a:lnTo>
                  <a:lnTo>
                    <a:pt x="227665" y="56093"/>
                  </a:lnTo>
                  <a:lnTo>
                    <a:pt x="229128" y="51215"/>
                  </a:lnTo>
                  <a:lnTo>
                    <a:pt x="230957" y="45484"/>
                  </a:lnTo>
                  <a:lnTo>
                    <a:pt x="231080" y="45118"/>
                  </a:lnTo>
                  <a:lnTo>
                    <a:pt x="231202" y="44753"/>
                  </a:lnTo>
                  <a:lnTo>
                    <a:pt x="232909" y="40972"/>
                  </a:lnTo>
                  <a:lnTo>
                    <a:pt x="231323" y="39875"/>
                  </a:lnTo>
                  <a:lnTo>
                    <a:pt x="225714" y="36582"/>
                  </a:lnTo>
                  <a:lnTo>
                    <a:pt x="223275" y="35485"/>
                  </a:lnTo>
                  <a:lnTo>
                    <a:pt x="221690" y="37802"/>
                  </a:lnTo>
                  <a:lnTo>
                    <a:pt x="218275" y="37192"/>
                  </a:lnTo>
                  <a:lnTo>
                    <a:pt x="218032" y="37314"/>
                  </a:lnTo>
                  <a:lnTo>
                    <a:pt x="217056" y="36948"/>
                  </a:lnTo>
                  <a:lnTo>
                    <a:pt x="212666" y="36095"/>
                  </a:lnTo>
                  <a:lnTo>
                    <a:pt x="202423" y="41094"/>
                  </a:lnTo>
                  <a:lnTo>
                    <a:pt x="197424" y="43777"/>
                  </a:lnTo>
                  <a:lnTo>
                    <a:pt x="195960" y="44509"/>
                  </a:lnTo>
                  <a:lnTo>
                    <a:pt x="194375" y="44509"/>
                  </a:lnTo>
                  <a:lnTo>
                    <a:pt x="183644" y="44387"/>
                  </a:lnTo>
                  <a:lnTo>
                    <a:pt x="176450" y="44143"/>
                  </a:lnTo>
                  <a:lnTo>
                    <a:pt x="177791" y="37070"/>
                  </a:lnTo>
                  <a:lnTo>
                    <a:pt x="178035" y="36095"/>
                  </a:lnTo>
                  <a:lnTo>
                    <a:pt x="172669" y="33290"/>
                  </a:lnTo>
                  <a:lnTo>
                    <a:pt x="170962" y="32436"/>
                  </a:lnTo>
                  <a:lnTo>
                    <a:pt x="169987" y="30607"/>
                  </a:lnTo>
                  <a:lnTo>
                    <a:pt x="166572" y="23900"/>
                  </a:lnTo>
                  <a:lnTo>
                    <a:pt x="160231" y="20730"/>
                  </a:lnTo>
                  <a:lnTo>
                    <a:pt x="159256" y="20242"/>
                  </a:lnTo>
                  <a:lnTo>
                    <a:pt x="158524" y="19389"/>
                  </a:lnTo>
                  <a:lnTo>
                    <a:pt x="153769" y="14267"/>
                  </a:lnTo>
                  <a:lnTo>
                    <a:pt x="148403" y="10487"/>
                  </a:lnTo>
                  <a:lnTo>
                    <a:pt x="141452" y="5853"/>
                  </a:lnTo>
                  <a:lnTo>
                    <a:pt x="140477" y="5122"/>
                  </a:lnTo>
                  <a:lnTo>
                    <a:pt x="139745" y="4146"/>
                  </a:lnTo>
                  <a:lnTo>
                    <a:pt x="138282" y="1829"/>
                  </a:lnTo>
                  <a:lnTo>
                    <a:pt x="137184" y="1341"/>
                  </a:lnTo>
                  <a:lnTo>
                    <a:pt x="133526" y="0"/>
                  </a:lnTo>
                  <a:lnTo>
                    <a:pt x="131453" y="1219"/>
                  </a:lnTo>
                  <a:lnTo>
                    <a:pt x="130234" y="1951"/>
                  </a:lnTo>
                  <a:lnTo>
                    <a:pt x="127795" y="3536"/>
                  </a:lnTo>
                  <a:lnTo>
                    <a:pt x="125112" y="2561"/>
                  </a:lnTo>
                  <a:lnTo>
                    <a:pt x="121820" y="1463"/>
                  </a:lnTo>
                  <a:lnTo>
                    <a:pt x="121576" y="2439"/>
                  </a:lnTo>
                  <a:lnTo>
                    <a:pt x="120113" y="7195"/>
                  </a:lnTo>
                  <a:lnTo>
                    <a:pt x="115113" y="6707"/>
                  </a:lnTo>
                  <a:lnTo>
                    <a:pt x="109992" y="6341"/>
                  </a:lnTo>
                  <a:lnTo>
                    <a:pt x="97553" y="16462"/>
                  </a:lnTo>
                  <a:lnTo>
                    <a:pt x="98895" y="20364"/>
                  </a:lnTo>
                  <a:lnTo>
                    <a:pt x="99870" y="20486"/>
                  </a:lnTo>
                  <a:lnTo>
                    <a:pt x="106943" y="21706"/>
                  </a:lnTo>
                  <a:lnTo>
                    <a:pt x="110235" y="22315"/>
                  </a:lnTo>
                  <a:lnTo>
                    <a:pt x="111577" y="25364"/>
                  </a:lnTo>
                  <a:lnTo>
                    <a:pt x="112430" y="27437"/>
                  </a:lnTo>
                  <a:lnTo>
                    <a:pt x="116698" y="28290"/>
                  </a:lnTo>
                  <a:lnTo>
                    <a:pt x="126453" y="29998"/>
                  </a:lnTo>
                  <a:lnTo>
                    <a:pt x="121942" y="36095"/>
                  </a:lnTo>
                  <a:lnTo>
                    <a:pt x="122917" y="36826"/>
                  </a:lnTo>
                  <a:lnTo>
                    <a:pt x="126210" y="39753"/>
                  </a:lnTo>
                  <a:lnTo>
                    <a:pt x="124381" y="43899"/>
                  </a:lnTo>
                  <a:lnTo>
                    <a:pt x="120113" y="53776"/>
                  </a:lnTo>
                  <a:lnTo>
                    <a:pt x="119625" y="62190"/>
                  </a:lnTo>
                  <a:lnTo>
                    <a:pt x="118406" y="86091"/>
                  </a:lnTo>
                  <a:lnTo>
                    <a:pt x="129258" y="89749"/>
                  </a:lnTo>
                  <a:lnTo>
                    <a:pt x="130721" y="90237"/>
                  </a:lnTo>
                  <a:lnTo>
                    <a:pt x="131697" y="91334"/>
                  </a:lnTo>
                  <a:lnTo>
                    <a:pt x="144623" y="105114"/>
                  </a:lnTo>
                  <a:lnTo>
                    <a:pt x="147306" y="107918"/>
                  </a:lnTo>
                  <a:lnTo>
                    <a:pt x="145842" y="111577"/>
                  </a:lnTo>
                  <a:lnTo>
                    <a:pt x="142794" y="119259"/>
                  </a:lnTo>
                  <a:lnTo>
                    <a:pt x="142184" y="120722"/>
                  </a:lnTo>
                  <a:lnTo>
                    <a:pt x="140843" y="121698"/>
                  </a:lnTo>
                  <a:lnTo>
                    <a:pt x="128405" y="131697"/>
                  </a:lnTo>
                  <a:lnTo>
                    <a:pt x="125966" y="149866"/>
                  </a:lnTo>
                  <a:lnTo>
                    <a:pt x="125478" y="153037"/>
                  </a:lnTo>
                  <a:lnTo>
                    <a:pt x="122552" y="154500"/>
                  </a:lnTo>
                  <a:lnTo>
                    <a:pt x="111943" y="159743"/>
                  </a:lnTo>
                  <a:lnTo>
                    <a:pt x="111089" y="163402"/>
                  </a:lnTo>
                  <a:lnTo>
                    <a:pt x="107918" y="176206"/>
                  </a:lnTo>
                  <a:lnTo>
                    <a:pt x="107431" y="178035"/>
                  </a:lnTo>
                  <a:lnTo>
                    <a:pt x="106211" y="179254"/>
                  </a:lnTo>
                  <a:lnTo>
                    <a:pt x="69873" y="213764"/>
                  </a:lnTo>
                  <a:lnTo>
                    <a:pt x="67434" y="216081"/>
                  </a:lnTo>
                  <a:lnTo>
                    <a:pt x="65848" y="217544"/>
                  </a:lnTo>
                  <a:lnTo>
                    <a:pt x="63654" y="217666"/>
                  </a:lnTo>
                  <a:lnTo>
                    <a:pt x="50118" y="218519"/>
                  </a:lnTo>
                  <a:lnTo>
                    <a:pt x="47679" y="218763"/>
                  </a:lnTo>
                  <a:lnTo>
                    <a:pt x="45728" y="217056"/>
                  </a:lnTo>
                  <a:lnTo>
                    <a:pt x="43167" y="214861"/>
                  </a:lnTo>
                  <a:lnTo>
                    <a:pt x="43167" y="214861"/>
                  </a:lnTo>
                  <a:lnTo>
                    <a:pt x="43045" y="214739"/>
                  </a:lnTo>
                  <a:lnTo>
                    <a:pt x="35485" y="233274"/>
                  </a:lnTo>
                  <a:lnTo>
                    <a:pt x="54020" y="264979"/>
                  </a:lnTo>
                  <a:lnTo>
                    <a:pt x="56825" y="269735"/>
                  </a:lnTo>
                  <a:lnTo>
                    <a:pt x="57801" y="271442"/>
                  </a:lnTo>
                  <a:lnTo>
                    <a:pt x="57679" y="273393"/>
                  </a:lnTo>
                  <a:lnTo>
                    <a:pt x="57191" y="277051"/>
                  </a:lnTo>
                  <a:lnTo>
                    <a:pt x="56093" y="287660"/>
                  </a:lnTo>
                  <a:lnTo>
                    <a:pt x="55362" y="293757"/>
                  </a:lnTo>
                  <a:lnTo>
                    <a:pt x="49265" y="293026"/>
                  </a:lnTo>
                  <a:lnTo>
                    <a:pt x="36705" y="291319"/>
                  </a:lnTo>
                  <a:lnTo>
                    <a:pt x="23291" y="289611"/>
                  </a:lnTo>
                  <a:lnTo>
                    <a:pt x="8902" y="297294"/>
                  </a:lnTo>
                  <a:lnTo>
                    <a:pt x="5365" y="301196"/>
                  </a:lnTo>
                  <a:lnTo>
                    <a:pt x="610" y="306195"/>
                  </a:lnTo>
                  <a:lnTo>
                    <a:pt x="0" y="306927"/>
                  </a:lnTo>
                  <a:lnTo>
                    <a:pt x="0" y="306927"/>
                  </a:lnTo>
                  <a:lnTo>
                    <a:pt x="1097" y="308268"/>
                  </a:lnTo>
                  <a:lnTo>
                    <a:pt x="7439" y="310341"/>
                  </a:lnTo>
                  <a:lnTo>
                    <a:pt x="8536" y="319487"/>
                  </a:lnTo>
                  <a:lnTo>
                    <a:pt x="13048" y="323999"/>
                  </a:lnTo>
                  <a:lnTo>
                    <a:pt x="26096" y="323999"/>
                  </a:lnTo>
                  <a:lnTo>
                    <a:pt x="46216" y="318633"/>
                  </a:lnTo>
                  <a:lnTo>
                    <a:pt x="34144" y="333754"/>
                  </a:lnTo>
                  <a:lnTo>
                    <a:pt x="23413" y="335827"/>
                  </a:lnTo>
                  <a:lnTo>
                    <a:pt x="23413" y="335827"/>
                  </a:lnTo>
                  <a:lnTo>
                    <a:pt x="17316" y="334486"/>
                  </a:lnTo>
                  <a:lnTo>
                    <a:pt x="17925" y="341315"/>
                  </a:lnTo>
                  <a:lnTo>
                    <a:pt x="37070" y="360337"/>
                  </a:lnTo>
                  <a:lnTo>
                    <a:pt x="49387" y="367410"/>
                  </a:lnTo>
                  <a:lnTo>
                    <a:pt x="68531" y="364849"/>
                  </a:lnTo>
                  <a:lnTo>
                    <a:pt x="73409" y="357655"/>
                  </a:lnTo>
                  <a:lnTo>
                    <a:pt x="73409" y="352167"/>
                  </a:lnTo>
                  <a:lnTo>
                    <a:pt x="78043" y="330462"/>
                  </a:lnTo>
                  <a:lnTo>
                    <a:pt x="89018" y="341437"/>
                  </a:lnTo>
                  <a:lnTo>
                    <a:pt x="88042" y="359606"/>
                  </a:lnTo>
                  <a:lnTo>
                    <a:pt x="90847" y="364361"/>
                  </a:lnTo>
                  <a:lnTo>
                    <a:pt x="91822" y="396798"/>
                  </a:lnTo>
                  <a:lnTo>
                    <a:pt x="96456" y="426796"/>
                  </a:lnTo>
                  <a:lnTo>
                    <a:pt x="106699" y="461305"/>
                  </a:lnTo>
                  <a:lnTo>
                    <a:pt x="109747" y="465939"/>
                  </a:lnTo>
                  <a:lnTo>
                    <a:pt x="114381" y="472768"/>
                  </a:lnTo>
                  <a:lnTo>
                    <a:pt x="123771" y="495815"/>
                  </a:lnTo>
                  <a:lnTo>
                    <a:pt x="127673" y="505204"/>
                  </a:lnTo>
                  <a:lnTo>
                    <a:pt x="130478" y="516545"/>
                  </a:lnTo>
                  <a:lnTo>
                    <a:pt x="134258" y="528007"/>
                  </a:lnTo>
                  <a:lnTo>
                    <a:pt x="136087" y="537031"/>
                  </a:lnTo>
                  <a:lnTo>
                    <a:pt x="140721" y="543616"/>
                  </a:lnTo>
                  <a:lnTo>
                    <a:pt x="147427" y="553005"/>
                  </a:lnTo>
                  <a:lnTo>
                    <a:pt x="154988" y="570077"/>
                  </a:lnTo>
                  <a:lnTo>
                    <a:pt x="162670" y="588368"/>
                  </a:lnTo>
                  <a:lnTo>
                    <a:pt x="169133" y="612513"/>
                  </a:lnTo>
                  <a:lnTo>
                    <a:pt x="177059" y="622146"/>
                  </a:lnTo>
                  <a:lnTo>
                    <a:pt x="188522" y="627024"/>
                  </a:lnTo>
                  <a:lnTo>
                    <a:pt x="198643" y="616781"/>
                  </a:lnTo>
                  <a:lnTo>
                    <a:pt x="202423" y="611171"/>
                  </a:lnTo>
                  <a:lnTo>
                    <a:pt x="208520" y="604221"/>
                  </a:lnTo>
                  <a:lnTo>
                    <a:pt x="218154" y="597148"/>
                  </a:lnTo>
                  <a:lnTo>
                    <a:pt x="219129" y="588003"/>
                  </a:lnTo>
                  <a:lnTo>
                    <a:pt x="226689" y="579345"/>
                  </a:lnTo>
                  <a:lnTo>
                    <a:pt x="232055" y="578613"/>
                  </a:lnTo>
                  <a:lnTo>
                    <a:pt x="230348" y="552518"/>
                  </a:lnTo>
                  <a:lnTo>
                    <a:pt x="236933" y="539226"/>
                  </a:lnTo>
                  <a:lnTo>
                    <a:pt x="238884" y="512399"/>
                  </a:lnTo>
                  <a:lnTo>
                    <a:pt x="237908" y="503131"/>
                  </a:lnTo>
                  <a:lnTo>
                    <a:pt x="236933" y="481426"/>
                  </a:lnTo>
                  <a:lnTo>
                    <a:pt x="243639" y="472524"/>
                  </a:lnTo>
                  <a:lnTo>
                    <a:pt x="253273" y="471548"/>
                  </a:lnTo>
                  <a:lnTo>
                    <a:pt x="265711" y="460086"/>
                  </a:lnTo>
                  <a:lnTo>
                    <a:pt x="274734" y="460086"/>
                  </a:lnTo>
                  <a:lnTo>
                    <a:pt x="281929" y="446672"/>
                  </a:lnTo>
                  <a:lnTo>
                    <a:pt x="297537" y="430210"/>
                  </a:lnTo>
                  <a:lnTo>
                    <a:pt x="309488" y="422772"/>
                  </a:lnTo>
                  <a:lnTo>
                    <a:pt x="314244" y="417040"/>
                  </a:lnTo>
                  <a:lnTo>
                    <a:pt x="326194" y="410699"/>
                  </a:lnTo>
                  <a:lnTo>
                    <a:pt x="328877" y="400578"/>
                  </a:lnTo>
                  <a:lnTo>
                    <a:pt x="341924" y="388628"/>
                  </a:lnTo>
                  <a:lnTo>
                    <a:pt x="358387" y="382775"/>
                  </a:lnTo>
                  <a:lnTo>
                    <a:pt x="371678" y="376556"/>
                  </a:lnTo>
                  <a:lnTo>
                    <a:pt x="374849" y="369605"/>
                  </a:lnTo>
                  <a:lnTo>
                    <a:pt x="372166" y="363630"/>
                  </a:lnTo>
                  <a:lnTo>
                    <a:pt x="370947" y="360947"/>
                  </a:lnTo>
                  <a:lnTo>
                    <a:pt x="370947" y="360947"/>
                  </a:lnTo>
                  <a:lnTo>
                    <a:pt x="379604" y="348875"/>
                  </a:lnTo>
                  <a:lnTo>
                    <a:pt x="409968" y="339364"/>
                  </a:lnTo>
                  <a:lnTo>
                    <a:pt x="409968" y="312902"/>
                  </a:lnTo>
                  <a:lnTo>
                    <a:pt x="405944" y="304732"/>
                  </a:lnTo>
                  <a:lnTo>
                    <a:pt x="405334" y="30351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3" name="Freihandform: Form 782">
              <a:extLst>
                <a:ext uri="{FF2B5EF4-FFF2-40B4-BE49-F238E27FC236}">
                  <a16:creationId xmlns:a16="http://schemas.microsoft.com/office/drawing/2014/main" id="{17424D9E-1916-4FFC-B5D8-9A1B5EAAC473}"/>
                </a:ext>
              </a:extLst>
            </p:cNvPr>
            <p:cNvSpPr/>
            <p:nvPr/>
          </p:nvSpPr>
          <p:spPr>
            <a:xfrm>
              <a:off x="6447583" y="1168836"/>
              <a:ext cx="2316" cy="731"/>
            </a:xfrm>
            <a:custGeom>
              <a:avLst/>
              <a:gdLst>
                <a:gd name="connsiteX0" fmla="*/ 2317 w 2316"/>
                <a:gd name="connsiteY0" fmla="*/ 488 h 731"/>
                <a:gd name="connsiteX1" fmla="*/ 122 w 2316"/>
                <a:gd name="connsiteY1" fmla="*/ 0 h 731"/>
                <a:gd name="connsiteX2" fmla="*/ 0 w 2316"/>
                <a:gd name="connsiteY2" fmla="*/ 122 h 731"/>
                <a:gd name="connsiteX3" fmla="*/ 854 w 2316"/>
                <a:gd name="connsiteY3" fmla="*/ 732 h 731"/>
                <a:gd name="connsiteX4" fmla="*/ 2317 w 2316"/>
                <a:gd name="connsiteY4" fmla="*/ 488 h 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" h="731">
                  <a:moveTo>
                    <a:pt x="2317" y="488"/>
                  </a:moveTo>
                  <a:lnTo>
                    <a:pt x="122" y="0"/>
                  </a:lnTo>
                  <a:lnTo>
                    <a:pt x="0" y="122"/>
                  </a:lnTo>
                  <a:lnTo>
                    <a:pt x="854" y="732"/>
                  </a:lnTo>
                  <a:lnTo>
                    <a:pt x="2317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4" name="Freihandform: Form 783">
              <a:extLst>
                <a:ext uri="{FF2B5EF4-FFF2-40B4-BE49-F238E27FC236}">
                  <a16:creationId xmlns:a16="http://schemas.microsoft.com/office/drawing/2014/main" id="{2C4C5EDF-1B97-49A0-B401-9742F7BD7434}"/>
                </a:ext>
              </a:extLst>
            </p:cNvPr>
            <p:cNvSpPr/>
            <p:nvPr/>
          </p:nvSpPr>
          <p:spPr>
            <a:xfrm>
              <a:off x="7040098" y="3574379"/>
              <a:ext cx="8048" cy="9267"/>
            </a:xfrm>
            <a:custGeom>
              <a:avLst/>
              <a:gdLst>
                <a:gd name="connsiteX0" fmla="*/ 0 w 8048"/>
                <a:gd name="connsiteY0" fmla="*/ 7317 h 9267"/>
                <a:gd name="connsiteX1" fmla="*/ 0 w 8048"/>
                <a:gd name="connsiteY1" fmla="*/ 9268 h 9267"/>
                <a:gd name="connsiteX2" fmla="*/ 5731 w 8048"/>
                <a:gd name="connsiteY2" fmla="*/ 7561 h 9267"/>
                <a:gd name="connsiteX3" fmla="*/ 8048 w 8048"/>
                <a:gd name="connsiteY3" fmla="*/ 1707 h 9267"/>
                <a:gd name="connsiteX4" fmla="*/ 7439 w 8048"/>
                <a:gd name="connsiteY4" fmla="*/ 0 h 9267"/>
                <a:gd name="connsiteX5" fmla="*/ 0 w 8048"/>
                <a:gd name="connsiteY5" fmla="*/ 7317 h 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48" h="9267">
                  <a:moveTo>
                    <a:pt x="0" y="7317"/>
                  </a:moveTo>
                  <a:lnTo>
                    <a:pt x="0" y="9268"/>
                  </a:lnTo>
                  <a:lnTo>
                    <a:pt x="5731" y="7561"/>
                  </a:lnTo>
                  <a:lnTo>
                    <a:pt x="8048" y="1707"/>
                  </a:lnTo>
                  <a:lnTo>
                    <a:pt x="7439" y="0"/>
                  </a:lnTo>
                  <a:lnTo>
                    <a:pt x="0" y="73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5" name="Freihandform: Form 784">
              <a:extLst>
                <a:ext uri="{FF2B5EF4-FFF2-40B4-BE49-F238E27FC236}">
                  <a16:creationId xmlns:a16="http://schemas.microsoft.com/office/drawing/2014/main" id="{6BD477FB-1261-4BB0-9948-08C266CD6FE9}"/>
                </a:ext>
              </a:extLst>
            </p:cNvPr>
            <p:cNvSpPr/>
            <p:nvPr/>
          </p:nvSpPr>
          <p:spPr>
            <a:xfrm>
              <a:off x="6813652" y="3595231"/>
              <a:ext cx="43045" cy="7072"/>
            </a:xfrm>
            <a:custGeom>
              <a:avLst/>
              <a:gdLst>
                <a:gd name="connsiteX0" fmla="*/ 42070 w 43045"/>
                <a:gd name="connsiteY0" fmla="*/ 3414 h 7072"/>
                <a:gd name="connsiteX1" fmla="*/ 42558 w 43045"/>
                <a:gd name="connsiteY1" fmla="*/ 2927 h 7072"/>
                <a:gd name="connsiteX2" fmla="*/ 41460 w 43045"/>
                <a:gd name="connsiteY2" fmla="*/ 854 h 7072"/>
                <a:gd name="connsiteX3" fmla="*/ 15731 w 43045"/>
                <a:gd name="connsiteY3" fmla="*/ 0 h 7072"/>
                <a:gd name="connsiteX4" fmla="*/ 0 w 43045"/>
                <a:gd name="connsiteY4" fmla="*/ 5487 h 7072"/>
                <a:gd name="connsiteX5" fmla="*/ 1342 w 43045"/>
                <a:gd name="connsiteY5" fmla="*/ 7073 h 7072"/>
                <a:gd name="connsiteX6" fmla="*/ 40973 w 43045"/>
                <a:gd name="connsiteY6" fmla="*/ 6219 h 7072"/>
                <a:gd name="connsiteX7" fmla="*/ 43045 w 43045"/>
                <a:gd name="connsiteY7" fmla="*/ 4146 h 7072"/>
                <a:gd name="connsiteX8" fmla="*/ 42924 w 43045"/>
                <a:gd name="connsiteY8" fmla="*/ 3658 h 7072"/>
                <a:gd name="connsiteX9" fmla="*/ 42070 w 43045"/>
                <a:gd name="connsiteY9" fmla="*/ 3414 h 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045" h="7072">
                  <a:moveTo>
                    <a:pt x="42070" y="3414"/>
                  </a:moveTo>
                  <a:lnTo>
                    <a:pt x="42558" y="2927"/>
                  </a:lnTo>
                  <a:lnTo>
                    <a:pt x="41460" y="854"/>
                  </a:lnTo>
                  <a:lnTo>
                    <a:pt x="15731" y="0"/>
                  </a:lnTo>
                  <a:lnTo>
                    <a:pt x="0" y="5487"/>
                  </a:lnTo>
                  <a:lnTo>
                    <a:pt x="1342" y="7073"/>
                  </a:lnTo>
                  <a:lnTo>
                    <a:pt x="40973" y="6219"/>
                  </a:lnTo>
                  <a:lnTo>
                    <a:pt x="43045" y="4146"/>
                  </a:lnTo>
                  <a:lnTo>
                    <a:pt x="42924" y="3658"/>
                  </a:lnTo>
                  <a:lnTo>
                    <a:pt x="42070" y="341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6" name="Freihandform: Form 785">
              <a:extLst>
                <a:ext uri="{FF2B5EF4-FFF2-40B4-BE49-F238E27FC236}">
                  <a16:creationId xmlns:a16="http://schemas.microsoft.com/office/drawing/2014/main" id="{E4D9A697-9B46-4D89-B5B1-4A33FF0F65CE}"/>
                </a:ext>
              </a:extLst>
            </p:cNvPr>
            <p:cNvSpPr/>
            <p:nvPr/>
          </p:nvSpPr>
          <p:spPr>
            <a:xfrm>
              <a:off x="7037293" y="2538485"/>
              <a:ext cx="216080" cy="185839"/>
            </a:xfrm>
            <a:custGeom>
              <a:avLst/>
              <a:gdLst>
                <a:gd name="connsiteX0" fmla="*/ 210106 w 216080"/>
                <a:gd name="connsiteY0" fmla="*/ 14511 h 185839"/>
                <a:gd name="connsiteX1" fmla="*/ 202545 w 216080"/>
                <a:gd name="connsiteY1" fmla="*/ 7804 h 185839"/>
                <a:gd name="connsiteX2" fmla="*/ 202667 w 216080"/>
                <a:gd name="connsiteY2" fmla="*/ 6463 h 185839"/>
                <a:gd name="connsiteX3" fmla="*/ 193155 w 216080"/>
                <a:gd name="connsiteY3" fmla="*/ 7682 h 185839"/>
                <a:gd name="connsiteX4" fmla="*/ 187546 w 216080"/>
                <a:gd name="connsiteY4" fmla="*/ 0 h 185839"/>
                <a:gd name="connsiteX5" fmla="*/ 184132 w 216080"/>
                <a:gd name="connsiteY5" fmla="*/ 854 h 185839"/>
                <a:gd name="connsiteX6" fmla="*/ 177791 w 216080"/>
                <a:gd name="connsiteY6" fmla="*/ 11706 h 185839"/>
                <a:gd name="connsiteX7" fmla="*/ 177791 w 216080"/>
                <a:gd name="connsiteY7" fmla="*/ 48411 h 185839"/>
                <a:gd name="connsiteX8" fmla="*/ 168889 w 216080"/>
                <a:gd name="connsiteY8" fmla="*/ 69019 h 185839"/>
                <a:gd name="connsiteX9" fmla="*/ 153769 w 216080"/>
                <a:gd name="connsiteY9" fmla="*/ 89993 h 185839"/>
                <a:gd name="connsiteX10" fmla="*/ 144623 w 216080"/>
                <a:gd name="connsiteY10" fmla="*/ 95480 h 185839"/>
                <a:gd name="connsiteX11" fmla="*/ 140355 w 216080"/>
                <a:gd name="connsiteY11" fmla="*/ 103407 h 185839"/>
                <a:gd name="connsiteX12" fmla="*/ 127429 w 216080"/>
                <a:gd name="connsiteY12" fmla="*/ 109870 h 185839"/>
                <a:gd name="connsiteX13" fmla="*/ 118405 w 216080"/>
                <a:gd name="connsiteY13" fmla="*/ 104870 h 185839"/>
                <a:gd name="connsiteX14" fmla="*/ 118405 w 216080"/>
                <a:gd name="connsiteY14" fmla="*/ 104870 h 185839"/>
                <a:gd name="connsiteX15" fmla="*/ 122551 w 216080"/>
                <a:gd name="connsiteY15" fmla="*/ 94139 h 185839"/>
                <a:gd name="connsiteX16" fmla="*/ 120112 w 216080"/>
                <a:gd name="connsiteY16" fmla="*/ 93407 h 185839"/>
                <a:gd name="connsiteX17" fmla="*/ 116698 w 216080"/>
                <a:gd name="connsiteY17" fmla="*/ 95846 h 185839"/>
                <a:gd name="connsiteX18" fmla="*/ 116088 w 216080"/>
                <a:gd name="connsiteY18" fmla="*/ 105480 h 185839"/>
                <a:gd name="connsiteX19" fmla="*/ 91578 w 216080"/>
                <a:gd name="connsiteY19" fmla="*/ 137306 h 185839"/>
                <a:gd name="connsiteX20" fmla="*/ 76823 w 216080"/>
                <a:gd name="connsiteY20" fmla="*/ 135843 h 185839"/>
                <a:gd name="connsiteX21" fmla="*/ 66336 w 216080"/>
                <a:gd name="connsiteY21" fmla="*/ 141452 h 185839"/>
                <a:gd name="connsiteX22" fmla="*/ 51947 w 216080"/>
                <a:gd name="connsiteY22" fmla="*/ 142184 h 185839"/>
                <a:gd name="connsiteX23" fmla="*/ 42070 w 216080"/>
                <a:gd name="connsiteY23" fmla="*/ 138648 h 185839"/>
                <a:gd name="connsiteX24" fmla="*/ 34509 w 216080"/>
                <a:gd name="connsiteY24" fmla="*/ 139257 h 185839"/>
                <a:gd name="connsiteX25" fmla="*/ 30607 w 216080"/>
                <a:gd name="connsiteY25" fmla="*/ 147793 h 185839"/>
                <a:gd name="connsiteX26" fmla="*/ 12804 w 216080"/>
                <a:gd name="connsiteY26" fmla="*/ 161207 h 185839"/>
                <a:gd name="connsiteX27" fmla="*/ 5731 w 216080"/>
                <a:gd name="connsiteY27" fmla="*/ 163280 h 185839"/>
                <a:gd name="connsiteX28" fmla="*/ 0 w 216080"/>
                <a:gd name="connsiteY28" fmla="*/ 167304 h 185839"/>
                <a:gd name="connsiteX29" fmla="*/ 853 w 216080"/>
                <a:gd name="connsiteY29" fmla="*/ 171938 h 185839"/>
                <a:gd name="connsiteX30" fmla="*/ 13413 w 216080"/>
                <a:gd name="connsiteY30" fmla="*/ 171206 h 185839"/>
                <a:gd name="connsiteX31" fmla="*/ 14511 w 216080"/>
                <a:gd name="connsiteY31" fmla="*/ 174986 h 185839"/>
                <a:gd name="connsiteX32" fmla="*/ 22315 w 216080"/>
                <a:gd name="connsiteY32" fmla="*/ 169987 h 185839"/>
                <a:gd name="connsiteX33" fmla="*/ 42558 w 216080"/>
                <a:gd name="connsiteY33" fmla="*/ 165841 h 185839"/>
                <a:gd name="connsiteX34" fmla="*/ 48898 w 216080"/>
                <a:gd name="connsiteY34" fmla="*/ 158036 h 185839"/>
                <a:gd name="connsiteX35" fmla="*/ 72311 w 216080"/>
                <a:gd name="connsiteY35" fmla="*/ 152061 h 185839"/>
                <a:gd name="connsiteX36" fmla="*/ 86822 w 216080"/>
                <a:gd name="connsiteY36" fmla="*/ 158524 h 185839"/>
                <a:gd name="connsiteX37" fmla="*/ 88529 w 216080"/>
                <a:gd name="connsiteY37" fmla="*/ 169499 h 185839"/>
                <a:gd name="connsiteX38" fmla="*/ 88529 w 216080"/>
                <a:gd name="connsiteY38" fmla="*/ 169499 h 185839"/>
                <a:gd name="connsiteX39" fmla="*/ 85725 w 216080"/>
                <a:gd name="connsiteY39" fmla="*/ 174986 h 185839"/>
                <a:gd name="connsiteX40" fmla="*/ 88042 w 216080"/>
                <a:gd name="connsiteY40" fmla="*/ 182547 h 185839"/>
                <a:gd name="connsiteX41" fmla="*/ 94139 w 216080"/>
                <a:gd name="connsiteY41" fmla="*/ 185839 h 185839"/>
                <a:gd name="connsiteX42" fmla="*/ 99992 w 216080"/>
                <a:gd name="connsiteY42" fmla="*/ 182669 h 185839"/>
                <a:gd name="connsiteX43" fmla="*/ 102309 w 216080"/>
                <a:gd name="connsiteY43" fmla="*/ 171450 h 185839"/>
                <a:gd name="connsiteX44" fmla="*/ 111577 w 216080"/>
                <a:gd name="connsiteY44" fmla="*/ 170718 h 185839"/>
                <a:gd name="connsiteX45" fmla="*/ 111211 w 216080"/>
                <a:gd name="connsiteY45" fmla="*/ 167060 h 185839"/>
                <a:gd name="connsiteX46" fmla="*/ 111211 w 216080"/>
                <a:gd name="connsiteY46" fmla="*/ 162670 h 185839"/>
                <a:gd name="connsiteX47" fmla="*/ 107308 w 216080"/>
                <a:gd name="connsiteY47" fmla="*/ 155720 h 185839"/>
                <a:gd name="connsiteX48" fmla="*/ 112064 w 216080"/>
                <a:gd name="connsiteY48" fmla="*/ 147184 h 185839"/>
                <a:gd name="connsiteX49" fmla="*/ 124746 w 216080"/>
                <a:gd name="connsiteY49" fmla="*/ 147184 h 185839"/>
                <a:gd name="connsiteX50" fmla="*/ 124014 w 216080"/>
                <a:gd name="connsiteY50" fmla="*/ 156329 h 185839"/>
                <a:gd name="connsiteX51" fmla="*/ 139135 w 216080"/>
                <a:gd name="connsiteY51" fmla="*/ 155720 h 185839"/>
                <a:gd name="connsiteX52" fmla="*/ 144623 w 216080"/>
                <a:gd name="connsiteY52" fmla="*/ 148159 h 185839"/>
                <a:gd name="connsiteX53" fmla="*/ 153524 w 216080"/>
                <a:gd name="connsiteY53" fmla="*/ 145964 h 185839"/>
                <a:gd name="connsiteX54" fmla="*/ 154256 w 216080"/>
                <a:gd name="connsiteY54" fmla="*/ 155963 h 185839"/>
                <a:gd name="connsiteX55" fmla="*/ 157549 w 216080"/>
                <a:gd name="connsiteY55" fmla="*/ 155354 h 185839"/>
                <a:gd name="connsiteX56" fmla="*/ 159499 w 216080"/>
                <a:gd name="connsiteY56" fmla="*/ 142550 h 185839"/>
                <a:gd name="connsiteX57" fmla="*/ 171327 w 216080"/>
                <a:gd name="connsiteY57" fmla="*/ 131697 h 185839"/>
                <a:gd name="connsiteX58" fmla="*/ 179254 w 216080"/>
                <a:gd name="connsiteY58" fmla="*/ 137672 h 185839"/>
                <a:gd name="connsiteX59" fmla="*/ 178400 w 216080"/>
                <a:gd name="connsiteY59" fmla="*/ 146696 h 185839"/>
                <a:gd name="connsiteX60" fmla="*/ 176450 w 216080"/>
                <a:gd name="connsiteY60" fmla="*/ 148647 h 185839"/>
                <a:gd name="connsiteX61" fmla="*/ 178522 w 216080"/>
                <a:gd name="connsiteY61" fmla="*/ 149501 h 185839"/>
                <a:gd name="connsiteX62" fmla="*/ 189619 w 216080"/>
                <a:gd name="connsiteY62" fmla="*/ 133404 h 185839"/>
                <a:gd name="connsiteX63" fmla="*/ 186936 w 216080"/>
                <a:gd name="connsiteY63" fmla="*/ 125356 h 185839"/>
                <a:gd name="connsiteX64" fmla="*/ 188644 w 216080"/>
                <a:gd name="connsiteY64" fmla="*/ 116576 h 185839"/>
                <a:gd name="connsiteX65" fmla="*/ 198033 w 216080"/>
                <a:gd name="connsiteY65" fmla="*/ 95724 h 185839"/>
                <a:gd name="connsiteX66" fmla="*/ 191814 w 216080"/>
                <a:gd name="connsiteY66" fmla="*/ 86579 h 185839"/>
                <a:gd name="connsiteX67" fmla="*/ 195106 w 216080"/>
                <a:gd name="connsiteY67" fmla="*/ 75116 h 185839"/>
                <a:gd name="connsiteX68" fmla="*/ 202911 w 216080"/>
                <a:gd name="connsiteY68" fmla="*/ 69019 h 185839"/>
                <a:gd name="connsiteX69" fmla="*/ 206325 w 216080"/>
                <a:gd name="connsiteY69" fmla="*/ 69995 h 185839"/>
                <a:gd name="connsiteX70" fmla="*/ 206935 w 216080"/>
                <a:gd name="connsiteY70" fmla="*/ 56703 h 185839"/>
                <a:gd name="connsiteX71" fmla="*/ 215471 w 216080"/>
                <a:gd name="connsiteY71" fmla="*/ 38899 h 185839"/>
                <a:gd name="connsiteX72" fmla="*/ 216081 w 216080"/>
                <a:gd name="connsiteY72" fmla="*/ 24998 h 185839"/>
                <a:gd name="connsiteX73" fmla="*/ 214373 w 216080"/>
                <a:gd name="connsiteY73" fmla="*/ 23901 h 185839"/>
                <a:gd name="connsiteX74" fmla="*/ 210106 w 216080"/>
                <a:gd name="connsiteY74" fmla="*/ 14511 h 18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16080" h="185839">
                  <a:moveTo>
                    <a:pt x="210106" y="14511"/>
                  </a:moveTo>
                  <a:lnTo>
                    <a:pt x="202545" y="7804"/>
                  </a:lnTo>
                  <a:lnTo>
                    <a:pt x="202667" y="6463"/>
                  </a:lnTo>
                  <a:lnTo>
                    <a:pt x="193155" y="7682"/>
                  </a:lnTo>
                  <a:lnTo>
                    <a:pt x="187546" y="0"/>
                  </a:lnTo>
                  <a:lnTo>
                    <a:pt x="184132" y="854"/>
                  </a:lnTo>
                  <a:lnTo>
                    <a:pt x="177791" y="11706"/>
                  </a:lnTo>
                  <a:lnTo>
                    <a:pt x="177791" y="48411"/>
                  </a:lnTo>
                  <a:lnTo>
                    <a:pt x="168889" y="69019"/>
                  </a:lnTo>
                  <a:lnTo>
                    <a:pt x="153769" y="89993"/>
                  </a:lnTo>
                  <a:lnTo>
                    <a:pt x="144623" y="95480"/>
                  </a:lnTo>
                  <a:lnTo>
                    <a:pt x="140355" y="103407"/>
                  </a:lnTo>
                  <a:lnTo>
                    <a:pt x="127429" y="109870"/>
                  </a:lnTo>
                  <a:lnTo>
                    <a:pt x="118405" y="104870"/>
                  </a:lnTo>
                  <a:lnTo>
                    <a:pt x="118405" y="104870"/>
                  </a:lnTo>
                  <a:lnTo>
                    <a:pt x="122551" y="94139"/>
                  </a:lnTo>
                  <a:lnTo>
                    <a:pt x="120112" y="93407"/>
                  </a:lnTo>
                  <a:lnTo>
                    <a:pt x="116698" y="95846"/>
                  </a:lnTo>
                  <a:lnTo>
                    <a:pt x="116088" y="105480"/>
                  </a:lnTo>
                  <a:lnTo>
                    <a:pt x="91578" y="137306"/>
                  </a:lnTo>
                  <a:lnTo>
                    <a:pt x="76823" y="135843"/>
                  </a:lnTo>
                  <a:lnTo>
                    <a:pt x="66336" y="141452"/>
                  </a:lnTo>
                  <a:lnTo>
                    <a:pt x="51947" y="142184"/>
                  </a:lnTo>
                  <a:lnTo>
                    <a:pt x="42070" y="138648"/>
                  </a:lnTo>
                  <a:lnTo>
                    <a:pt x="34509" y="139257"/>
                  </a:lnTo>
                  <a:lnTo>
                    <a:pt x="30607" y="147793"/>
                  </a:lnTo>
                  <a:lnTo>
                    <a:pt x="12804" y="161207"/>
                  </a:lnTo>
                  <a:lnTo>
                    <a:pt x="5731" y="163280"/>
                  </a:lnTo>
                  <a:lnTo>
                    <a:pt x="0" y="167304"/>
                  </a:lnTo>
                  <a:lnTo>
                    <a:pt x="853" y="171938"/>
                  </a:lnTo>
                  <a:lnTo>
                    <a:pt x="13413" y="171206"/>
                  </a:lnTo>
                  <a:lnTo>
                    <a:pt x="14511" y="174986"/>
                  </a:lnTo>
                  <a:lnTo>
                    <a:pt x="22315" y="169987"/>
                  </a:lnTo>
                  <a:lnTo>
                    <a:pt x="42558" y="165841"/>
                  </a:lnTo>
                  <a:lnTo>
                    <a:pt x="48898" y="158036"/>
                  </a:lnTo>
                  <a:lnTo>
                    <a:pt x="72311" y="152061"/>
                  </a:lnTo>
                  <a:lnTo>
                    <a:pt x="86822" y="158524"/>
                  </a:lnTo>
                  <a:lnTo>
                    <a:pt x="88529" y="169499"/>
                  </a:lnTo>
                  <a:lnTo>
                    <a:pt x="88529" y="169499"/>
                  </a:lnTo>
                  <a:lnTo>
                    <a:pt x="85725" y="174986"/>
                  </a:lnTo>
                  <a:lnTo>
                    <a:pt x="88042" y="182547"/>
                  </a:lnTo>
                  <a:lnTo>
                    <a:pt x="94139" y="185839"/>
                  </a:lnTo>
                  <a:lnTo>
                    <a:pt x="99992" y="182669"/>
                  </a:lnTo>
                  <a:lnTo>
                    <a:pt x="102309" y="171450"/>
                  </a:lnTo>
                  <a:lnTo>
                    <a:pt x="111577" y="170718"/>
                  </a:lnTo>
                  <a:lnTo>
                    <a:pt x="111211" y="167060"/>
                  </a:lnTo>
                  <a:lnTo>
                    <a:pt x="111211" y="162670"/>
                  </a:lnTo>
                  <a:lnTo>
                    <a:pt x="107308" y="155720"/>
                  </a:lnTo>
                  <a:lnTo>
                    <a:pt x="112064" y="147184"/>
                  </a:lnTo>
                  <a:lnTo>
                    <a:pt x="124746" y="147184"/>
                  </a:lnTo>
                  <a:lnTo>
                    <a:pt x="124014" y="156329"/>
                  </a:lnTo>
                  <a:lnTo>
                    <a:pt x="139135" y="155720"/>
                  </a:lnTo>
                  <a:lnTo>
                    <a:pt x="144623" y="148159"/>
                  </a:lnTo>
                  <a:lnTo>
                    <a:pt x="153524" y="145964"/>
                  </a:lnTo>
                  <a:lnTo>
                    <a:pt x="154256" y="155963"/>
                  </a:lnTo>
                  <a:lnTo>
                    <a:pt x="157549" y="155354"/>
                  </a:lnTo>
                  <a:lnTo>
                    <a:pt x="159499" y="142550"/>
                  </a:lnTo>
                  <a:lnTo>
                    <a:pt x="171327" y="131697"/>
                  </a:lnTo>
                  <a:lnTo>
                    <a:pt x="179254" y="137672"/>
                  </a:lnTo>
                  <a:lnTo>
                    <a:pt x="178400" y="146696"/>
                  </a:lnTo>
                  <a:lnTo>
                    <a:pt x="176450" y="148647"/>
                  </a:lnTo>
                  <a:lnTo>
                    <a:pt x="178522" y="149501"/>
                  </a:lnTo>
                  <a:lnTo>
                    <a:pt x="189619" y="133404"/>
                  </a:lnTo>
                  <a:lnTo>
                    <a:pt x="186936" y="125356"/>
                  </a:lnTo>
                  <a:lnTo>
                    <a:pt x="188644" y="116576"/>
                  </a:lnTo>
                  <a:lnTo>
                    <a:pt x="198033" y="95724"/>
                  </a:lnTo>
                  <a:lnTo>
                    <a:pt x="191814" y="86579"/>
                  </a:lnTo>
                  <a:lnTo>
                    <a:pt x="195106" y="75116"/>
                  </a:lnTo>
                  <a:lnTo>
                    <a:pt x="202911" y="69019"/>
                  </a:lnTo>
                  <a:lnTo>
                    <a:pt x="206325" y="69995"/>
                  </a:lnTo>
                  <a:lnTo>
                    <a:pt x="206935" y="56703"/>
                  </a:lnTo>
                  <a:lnTo>
                    <a:pt x="215471" y="38899"/>
                  </a:lnTo>
                  <a:lnTo>
                    <a:pt x="216081" y="24998"/>
                  </a:lnTo>
                  <a:lnTo>
                    <a:pt x="214373" y="23901"/>
                  </a:lnTo>
                  <a:lnTo>
                    <a:pt x="210106" y="1451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7" name="Freihandform: Form 786">
              <a:extLst>
                <a:ext uri="{FF2B5EF4-FFF2-40B4-BE49-F238E27FC236}">
                  <a16:creationId xmlns:a16="http://schemas.microsoft.com/office/drawing/2014/main" id="{34608BF3-EF2F-4FD3-9B5C-E8D49E29873D}"/>
                </a:ext>
              </a:extLst>
            </p:cNvPr>
            <p:cNvSpPr/>
            <p:nvPr/>
          </p:nvSpPr>
          <p:spPr>
            <a:xfrm>
              <a:off x="6799141" y="3614254"/>
              <a:ext cx="30241" cy="15364"/>
            </a:xfrm>
            <a:custGeom>
              <a:avLst/>
              <a:gdLst>
                <a:gd name="connsiteX0" fmla="*/ 1341 w 30241"/>
                <a:gd name="connsiteY0" fmla="*/ 0 h 15364"/>
                <a:gd name="connsiteX1" fmla="*/ 0 w 30241"/>
                <a:gd name="connsiteY1" fmla="*/ 1341 h 15364"/>
                <a:gd name="connsiteX2" fmla="*/ 11950 w 30241"/>
                <a:gd name="connsiteY2" fmla="*/ 9999 h 15364"/>
                <a:gd name="connsiteX3" fmla="*/ 28656 w 30241"/>
                <a:gd name="connsiteY3" fmla="*/ 15365 h 15364"/>
                <a:gd name="connsiteX4" fmla="*/ 30241 w 30241"/>
                <a:gd name="connsiteY4" fmla="*/ 14389 h 15364"/>
                <a:gd name="connsiteX5" fmla="*/ 18535 w 30241"/>
                <a:gd name="connsiteY5" fmla="*/ 3536 h 15364"/>
                <a:gd name="connsiteX6" fmla="*/ 1341 w 30241"/>
                <a:gd name="connsiteY6" fmla="*/ 0 h 1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41" h="15364">
                  <a:moveTo>
                    <a:pt x="1341" y="0"/>
                  </a:moveTo>
                  <a:lnTo>
                    <a:pt x="0" y="1341"/>
                  </a:lnTo>
                  <a:lnTo>
                    <a:pt x="11950" y="9999"/>
                  </a:lnTo>
                  <a:lnTo>
                    <a:pt x="28656" y="15365"/>
                  </a:lnTo>
                  <a:lnTo>
                    <a:pt x="30241" y="14389"/>
                  </a:lnTo>
                  <a:lnTo>
                    <a:pt x="18535" y="3536"/>
                  </a:lnTo>
                  <a:lnTo>
                    <a:pt x="134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8" name="Freihandform: Form 787">
              <a:extLst>
                <a:ext uri="{FF2B5EF4-FFF2-40B4-BE49-F238E27FC236}">
                  <a16:creationId xmlns:a16="http://schemas.microsoft.com/office/drawing/2014/main" id="{FA646BAA-12F6-4AA2-BCF9-472B80077BB8}"/>
                </a:ext>
              </a:extLst>
            </p:cNvPr>
            <p:cNvSpPr/>
            <p:nvPr/>
          </p:nvSpPr>
          <p:spPr>
            <a:xfrm>
              <a:off x="6738902" y="3593402"/>
              <a:ext cx="60848" cy="12681"/>
            </a:xfrm>
            <a:custGeom>
              <a:avLst/>
              <a:gdLst>
                <a:gd name="connsiteX0" fmla="*/ 58776 w 60848"/>
                <a:gd name="connsiteY0" fmla="*/ 0 h 12681"/>
                <a:gd name="connsiteX1" fmla="*/ 37192 w 60848"/>
                <a:gd name="connsiteY1" fmla="*/ 1829 h 12681"/>
                <a:gd name="connsiteX2" fmla="*/ 34021 w 60848"/>
                <a:gd name="connsiteY2" fmla="*/ 4878 h 12681"/>
                <a:gd name="connsiteX3" fmla="*/ 25852 w 60848"/>
                <a:gd name="connsiteY3" fmla="*/ 2805 h 12681"/>
                <a:gd name="connsiteX4" fmla="*/ 11218 w 60848"/>
                <a:gd name="connsiteY4" fmla="*/ 5731 h 12681"/>
                <a:gd name="connsiteX5" fmla="*/ 3536 w 60848"/>
                <a:gd name="connsiteY5" fmla="*/ 610 h 12681"/>
                <a:gd name="connsiteX6" fmla="*/ 0 w 60848"/>
                <a:gd name="connsiteY6" fmla="*/ 4756 h 12681"/>
                <a:gd name="connsiteX7" fmla="*/ 1829 w 60848"/>
                <a:gd name="connsiteY7" fmla="*/ 8292 h 12681"/>
                <a:gd name="connsiteX8" fmla="*/ 21218 w 60848"/>
                <a:gd name="connsiteY8" fmla="*/ 12682 h 12681"/>
                <a:gd name="connsiteX9" fmla="*/ 56093 w 60848"/>
                <a:gd name="connsiteY9" fmla="*/ 7195 h 12681"/>
                <a:gd name="connsiteX10" fmla="*/ 60849 w 60848"/>
                <a:gd name="connsiteY10" fmla="*/ 3170 h 12681"/>
                <a:gd name="connsiteX11" fmla="*/ 58776 w 60848"/>
                <a:gd name="connsiteY11" fmla="*/ 0 h 1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848" h="12681">
                  <a:moveTo>
                    <a:pt x="58776" y="0"/>
                  </a:moveTo>
                  <a:lnTo>
                    <a:pt x="37192" y="1829"/>
                  </a:lnTo>
                  <a:lnTo>
                    <a:pt x="34021" y="4878"/>
                  </a:lnTo>
                  <a:lnTo>
                    <a:pt x="25852" y="2805"/>
                  </a:lnTo>
                  <a:lnTo>
                    <a:pt x="11218" y="5731"/>
                  </a:lnTo>
                  <a:lnTo>
                    <a:pt x="3536" y="610"/>
                  </a:lnTo>
                  <a:lnTo>
                    <a:pt x="0" y="4756"/>
                  </a:lnTo>
                  <a:lnTo>
                    <a:pt x="1829" y="8292"/>
                  </a:lnTo>
                  <a:lnTo>
                    <a:pt x="21218" y="12682"/>
                  </a:lnTo>
                  <a:lnTo>
                    <a:pt x="56093" y="7195"/>
                  </a:lnTo>
                  <a:lnTo>
                    <a:pt x="60849" y="3170"/>
                  </a:lnTo>
                  <a:lnTo>
                    <a:pt x="58776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89" name="Freihandform: Form 788">
              <a:extLst>
                <a:ext uri="{FF2B5EF4-FFF2-40B4-BE49-F238E27FC236}">
                  <a16:creationId xmlns:a16="http://schemas.microsoft.com/office/drawing/2014/main" id="{FFF7D3A2-93DC-4965-AA6B-2A55C0BDD383}"/>
                </a:ext>
              </a:extLst>
            </p:cNvPr>
            <p:cNvSpPr/>
            <p:nvPr/>
          </p:nvSpPr>
          <p:spPr>
            <a:xfrm>
              <a:off x="5901285" y="1423450"/>
              <a:ext cx="8048" cy="1463"/>
            </a:xfrm>
            <a:custGeom>
              <a:avLst/>
              <a:gdLst>
                <a:gd name="connsiteX0" fmla="*/ 3414 w 8048"/>
                <a:gd name="connsiteY0" fmla="*/ 1463 h 1463"/>
                <a:gd name="connsiteX1" fmla="*/ 8048 w 8048"/>
                <a:gd name="connsiteY1" fmla="*/ 976 h 1463"/>
                <a:gd name="connsiteX2" fmla="*/ 8048 w 8048"/>
                <a:gd name="connsiteY2" fmla="*/ 732 h 1463"/>
                <a:gd name="connsiteX3" fmla="*/ 1463 w 8048"/>
                <a:gd name="connsiteY3" fmla="*/ 0 h 1463"/>
                <a:gd name="connsiteX4" fmla="*/ 0 w 8048"/>
                <a:gd name="connsiteY4" fmla="*/ 488 h 1463"/>
                <a:gd name="connsiteX5" fmla="*/ 366 w 8048"/>
                <a:gd name="connsiteY5" fmla="*/ 976 h 1463"/>
                <a:gd name="connsiteX6" fmla="*/ 3414 w 8048"/>
                <a:gd name="connsiteY6" fmla="*/ 1463 h 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8" h="1463">
                  <a:moveTo>
                    <a:pt x="3414" y="1463"/>
                  </a:moveTo>
                  <a:lnTo>
                    <a:pt x="8048" y="976"/>
                  </a:lnTo>
                  <a:lnTo>
                    <a:pt x="8048" y="732"/>
                  </a:lnTo>
                  <a:lnTo>
                    <a:pt x="1463" y="0"/>
                  </a:lnTo>
                  <a:lnTo>
                    <a:pt x="0" y="488"/>
                  </a:lnTo>
                  <a:lnTo>
                    <a:pt x="366" y="976"/>
                  </a:lnTo>
                  <a:lnTo>
                    <a:pt x="3414" y="1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0" name="Freihandform: Form 789">
              <a:extLst>
                <a:ext uri="{FF2B5EF4-FFF2-40B4-BE49-F238E27FC236}">
                  <a16:creationId xmlns:a16="http://schemas.microsoft.com/office/drawing/2014/main" id="{58AC8FE4-974E-480A-A62E-D3F1FA3EEB0D}"/>
                </a:ext>
              </a:extLst>
            </p:cNvPr>
            <p:cNvSpPr/>
            <p:nvPr/>
          </p:nvSpPr>
          <p:spPr>
            <a:xfrm>
              <a:off x="5816658" y="1408939"/>
              <a:ext cx="23168" cy="14511"/>
            </a:xfrm>
            <a:custGeom>
              <a:avLst/>
              <a:gdLst>
                <a:gd name="connsiteX0" fmla="*/ 14023 w 23168"/>
                <a:gd name="connsiteY0" fmla="*/ 11584 h 14511"/>
                <a:gd name="connsiteX1" fmla="*/ 23169 w 23168"/>
                <a:gd name="connsiteY1" fmla="*/ 5975 h 14511"/>
                <a:gd name="connsiteX2" fmla="*/ 13901 w 23168"/>
                <a:gd name="connsiteY2" fmla="*/ 0 h 14511"/>
                <a:gd name="connsiteX3" fmla="*/ 0 w 23168"/>
                <a:gd name="connsiteY3" fmla="*/ 7317 h 14511"/>
                <a:gd name="connsiteX4" fmla="*/ 0 w 23168"/>
                <a:gd name="connsiteY4" fmla="*/ 11097 h 14511"/>
                <a:gd name="connsiteX5" fmla="*/ 6585 w 23168"/>
                <a:gd name="connsiteY5" fmla="*/ 14511 h 14511"/>
                <a:gd name="connsiteX6" fmla="*/ 14023 w 23168"/>
                <a:gd name="connsiteY6" fmla="*/ 11584 h 1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168" h="14511">
                  <a:moveTo>
                    <a:pt x="14023" y="11584"/>
                  </a:moveTo>
                  <a:lnTo>
                    <a:pt x="23169" y="5975"/>
                  </a:lnTo>
                  <a:lnTo>
                    <a:pt x="13901" y="0"/>
                  </a:lnTo>
                  <a:lnTo>
                    <a:pt x="0" y="7317"/>
                  </a:lnTo>
                  <a:lnTo>
                    <a:pt x="0" y="11097"/>
                  </a:lnTo>
                  <a:lnTo>
                    <a:pt x="6585" y="14511"/>
                  </a:lnTo>
                  <a:lnTo>
                    <a:pt x="14023" y="1158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1" name="Freihandform: Form 790">
              <a:extLst>
                <a:ext uri="{FF2B5EF4-FFF2-40B4-BE49-F238E27FC236}">
                  <a16:creationId xmlns:a16="http://schemas.microsoft.com/office/drawing/2014/main" id="{97D25FF9-08F8-4A97-A917-D45CE4A18942}"/>
                </a:ext>
              </a:extLst>
            </p:cNvPr>
            <p:cNvSpPr/>
            <p:nvPr/>
          </p:nvSpPr>
          <p:spPr>
            <a:xfrm>
              <a:off x="7166917" y="2117298"/>
              <a:ext cx="11097" cy="9389"/>
            </a:xfrm>
            <a:custGeom>
              <a:avLst/>
              <a:gdLst>
                <a:gd name="connsiteX0" fmla="*/ 2561 w 11097"/>
                <a:gd name="connsiteY0" fmla="*/ 0 h 9389"/>
                <a:gd name="connsiteX1" fmla="*/ 0 w 11097"/>
                <a:gd name="connsiteY1" fmla="*/ 3292 h 9389"/>
                <a:gd name="connsiteX2" fmla="*/ 0 w 11097"/>
                <a:gd name="connsiteY2" fmla="*/ 6829 h 9389"/>
                <a:gd name="connsiteX3" fmla="*/ 6585 w 11097"/>
                <a:gd name="connsiteY3" fmla="*/ 9389 h 9389"/>
                <a:gd name="connsiteX4" fmla="*/ 11097 w 11097"/>
                <a:gd name="connsiteY4" fmla="*/ 3658 h 9389"/>
                <a:gd name="connsiteX5" fmla="*/ 8170 w 11097"/>
                <a:gd name="connsiteY5" fmla="*/ 732 h 9389"/>
                <a:gd name="connsiteX6" fmla="*/ 2561 w 11097"/>
                <a:gd name="connsiteY6" fmla="*/ 0 h 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97" h="9389">
                  <a:moveTo>
                    <a:pt x="2561" y="0"/>
                  </a:moveTo>
                  <a:lnTo>
                    <a:pt x="0" y="3292"/>
                  </a:lnTo>
                  <a:lnTo>
                    <a:pt x="0" y="6829"/>
                  </a:lnTo>
                  <a:lnTo>
                    <a:pt x="6585" y="9389"/>
                  </a:lnTo>
                  <a:lnTo>
                    <a:pt x="11097" y="3658"/>
                  </a:lnTo>
                  <a:lnTo>
                    <a:pt x="8170" y="732"/>
                  </a:lnTo>
                  <a:lnTo>
                    <a:pt x="256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2" name="Freihandform: Form 791">
              <a:extLst>
                <a:ext uri="{FF2B5EF4-FFF2-40B4-BE49-F238E27FC236}">
                  <a16:creationId xmlns:a16="http://schemas.microsoft.com/office/drawing/2014/main" id="{C5AC37E2-E239-49C6-9D2E-8E923CC97A7A}"/>
                </a:ext>
              </a:extLst>
            </p:cNvPr>
            <p:cNvSpPr/>
            <p:nvPr/>
          </p:nvSpPr>
          <p:spPr>
            <a:xfrm>
              <a:off x="5928600" y="1405403"/>
              <a:ext cx="5609" cy="2560"/>
            </a:xfrm>
            <a:custGeom>
              <a:avLst/>
              <a:gdLst>
                <a:gd name="connsiteX0" fmla="*/ 854 w 5609"/>
                <a:gd name="connsiteY0" fmla="*/ 0 h 2560"/>
                <a:gd name="connsiteX1" fmla="*/ 0 w 5609"/>
                <a:gd name="connsiteY1" fmla="*/ 2561 h 2560"/>
                <a:gd name="connsiteX2" fmla="*/ 5609 w 5609"/>
                <a:gd name="connsiteY2" fmla="*/ 488 h 2560"/>
                <a:gd name="connsiteX3" fmla="*/ 854 w 5609"/>
                <a:gd name="connsiteY3" fmla="*/ 0 h 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09" h="2560">
                  <a:moveTo>
                    <a:pt x="854" y="0"/>
                  </a:moveTo>
                  <a:lnTo>
                    <a:pt x="0" y="2561"/>
                  </a:lnTo>
                  <a:lnTo>
                    <a:pt x="5609" y="488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3" name="Freihandform: Form 792">
              <a:extLst>
                <a:ext uri="{FF2B5EF4-FFF2-40B4-BE49-F238E27FC236}">
                  <a16:creationId xmlns:a16="http://schemas.microsoft.com/office/drawing/2014/main" id="{C00D355D-8C61-48A9-9493-715C172E9200}"/>
                </a:ext>
              </a:extLst>
            </p:cNvPr>
            <p:cNvSpPr/>
            <p:nvPr/>
          </p:nvSpPr>
          <p:spPr>
            <a:xfrm>
              <a:off x="7406776" y="2396667"/>
              <a:ext cx="17803" cy="12438"/>
            </a:xfrm>
            <a:custGeom>
              <a:avLst/>
              <a:gdLst>
                <a:gd name="connsiteX0" fmla="*/ 0 w 17803"/>
                <a:gd name="connsiteY0" fmla="*/ 12438 h 12438"/>
                <a:gd name="connsiteX1" fmla="*/ 5122 w 17803"/>
                <a:gd name="connsiteY1" fmla="*/ 11341 h 12438"/>
                <a:gd name="connsiteX2" fmla="*/ 17804 w 17803"/>
                <a:gd name="connsiteY2" fmla="*/ 0 h 12438"/>
                <a:gd name="connsiteX3" fmla="*/ 12073 w 17803"/>
                <a:gd name="connsiteY3" fmla="*/ 488 h 12438"/>
                <a:gd name="connsiteX4" fmla="*/ 0 w 17803"/>
                <a:gd name="connsiteY4" fmla="*/ 12438 h 1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3" h="12438">
                  <a:moveTo>
                    <a:pt x="0" y="12438"/>
                  </a:moveTo>
                  <a:lnTo>
                    <a:pt x="5122" y="11341"/>
                  </a:lnTo>
                  <a:lnTo>
                    <a:pt x="17804" y="0"/>
                  </a:lnTo>
                  <a:lnTo>
                    <a:pt x="12073" y="488"/>
                  </a:lnTo>
                  <a:lnTo>
                    <a:pt x="0" y="1243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4" name="Freihandform: Form 793">
              <a:extLst>
                <a:ext uri="{FF2B5EF4-FFF2-40B4-BE49-F238E27FC236}">
                  <a16:creationId xmlns:a16="http://schemas.microsoft.com/office/drawing/2014/main" id="{04F6B8F4-CE15-456F-BACA-05E351B3F37D}"/>
                </a:ext>
              </a:extLst>
            </p:cNvPr>
            <p:cNvSpPr/>
            <p:nvPr/>
          </p:nvSpPr>
          <p:spPr>
            <a:xfrm>
              <a:off x="7355439" y="2416787"/>
              <a:ext cx="34143" cy="27924"/>
            </a:xfrm>
            <a:custGeom>
              <a:avLst/>
              <a:gdLst>
                <a:gd name="connsiteX0" fmla="*/ 17316 w 34143"/>
                <a:gd name="connsiteY0" fmla="*/ 9633 h 27924"/>
                <a:gd name="connsiteX1" fmla="*/ 15243 w 34143"/>
                <a:gd name="connsiteY1" fmla="*/ 5609 h 27924"/>
                <a:gd name="connsiteX2" fmla="*/ 1341 w 34143"/>
                <a:gd name="connsiteY2" fmla="*/ 23169 h 27924"/>
                <a:gd name="connsiteX3" fmla="*/ 0 w 34143"/>
                <a:gd name="connsiteY3" fmla="*/ 27925 h 27924"/>
                <a:gd name="connsiteX4" fmla="*/ 487 w 34143"/>
                <a:gd name="connsiteY4" fmla="*/ 27925 h 27924"/>
                <a:gd name="connsiteX5" fmla="*/ 10731 w 34143"/>
                <a:gd name="connsiteY5" fmla="*/ 14877 h 27924"/>
                <a:gd name="connsiteX6" fmla="*/ 26461 w 34143"/>
                <a:gd name="connsiteY6" fmla="*/ 7682 h 27924"/>
                <a:gd name="connsiteX7" fmla="*/ 34144 w 34143"/>
                <a:gd name="connsiteY7" fmla="*/ 0 h 27924"/>
                <a:gd name="connsiteX8" fmla="*/ 25242 w 34143"/>
                <a:gd name="connsiteY8" fmla="*/ 854 h 27924"/>
                <a:gd name="connsiteX9" fmla="*/ 17316 w 34143"/>
                <a:gd name="connsiteY9" fmla="*/ 9633 h 2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143" h="27924">
                  <a:moveTo>
                    <a:pt x="17316" y="9633"/>
                  </a:moveTo>
                  <a:lnTo>
                    <a:pt x="15243" y="5609"/>
                  </a:lnTo>
                  <a:lnTo>
                    <a:pt x="1341" y="23169"/>
                  </a:lnTo>
                  <a:lnTo>
                    <a:pt x="0" y="27925"/>
                  </a:lnTo>
                  <a:lnTo>
                    <a:pt x="487" y="27925"/>
                  </a:lnTo>
                  <a:lnTo>
                    <a:pt x="10731" y="14877"/>
                  </a:lnTo>
                  <a:lnTo>
                    <a:pt x="26461" y="7682"/>
                  </a:lnTo>
                  <a:lnTo>
                    <a:pt x="34144" y="0"/>
                  </a:lnTo>
                  <a:lnTo>
                    <a:pt x="25242" y="854"/>
                  </a:lnTo>
                  <a:lnTo>
                    <a:pt x="17316" y="96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5" name="Freihandform: Form 794">
              <a:extLst>
                <a:ext uri="{FF2B5EF4-FFF2-40B4-BE49-F238E27FC236}">
                  <a16:creationId xmlns:a16="http://schemas.microsoft.com/office/drawing/2014/main" id="{6F23F56D-EDD1-4FEB-8A6B-D1F3A4EF7A07}"/>
                </a:ext>
              </a:extLst>
            </p:cNvPr>
            <p:cNvSpPr/>
            <p:nvPr/>
          </p:nvSpPr>
          <p:spPr>
            <a:xfrm>
              <a:off x="5326452" y="2523730"/>
              <a:ext cx="83940" cy="86212"/>
            </a:xfrm>
            <a:custGeom>
              <a:avLst/>
              <a:gdLst>
                <a:gd name="connsiteX0" fmla="*/ 62068 w 83940"/>
                <a:gd name="connsiteY0" fmla="*/ 61337 h 86212"/>
                <a:gd name="connsiteX1" fmla="*/ 64751 w 83940"/>
                <a:gd name="connsiteY1" fmla="*/ 59264 h 86212"/>
                <a:gd name="connsiteX2" fmla="*/ 80359 w 83940"/>
                <a:gd name="connsiteY2" fmla="*/ 46216 h 86212"/>
                <a:gd name="connsiteX3" fmla="*/ 82189 w 83940"/>
                <a:gd name="connsiteY3" fmla="*/ 44265 h 86212"/>
                <a:gd name="connsiteX4" fmla="*/ 83286 w 83940"/>
                <a:gd name="connsiteY4" fmla="*/ 42923 h 86212"/>
                <a:gd name="connsiteX5" fmla="*/ 83896 w 83940"/>
                <a:gd name="connsiteY5" fmla="*/ 36582 h 86212"/>
                <a:gd name="connsiteX6" fmla="*/ 83896 w 83940"/>
                <a:gd name="connsiteY6" fmla="*/ 34144 h 86212"/>
                <a:gd name="connsiteX7" fmla="*/ 76091 w 83940"/>
                <a:gd name="connsiteY7" fmla="*/ 23047 h 86212"/>
                <a:gd name="connsiteX8" fmla="*/ 73531 w 83940"/>
                <a:gd name="connsiteY8" fmla="*/ 20242 h 86212"/>
                <a:gd name="connsiteX9" fmla="*/ 73531 w 83940"/>
                <a:gd name="connsiteY9" fmla="*/ 19389 h 86212"/>
                <a:gd name="connsiteX10" fmla="*/ 60239 w 83940"/>
                <a:gd name="connsiteY10" fmla="*/ 1463 h 86212"/>
                <a:gd name="connsiteX11" fmla="*/ 58532 w 83940"/>
                <a:gd name="connsiteY11" fmla="*/ 0 h 86212"/>
                <a:gd name="connsiteX12" fmla="*/ 58532 w 83940"/>
                <a:gd name="connsiteY12" fmla="*/ 8048 h 86212"/>
                <a:gd name="connsiteX13" fmla="*/ 58532 w 83940"/>
                <a:gd name="connsiteY13" fmla="*/ 12438 h 86212"/>
                <a:gd name="connsiteX14" fmla="*/ 54386 w 83940"/>
                <a:gd name="connsiteY14" fmla="*/ 13779 h 86212"/>
                <a:gd name="connsiteX15" fmla="*/ 43899 w 83940"/>
                <a:gd name="connsiteY15" fmla="*/ 17316 h 86212"/>
                <a:gd name="connsiteX16" fmla="*/ 41460 w 83940"/>
                <a:gd name="connsiteY16" fmla="*/ 18047 h 86212"/>
                <a:gd name="connsiteX17" fmla="*/ 39265 w 83940"/>
                <a:gd name="connsiteY17" fmla="*/ 16950 h 86212"/>
                <a:gd name="connsiteX18" fmla="*/ 24510 w 83940"/>
                <a:gd name="connsiteY18" fmla="*/ 9633 h 86212"/>
                <a:gd name="connsiteX19" fmla="*/ 26705 w 83940"/>
                <a:gd name="connsiteY19" fmla="*/ 14267 h 86212"/>
                <a:gd name="connsiteX20" fmla="*/ 27559 w 83940"/>
                <a:gd name="connsiteY20" fmla="*/ 16218 h 86212"/>
                <a:gd name="connsiteX21" fmla="*/ 27559 w 83940"/>
                <a:gd name="connsiteY21" fmla="*/ 18291 h 86212"/>
                <a:gd name="connsiteX22" fmla="*/ 26705 w 83940"/>
                <a:gd name="connsiteY22" fmla="*/ 21584 h 86212"/>
                <a:gd name="connsiteX23" fmla="*/ 25486 w 83940"/>
                <a:gd name="connsiteY23" fmla="*/ 26461 h 86212"/>
                <a:gd name="connsiteX24" fmla="*/ 20486 w 83940"/>
                <a:gd name="connsiteY24" fmla="*/ 26461 h 86212"/>
                <a:gd name="connsiteX25" fmla="*/ 0 w 83940"/>
                <a:gd name="connsiteY25" fmla="*/ 25486 h 86212"/>
                <a:gd name="connsiteX26" fmla="*/ 3171 w 83940"/>
                <a:gd name="connsiteY26" fmla="*/ 30485 h 86212"/>
                <a:gd name="connsiteX27" fmla="*/ 9877 w 83940"/>
                <a:gd name="connsiteY27" fmla="*/ 42680 h 86212"/>
                <a:gd name="connsiteX28" fmla="*/ 26827 w 83940"/>
                <a:gd name="connsiteY28" fmla="*/ 59751 h 86212"/>
                <a:gd name="connsiteX29" fmla="*/ 27803 w 83940"/>
                <a:gd name="connsiteY29" fmla="*/ 60605 h 86212"/>
                <a:gd name="connsiteX30" fmla="*/ 28656 w 83940"/>
                <a:gd name="connsiteY30" fmla="*/ 60605 h 86212"/>
                <a:gd name="connsiteX31" fmla="*/ 44996 w 83940"/>
                <a:gd name="connsiteY31" fmla="*/ 55117 h 86212"/>
                <a:gd name="connsiteX32" fmla="*/ 49996 w 83940"/>
                <a:gd name="connsiteY32" fmla="*/ 53532 h 86212"/>
                <a:gd name="connsiteX33" fmla="*/ 52313 w 83940"/>
                <a:gd name="connsiteY33" fmla="*/ 58166 h 86212"/>
                <a:gd name="connsiteX34" fmla="*/ 54142 w 83940"/>
                <a:gd name="connsiteY34" fmla="*/ 61702 h 86212"/>
                <a:gd name="connsiteX35" fmla="*/ 54874 w 83940"/>
                <a:gd name="connsiteY35" fmla="*/ 63166 h 86212"/>
                <a:gd name="connsiteX36" fmla="*/ 54874 w 83940"/>
                <a:gd name="connsiteY36" fmla="*/ 64873 h 86212"/>
                <a:gd name="connsiteX37" fmla="*/ 53654 w 83940"/>
                <a:gd name="connsiteY37" fmla="*/ 81945 h 86212"/>
                <a:gd name="connsiteX38" fmla="*/ 59508 w 83940"/>
                <a:gd name="connsiteY38" fmla="*/ 86213 h 86212"/>
                <a:gd name="connsiteX39" fmla="*/ 59508 w 83940"/>
                <a:gd name="connsiteY39" fmla="*/ 83408 h 86212"/>
                <a:gd name="connsiteX40" fmla="*/ 58654 w 83940"/>
                <a:gd name="connsiteY40" fmla="*/ 78043 h 86212"/>
                <a:gd name="connsiteX41" fmla="*/ 63410 w 83940"/>
                <a:gd name="connsiteY41" fmla="*/ 62190 h 8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83940" h="86212">
                  <a:moveTo>
                    <a:pt x="62068" y="61337"/>
                  </a:moveTo>
                  <a:lnTo>
                    <a:pt x="64751" y="59264"/>
                  </a:lnTo>
                  <a:cubicBezTo>
                    <a:pt x="69751" y="55361"/>
                    <a:pt x="76945" y="49874"/>
                    <a:pt x="80359" y="46216"/>
                  </a:cubicBezTo>
                  <a:lnTo>
                    <a:pt x="82189" y="44265"/>
                  </a:lnTo>
                  <a:lnTo>
                    <a:pt x="83286" y="42923"/>
                  </a:lnTo>
                  <a:cubicBezTo>
                    <a:pt x="83631" y="40826"/>
                    <a:pt x="83835" y="38707"/>
                    <a:pt x="83896" y="36582"/>
                  </a:cubicBezTo>
                  <a:cubicBezTo>
                    <a:pt x="83956" y="35770"/>
                    <a:pt x="83956" y="34955"/>
                    <a:pt x="83896" y="34144"/>
                  </a:cubicBezTo>
                  <a:cubicBezTo>
                    <a:pt x="83164" y="30485"/>
                    <a:pt x="80725" y="27925"/>
                    <a:pt x="76091" y="23047"/>
                  </a:cubicBezTo>
                  <a:lnTo>
                    <a:pt x="73531" y="20242"/>
                  </a:lnTo>
                  <a:lnTo>
                    <a:pt x="73531" y="19389"/>
                  </a:lnTo>
                  <a:cubicBezTo>
                    <a:pt x="73531" y="11828"/>
                    <a:pt x="67068" y="7195"/>
                    <a:pt x="60239" y="1463"/>
                  </a:cubicBezTo>
                  <a:lnTo>
                    <a:pt x="58532" y="0"/>
                  </a:lnTo>
                  <a:lnTo>
                    <a:pt x="58532" y="8048"/>
                  </a:lnTo>
                  <a:lnTo>
                    <a:pt x="58532" y="12438"/>
                  </a:lnTo>
                  <a:lnTo>
                    <a:pt x="54386" y="13779"/>
                  </a:lnTo>
                  <a:lnTo>
                    <a:pt x="43899" y="17316"/>
                  </a:lnTo>
                  <a:lnTo>
                    <a:pt x="41460" y="18047"/>
                  </a:lnTo>
                  <a:lnTo>
                    <a:pt x="39265" y="16950"/>
                  </a:lnTo>
                  <a:lnTo>
                    <a:pt x="24510" y="9633"/>
                  </a:lnTo>
                  <a:lnTo>
                    <a:pt x="26705" y="14267"/>
                  </a:lnTo>
                  <a:lnTo>
                    <a:pt x="27559" y="16218"/>
                  </a:lnTo>
                  <a:lnTo>
                    <a:pt x="27559" y="18291"/>
                  </a:lnTo>
                  <a:lnTo>
                    <a:pt x="26705" y="21584"/>
                  </a:lnTo>
                  <a:lnTo>
                    <a:pt x="25486" y="26461"/>
                  </a:lnTo>
                  <a:lnTo>
                    <a:pt x="20486" y="26461"/>
                  </a:lnTo>
                  <a:lnTo>
                    <a:pt x="0" y="25486"/>
                  </a:lnTo>
                  <a:lnTo>
                    <a:pt x="3171" y="30485"/>
                  </a:lnTo>
                  <a:lnTo>
                    <a:pt x="9877" y="42680"/>
                  </a:lnTo>
                  <a:lnTo>
                    <a:pt x="26827" y="59751"/>
                  </a:lnTo>
                  <a:lnTo>
                    <a:pt x="27803" y="60605"/>
                  </a:lnTo>
                  <a:lnTo>
                    <a:pt x="28656" y="60605"/>
                  </a:lnTo>
                  <a:lnTo>
                    <a:pt x="44996" y="55117"/>
                  </a:lnTo>
                  <a:lnTo>
                    <a:pt x="49996" y="53532"/>
                  </a:lnTo>
                  <a:lnTo>
                    <a:pt x="52313" y="58166"/>
                  </a:lnTo>
                  <a:lnTo>
                    <a:pt x="54142" y="61702"/>
                  </a:lnTo>
                  <a:lnTo>
                    <a:pt x="54874" y="63166"/>
                  </a:lnTo>
                  <a:lnTo>
                    <a:pt x="54874" y="64873"/>
                  </a:lnTo>
                  <a:lnTo>
                    <a:pt x="53654" y="81945"/>
                  </a:lnTo>
                  <a:lnTo>
                    <a:pt x="59508" y="86213"/>
                  </a:lnTo>
                  <a:cubicBezTo>
                    <a:pt x="59450" y="85279"/>
                    <a:pt x="59450" y="84342"/>
                    <a:pt x="59508" y="83408"/>
                  </a:cubicBezTo>
                  <a:cubicBezTo>
                    <a:pt x="59508" y="81701"/>
                    <a:pt x="58898" y="79872"/>
                    <a:pt x="58654" y="78043"/>
                  </a:cubicBezTo>
                  <a:cubicBezTo>
                    <a:pt x="57559" y="72299"/>
                    <a:pt x="59334" y="66382"/>
                    <a:pt x="63410" y="62190"/>
                  </a:cubicBez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6" name="Freihandform: Form 795">
              <a:extLst>
                <a:ext uri="{FF2B5EF4-FFF2-40B4-BE49-F238E27FC236}">
                  <a16:creationId xmlns:a16="http://schemas.microsoft.com/office/drawing/2014/main" id="{22B5B331-B4F9-4B67-B44D-7F8C7B77E207}"/>
                </a:ext>
              </a:extLst>
            </p:cNvPr>
            <p:cNvSpPr/>
            <p:nvPr/>
          </p:nvSpPr>
          <p:spPr>
            <a:xfrm>
              <a:off x="5532412" y="2901993"/>
              <a:ext cx="7316" cy="7560"/>
            </a:xfrm>
            <a:custGeom>
              <a:avLst/>
              <a:gdLst>
                <a:gd name="connsiteX0" fmla="*/ 7316 w 7316"/>
                <a:gd name="connsiteY0" fmla="*/ 1341 h 7560"/>
                <a:gd name="connsiteX1" fmla="*/ 5121 w 7316"/>
                <a:gd name="connsiteY1" fmla="*/ 0 h 7560"/>
                <a:gd name="connsiteX2" fmla="*/ 2683 w 7316"/>
                <a:gd name="connsiteY2" fmla="*/ 488 h 7560"/>
                <a:gd name="connsiteX3" fmla="*/ 0 w 7316"/>
                <a:gd name="connsiteY3" fmla="*/ 3658 h 7560"/>
                <a:gd name="connsiteX4" fmla="*/ 6463 w 7316"/>
                <a:gd name="connsiteY4" fmla="*/ 7561 h 7560"/>
                <a:gd name="connsiteX5" fmla="*/ 7316 w 7316"/>
                <a:gd name="connsiteY5" fmla="*/ 1341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16" h="7560">
                  <a:moveTo>
                    <a:pt x="7316" y="1341"/>
                  </a:moveTo>
                  <a:lnTo>
                    <a:pt x="5121" y="0"/>
                  </a:lnTo>
                  <a:lnTo>
                    <a:pt x="2683" y="488"/>
                  </a:lnTo>
                  <a:lnTo>
                    <a:pt x="0" y="3658"/>
                  </a:lnTo>
                  <a:lnTo>
                    <a:pt x="6463" y="7561"/>
                  </a:lnTo>
                  <a:lnTo>
                    <a:pt x="7316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7" name="Freihandform: Form 796">
              <a:extLst>
                <a:ext uri="{FF2B5EF4-FFF2-40B4-BE49-F238E27FC236}">
                  <a16:creationId xmlns:a16="http://schemas.microsoft.com/office/drawing/2014/main" id="{62297B67-A341-45B6-B354-48B2CC68930A}"/>
                </a:ext>
              </a:extLst>
            </p:cNvPr>
            <p:cNvSpPr/>
            <p:nvPr/>
          </p:nvSpPr>
          <p:spPr>
            <a:xfrm>
              <a:off x="7252033" y="2144613"/>
              <a:ext cx="55117" cy="251443"/>
            </a:xfrm>
            <a:custGeom>
              <a:avLst/>
              <a:gdLst>
                <a:gd name="connsiteX0" fmla="*/ 3536 w 55117"/>
                <a:gd name="connsiteY0" fmla="*/ 91456 h 251443"/>
                <a:gd name="connsiteX1" fmla="*/ 9389 w 55117"/>
                <a:gd name="connsiteY1" fmla="*/ 98285 h 251443"/>
                <a:gd name="connsiteX2" fmla="*/ 9389 w 55117"/>
                <a:gd name="connsiteY2" fmla="*/ 135599 h 251443"/>
                <a:gd name="connsiteX3" fmla="*/ 12315 w 55117"/>
                <a:gd name="connsiteY3" fmla="*/ 147184 h 251443"/>
                <a:gd name="connsiteX4" fmla="*/ 8292 w 55117"/>
                <a:gd name="connsiteY4" fmla="*/ 161938 h 251443"/>
                <a:gd name="connsiteX5" fmla="*/ 4755 w 55117"/>
                <a:gd name="connsiteY5" fmla="*/ 182059 h 251443"/>
                <a:gd name="connsiteX6" fmla="*/ 8413 w 55117"/>
                <a:gd name="connsiteY6" fmla="*/ 192302 h 251443"/>
                <a:gd name="connsiteX7" fmla="*/ 7438 w 55117"/>
                <a:gd name="connsiteY7" fmla="*/ 210593 h 251443"/>
                <a:gd name="connsiteX8" fmla="*/ 5609 w 55117"/>
                <a:gd name="connsiteY8" fmla="*/ 224007 h 251443"/>
                <a:gd name="connsiteX9" fmla="*/ 4755 w 55117"/>
                <a:gd name="connsiteY9" fmla="*/ 251444 h 251443"/>
                <a:gd name="connsiteX10" fmla="*/ 5731 w 55117"/>
                <a:gd name="connsiteY10" fmla="*/ 251200 h 251443"/>
                <a:gd name="connsiteX11" fmla="*/ 9267 w 55117"/>
                <a:gd name="connsiteY11" fmla="*/ 242298 h 251443"/>
                <a:gd name="connsiteX12" fmla="*/ 17681 w 55117"/>
                <a:gd name="connsiteY12" fmla="*/ 236323 h 251443"/>
                <a:gd name="connsiteX13" fmla="*/ 24876 w 55117"/>
                <a:gd name="connsiteY13" fmla="*/ 241079 h 251443"/>
                <a:gd name="connsiteX14" fmla="*/ 30119 w 55117"/>
                <a:gd name="connsiteY14" fmla="*/ 248639 h 251443"/>
                <a:gd name="connsiteX15" fmla="*/ 32558 w 55117"/>
                <a:gd name="connsiteY15" fmla="*/ 245712 h 251443"/>
                <a:gd name="connsiteX16" fmla="*/ 32558 w 55117"/>
                <a:gd name="connsiteY16" fmla="*/ 235957 h 251443"/>
                <a:gd name="connsiteX17" fmla="*/ 23535 w 55117"/>
                <a:gd name="connsiteY17" fmla="*/ 226933 h 251443"/>
                <a:gd name="connsiteX18" fmla="*/ 15608 w 55117"/>
                <a:gd name="connsiteY18" fmla="*/ 216934 h 251443"/>
                <a:gd name="connsiteX19" fmla="*/ 15608 w 55117"/>
                <a:gd name="connsiteY19" fmla="*/ 197789 h 251443"/>
                <a:gd name="connsiteX20" fmla="*/ 19388 w 55117"/>
                <a:gd name="connsiteY20" fmla="*/ 190229 h 251443"/>
                <a:gd name="connsiteX21" fmla="*/ 19388 w 55117"/>
                <a:gd name="connsiteY21" fmla="*/ 183522 h 251443"/>
                <a:gd name="connsiteX22" fmla="*/ 22193 w 55117"/>
                <a:gd name="connsiteY22" fmla="*/ 178645 h 251443"/>
                <a:gd name="connsiteX23" fmla="*/ 24144 w 55117"/>
                <a:gd name="connsiteY23" fmla="*/ 157427 h 251443"/>
                <a:gd name="connsiteX24" fmla="*/ 30485 w 55117"/>
                <a:gd name="connsiteY24" fmla="*/ 152427 h 251443"/>
                <a:gd name="connsiteX25" fmla="*/ 40606 w 55117"/>
                <a:gd name="connsiteY25" fmla="*/ 155719 h 251443"/>
                <a:gd name="connsiteX26" fmla="*/ 51703 w 55117"/>
                <a:gd name="connsiteY26" fmla="*/ 167060 h 251443"/>
                <a:gd name="connsiteX27" fmla="*/ 53166 w 55117"/>
                <a:gd name="connsiteY27" fmla="*/ 169987 h 251443"/>
                <a:gd name="connsiteX28" fmla="*/ 54263 w 55117"/>
                <a:gd name="connsiteY28" fmla="*/ 170231 h 251443"/>
                <a:gd name="connsiteX29" fmla="*/ 55117 w 55117"/>
                <a:gd name="connsiteY29" fmla="*/ 167792 h 251443"/>
                <a:gd name="connsiteX30" fmla="*/ 53532 w 55117"/>
                <a:gd name="connsiteY30" fmla="*/ 160353 h 251443"/>
                <a:gd name="connsiteX31" fmla="*/ 44996 w 55117"/>
                <a:gd name="connsiteY31" fmla="*/ 149013 h 251443"/>
                <a:gd name="connsiteX32" fmla="*/ 40119 w 55117"/>
                <a:gd name="connsiteY32" fmla="*/ 123039 h 251443"/>
                <a:gd name="connsiteX33" fmla="*/ 34509 w 55117"/>
                <a:gd name="connsiteY33" fmla="*/ 102187 h 251443"/>
                <a:gd name="connsiteX34" fmla="*/ 28778 w 55117"/>
                <a:gd name="connsiteY34" fmla="*/ 66946 h 251443"/>
                <a:gd name="connsiteX35" fmla="*/ 27802 w 55117"/>
                <a:gd name="connsiteY35" fmla="*/ 49996 h 251443"/>
                <a:gd name="connsiteX36" fmla="*/ 27802 w 55117"/>
                <a:gd name="connsiteY36" fmla="*/ 29266 h 251443"/>
                <a:gd name="connsiteX37" fmla="*/ 24144 w 55117"/>
                <a:gd name="connsiteY37" fmla="*/ 10853 h 251443"/>
                <a:gd name="connsiteX38" fmla="*/ 21461 w 55117"/>
                <a:gd name="connsiteY38" fmla="*/ 4634 h 251443"/>
                <a:gd name="connsiteX39" fmla="*/ 18413 w 55117"/>
                <a:gd name="connsiteY39" fmla="*/ 0 h 251443"/>
                <a:gd name="connsiteX40" fmla="*/ 13779 w 55117"/>
                <a:gd name="connsiteY40" fmla="*/ 0 h 251443"/>
                <a:gd name="connsiteX41" fmla="*/ 13169 w 55117"/>
                <a:gd name="connsiteY41" fmla="*/ 2561 h 251443"/>
                <a:gd name="connsiteX42" fmla="*/ 18047 w 55117"/>
                <a:gd name="connsiteY42" fmla="*/ 22803 h 251443"/>
                <a:gd name="connsiteX43" fmla="*/ 13901 w 55117"/>
                <a:gd name="connsiteY43" fmla="*/ 29754 h 251443"/>
                <a:gd name="connsiteX44" fmla="*/ 7316 w 55117"/>
                <a:gd name="connsiteY44" fmla="*/ 27559 h 251443"/>
                <a:gd name="connsiteX45" fmla="*/ 487 w 55117"/>
                <a:gd name="connsiteY45" fmla="*/ 30241 h 251443"/>
                <a:gd name="connsiteX46" fmla="*/ 3780 w 55117"/>
                <a:gd name="connsiteY46" fmla="*/ 39265 h 251443"/>
                <a:gd name="connsiteX47" fmla="*/ 121 w 55117"/>
                <a:gd name="connsiteY47" fmla="*/ 58654 h 251443"/>
                <a:gd name="connsiteX48" fmla="*/ 5365 w 55117"/>
                <a:gd name="connsiteY48" fmla="*/ 63775 h 251443"/>
                <a:gd name="connsiteX49" fmla="*/ 0 w 55117"/>
                <a:gd name="connsiteY49" fmla="*/ 71214 h 251443"/>
                <a:gd name="connsiteX50" fmla="*/ 3536 w 55117"/>
                <a:gd name="connsiteY50" fmla="*/ 91456 h 25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5117" h="251443">
                  <a:moveTo>
                    <a:pt x="3536" y="91456"/>
                  </a:moveTo>
                  <a:lnTo>
                    <a:pt x="9389" y="98285"/>
                  </a:lnTo>
                  <a:lnTo>
                    <a:pt x="9389" y="135599"/>
                  </a:lnTo>
                  <a:lnTo>
                    <a:pt x="12315" y="147184"/>
                  </a:lnTo>
                  <a:lnTo>
                    <a:pt x="8292" y="161938"/>
                  </a:lnTo>
                  <a:lnTo>
                    <a:pt x="4755" y="182059"/>
                  </a:lnTo>
                  <a:lnTo>
                    <a:pt x="8413" y="192302"/>
                  </a:lnTo>
                  <a:lnTo>
                    <a:pt x="7438" y="210593"/>
                  </a:lnTo>
                  <a:lnTo>
                    <a:pt x="5609" y="224007"/>
                  </a:lnTo>
                  <a:lnTo>
                    <a:pt x="4755" y="251444"/>
                  </a:lnTo>
                  <a:lnTo>
                    <a:pt x="5731" y="251200"/>
                  </a:lnTo>
                  <a:lnTo>
                    <a:pt x="9267" y="242298"/>
                  </a:lnTo>
                  <a:lnTo>
                    <a:pt x="17681" y="236323"/>
                  </a:lnTo>
                  <a:lnTo>
                    <a:pt x="24876" y="241079"/>
                  </a:lnTo>
                  <a:lnTo>
                    <a:pt x="30119" y="248639"/>
                  </a:lnTo>
                  <a:lnTo>
                    <a:pt x="32558" y="245712"/>
                  </a:lnTo>
                  <a:lnTo>
                    <a:pt x="32558" y="235957"/>
                  </a:lnTo>
                  <a:lnTo>
                    <a:pt x="23535" y="226933"/>
                  </a:lnTo>
                  <a:lnTo>
                    <a:pt x="15608" y="216934"/>
                  </a:lnTo>
                  <a:lnTo>
                    <a:pt x="15608" y="197789"/>
                  </a:lnTo>
                  <a:lnTo>
                    <a:pt x="19388" y="190229"/>
                  </a:lnTo>
                  <a:lnTo>
                    <a:pt x="19388" y="183522"/>
                  </a:lnTo>
                  <a:lnTo>
                    <a:pt x="22193" y="178645"/>
                  </a:lnTo>
                  <a:lnTo>
                    <a:pt x="24144" y="157427"/>
                  </a:lnTo>
                  <a:lnTo>
                    <a:pt x="30485" y="152427"/>
                  </a:lnTo>
                  <a:lnTo>
                    <a:pt x="40606" y="155719"/>
                  </a:lnTo>
                  <a:lnTo>
                    <a:pt x="51703" y="167060"/>
                  </a:lnTo>
                  <a:lnTo>
                    <a:pt x="53166" y="169987"/>
                  </a:lnTo>
                  <a:lnTo>
                    <a:pt x="54263" y="170231"/>
                  </a:lnTo>
                  <a:lnTo>
                    <a:pt x="55117" y="167792"/>
                  </a:lnTo>
                  <a:lnTo>
                    <a:pt x="53532" y="160353"/>
                  </a:lnTo>
                  <a:lnTo>
                    <a:pt x="44996" y="149013"/>
                  </a:lnTo>
                  <a:lnTo>
                    <a:pt x="40119" y="123039"/>
                  </a:lnTo>
                  <a:lnTo>
                    <a:pt x="34509" y="102187"/>
                  </a:lnTo>
                  <a:lnTo>
                    <a:pt x="28778" y="66946"/>
                  </a:lnTo>
                  <a:lnTo>
                    <a:pt x="27802" y="49996"/>
                  </a:lnTo>
                  <a:lnTo>
                    <a:pt x="27802" y="29266"/>
                  </a:lnTo>
                  <a:lnTo>
                    <a:pt x="24144" y="10853"/>
                  </a:lnTo>
                  <a:lnTo>
                    <a:pt x="21461" y="4634"/>
                  </a:lnTo>
                  <a:lnTo>
                    <a:pt x="18413" y="0"/>
                  </a:lnTo>
                  <a:lnTo>
                    <a:pt x="13779" y="0"/>
                  </a:lnTo>
                  <a:lnTo>
                    <a:pt x="13169" y="2561"/>
                  </a:lnTo>
                  <a:lnTo>
                    <a:pt x="18047" y="22803"/>
                  </a:lnTo>
                  <a:lnTo>
                    <a:pt x="13901" y="29754"/>
                  </a:lnTo>
                  <a:lnTo>
                    <a:pt x="7316" y="27559"/>
                  </a:lnTo>
                  <a:lnTo>
                    <a:pt x="487" y="30241"/>
                  </a:lnTo>
                  <a:lnTo>
                    <a:pt x="3780" y="39265"/>
                  </a:lnTo>
                  <a:lnTo>
                    <a:pt x="121" y="58654"/>
                  </a:lnTo>
                  <a:lnTo>
                    <a:pt x="5365" y="63775"/>
                  </a:lnTo>
                  <a:lnTo>
                    <a:pt x="0" y="71214"/>
                  </a:lnTo>
                  <a:lnTo>
                    <a:pt x="3536" y="9145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8" name="Freihandform: Form 797">
              <a:extLst>
                <a:ext uri="{FF2B5EF4-FFF2-40B4-BE49-F238E27FC236}">
                  <a16:creationId xmlns:a16="http://schemas.microsoft.com/office/drawing/2014/main" id="{98E9F678-FFA1-412E-9287-16B933BE9346}"/>
                </a:ext>
              </a:extLst>
            </p:cNvPr>
            <p:cNvSpPr/>
            <p:nvPr/>
          </p:nvSpPr>
          <p:spPr>
            <a:xfrm>
              <a:off x="5450467" y="2911748"/>
              <a:ext cx="87310" cy="59263"/>
            </a:xfrm>
            <a:custGeom>
              <a:avLst/>
              <a:gdLst>
                <a:gd name="connsiteX0" fmla="*/ 77555 w 87310"/>
                <a:gd name="connsiteY0" fmla="*/ 610 h 59263"/>
                <a:gd name="connsiteX1" fmla="*/ 76579 w 87310"/>
                <a:gd name="connsiteY1" fmla="*/ 0 h 59263"/>
                <a:gd name="connsiteX2" fmla="*/ 74384 w 87310"/>
                <a:gd name="connsiteY2" fmla="*/ 2561 h 59263"/>
                <a:gd name="connsiteX3" fmla="*/ 69385 w 87310"/>
                <a:gd name="connsiteY3" fmla="*/ 8292 h 59263"/>
                <a:gd name="connsiteX4" fmla="*/ 49752 w 87310"/>
                <a:gd name="connsiteY4" fmla="*/ 23291 h 59263"/>
                <a:gd name="connsiteX5" fmla="*/ 39875 w 87310"/>
                <a:gd name="connsiteY5" fmla="*/ 34997 h 59263"/>
                <a:gd name="connsiteX6" fmla="*/ 20852 w 87310"/>
                <a:gd name="connsiteY6" fmla="*/ 38046 h 59263"/>
                <a:gd name="connsiteX7" fmla="*/ 11097 w 87310"/>
                <a:gd name="connsiteY7" fmla="*/ 38046 h 59263"/>
                <a:gd name="connsiteX8" fmla="*/ 2317 w 87310"/>
                <a:gd name="connsiteY8" fmla="*/ 36705 h 59263"/>
                <a:gd name="connsiteX9" fmla="*/ 2073 w 87310"/>
                <a:gd name="connsiteY9" fmla="*/ 36948 h 59263"/>
                <a:gd name="connsiteX10" fmla="*/ 0 w 87310"/>
                <a:gd name="connsiteY10" fmla="*/ 41704 h 59263"/>
                <a:gd name="connsiteX11" fmla="*/ 4024 w 87310"/>
                <a:gd name="connsiteY11" fmla="*/ 45606 h 59263"/>
                <a:gd name="connsiteX12" fmla="*/ 11340 w 87310"/>
                <a:gd name="connsiteY12" fmla="*/ 52923 h 59263"/>
                <a:gd name="connsiteX13" fmla="*/ 46581 w 87310"/>
                <a:gd name="connsiteY13" fmla="*/ 57678 h 59263"/>
                <a:gd name="connsiteX14" fmla="*/ 58288 w 87310"/>
                <a:gd name="connsiteY14" fmla="*/ 59264 h 59263"/>
                <a:gd name="connsiteX15" fmla="*/ 59386 w 87310"/>
                <a:gd name="connsiteY15" fmla="*/ 47192 h 59263"/>
                <a:gd name="connsiteX16" fmla="*/ 59508 w 87310"/>
                <a:gd name="connsiteY16" fmla="*/ 44996 h 59263"/>
                <a:gd name="connsiteX17" fmla="*/ 61092 w 87310"/>
                <a:gd name="connsiteY17" fmla="*/ 43411 h 59263"/>
                <a:gd name="connsiteX18" fmla="*/ 74262 w 87310"/>
                <a:gd name="connsiteY18" fmla="*/ 30241 h 59263"/>
                <a:gd name="connsiteX19" fmla="*/ 77311 w 87310"/>
                <a:gd name="connsiteY19" fmla="*/ 27315 h 59263"/>
                <a:gd name="connsiteX20" fmla="*/ 73287 w 87310"/>
                <a:gd name="connsiteY20" fmla="*/ 15121 h 59263"/>
                <a:gd name="connsiteX21" fmla="*/ 70726 w 87310"/>
                <a:gd name="connsiteY21" fmla="*/ 7804 h 59263"/>
                <a:gd name="connsiteX22" fmla="*/ 78530 w 87310"/>
                <a:gd name="connsiteY22" fmla="*/ 7195 h 59263"/>
                <a:gd name="connsiteX23" fmla="*/ 87066 w 87310"/>
                <a:gd name="connsiteY23" fmla="*/ 6585 h 59263"/>
                <a:gd name="connsiteX24" fmla="*/ 87310 w 87310"/>
                <a:gd name="connsiteY24" fmla="*/ 6463 h 59263"/>
                <a:gd name="connsiteX25" fmla="*/ 87310 w 87310"/>
                <a:gd name="connsiteY25" fmla="*/ 6341 h 59263"/>
                <a:gd name="connsiteX26" fmla="*/ 85115 w 87310"/>
                <a:gd name="connsiteY26" fmla="*/ 5000 h 59263"/>
                <a:gd name="connsiteX27" fmla="*/ 79384 w 87310"/>
                <a:gd name="connsiteY27" fmla="*/ 1707 h 59263"/>
                <a:gd name="connsiteX28" fmla="*/ 77555 w 87310"/>
                <a:gd name="connsiteY28" fmla="*/ 610 h 5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7310" h="59263">
                  <a:moveTo>
                    <a:pt x="77555" y="610"/>
                  </a:moveTo>
                  <a:lnTo>
                    <a:pt x="76579" y="0"/>
                  </a:lnTo>
                  <a:lnTo>
                    <a:pt x="74384" y="2561"/>
                  </a:lnTo>
                  <a:lnTo>
                    <a:pt x="69385" y="8292"/>
                  </a:lnTo>
                  <a:lnTo>
                    <a:pt x="49752" y="23291"/>
                  </a:lnTo>
                  <a:lnTo>
                    <a:pt x="39875" y="34997"/>
                  </a:lnTo>
                  <a:lnTo>
                    <a:pt x="20852" y="38046"/>
                  </a:lnTo>
                  <a:lnTo>
                    <a:pt x="11097" y="38046"/>
                  </a:lnTo>
                  <a:lnTo>
                    <a:pt x="2317" y="36705"/>
                  </a:lnTo>
                  <a:lnTo>
                    <a:pt x="2073" y="36948"/>
                  </a:lnTo>
                  <a:lnTo>
                    <a:pt x="0" y="41704"/>
                  </a:lnTo>
                  <a:lnTo>
                    <a:pt x="4024" y="45606"/>
                  </a:lnTo>
                  <a:lnTo>
                    <a:pt x="11340" y="52923"/>
                  </a:lnTo>
                  <a:lnTo>
                    <a:pt x="46581" y="57678"/>
                  </a:lnTo>
                  <a:lnTo>
                    <a:pt x="58288" y="59264"/>
                  </a:lnTo>
                  <a:lnTo>
                    <a:pt x="59386" y="47192"/>
                  </a:lnTo>
                  <a:lnTo>
                    <a:pt x="59508" y="44996"/>
                  </a:lnTo>
                  <a:lnTo>
                    <a:pt x="61092" y="43411"/>
                  </a:lnTo>
                  <a:lnTo>
                    <a:pt x="74262" y="30241"/>
                  </a:lnTo>
                  <a:lnTo>
                    <a:pt x="77311" y="27315"/>
                  </a:lnTo>
                  <a:lnTo>
                    <a:pt x="73287" y="15121"/>
                  </a:lnTo>
                  <a:lnTo>
                    <a:pt x="70726" y="7804"/>
                  </a:lnTo>
                  <a:lnTo>
                    <a:pt x="78530" y="7195"/>
                  </a:lnTo>
                  <a:lnTo>
                    <a:pt x="87066" y="6585"/>
                  </a:lnTo>
                  <a:lnTo>
                    <a:pt x="87310" y="6463"/>
                  </a:lnTo>
                  <a:lnTo>
                    <a:pt x="87310" y="6341"/>
                  </a:lnTo>
                  <a:lnTo>
                    <a:pt x="85115" y="5000"/>
                  </a:lnTo>
                  <a:lnTo>
                    <a:pt x="79384" y="1707"/>
                  </a:lnTo>
                  <a:lnTo>
                    <a:pt x="77555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799" name="Freihandform: Form 798">
              <a:extLst>
                <a:ext uri="{FF2B5EF4-FFF2-40B4-BE49-F238E27FC236}">
                  <a16:creationId xmlns:a16="http://schemas.microsoft.com/office/drawing/2014/main" id="{0AFE9CC1-233E-4D18-A9EA-8E24247954F1}"/>
                </a:ext>
              </a:extLst>
            </p:cNvPr>
            <p:cNvSpPr/>
            <p:nvPr/>
          </p:nvSpPr>
          <p:spPr>
            <a:xfrm>
              <a:off x="6599645" y="3347689"/>
              <a:ext cx="193155" cy="153768"/>
            </a:xfrm>
            <a:custGeom>
              <a:avLst/>
              <a:gdLst>
                <a:gd name="connsiteX0" fmla="*/ 141087 w 193155"/>
                <a:gd name="connsiteY0" fmla="*/ 110723 h 153768"/>
                <a:gd name="connsiteX1" fmla="*/ 152427 w 193155"/>
                <a:gd name="connsiteY1" fmla="*/ 106699 h 153768"/>
                <a:gd name="connsiteX2" fmla="*/ 167548 w 193155"/>
                <a:gd name="connsiteY2" fmla="*/ 87066 h 153768"/>
                <a:gd name="connsiteX3" fmla="*/ 163767 w 193155"/>
                <a:gd name="connsiteY3" fmla="*/ 69019 h 153768"/>
                <a:gd name="connsiteX4" fmla="*/ 178644 w 193155"/>
                <a:gd name="connsiteY4" fmla="*/ 54020 h 153768"/>
                <a:gd name="connsiteX5" fmla="*/ 183278 w 193155"/>
                <a:gd name="connsiteY5" fmla="*/ 60849 h 153768"/>
                <a:gd name="connsiteX6" fmla="*/ 193155 w 193155"/>
                <a:gd name="connsiteY6" fmla="*/ 60239 h 153768"/>
                <a:gd name="connsiteX7" fmla="*/ 189985 w 193155"/>
                <a:gd name="connsiteY7" fmla="*/ 53410 h 153768"/>
                <a:gd name="connsiteX8" fmla="*/ 174255 w 193155"/>
                <a:gd name="connsiteY8" fmla="*/ 47435 h 153768"/>
                <a:gd name="connsiteX9" fmla="*/ 174255 w 193155"/>
                <a:gd name="connsiteY9" fmla="*/ 47435 h 153768"/>
                <a:gd name="connsiteX10" fmla="*/ 175230 w 193155"/>
                <a:gd name="connsiteY10" fmla="*/ 27925 h 153768"/>
                <a:gd name="connsiteX11" fmla="*/ 164865 w 193155"/>
                <a:gd name="connsiteY11" fmla="*/ 17682 h 153768"/>
                <a:gd name="connsiteX12" fmla="*/ 164865 w 193155"/>
                <a:gd name="connsiteY12" fmla="*/ 5000 h 153768"/>
                <a:gd name="connsiteX13" fmla="*/ 163036 w 193155"/>
                <a:gd name="connsiteY13" fmla="*/ 3414 h 153768"/>
                <a:gd name="connsiteX14" fmla="*/ 159012 w 193155"/>
                <a:gd name="connsiteY14" fmla="*/ 0 h 153768"/>
                <a:gd name="connsiteX15" fmla="*/ 137794 w 193155"/>
                <a:gd name="connsiteY15" fmla="*/ 854 h 153768"/>
                <a:gd name="connsiteX16" fmla="*/ 134745 w 193155"/>
                <a:gd name="connsiteY16" fmla="*/ 4756 h 153768"/>
                <a:gd name="connsiteX17" fmla="*/ 132795 w 193155"/>
                <a:gd name="connsiteY17" fmla="*/ 7317 h 153768"/>
                <a:gd name="connsiteX18" fmla="*/ 123649 w 193155"/>
                <a:gd name="connsiteY18" fmla="*/ 32802 h 153768"/>
                <a:gd name="connsiteX19" fmla="*/ 123283 w 193155"/>
                <a:gd name="connsiteY19" fmla="*/ 33900 h 153768"/>
                <a:gd name="connsiteX20" fmla="*/ 122551 w 193155"/>
                <a:gd name="connsiteY20" fmla="*/ 34631 h 153768"/>
                <a:gd name="connsiteX21" fmla="*/ 117796 w 193155"/>
                <a:gd name="connsiteY21" fmla="*/ 40485 h 153768"/>
                <a:gd name="connsiteX22" fmla="*/ 105236 w 193155"/>
                <a:gd name="connsiteY22" fmla="*/ 55605 h 153768"/>
                <a:gd name="connsiteX23" fmla="*/ 104016 w 193155"/>
                <a:gd name="connsiteY23" fmla="*/ 57069 h 153768"/>
                <a:gd name="connsiteX24" fmla="*/ 102065 w 193155"/>
                <a:gd name="connsiteY24" fmla="*/ 57678 h 153768"/>
                <a:gd name="connsiteX25" fmla="*/ 85603 w 193155"/>
                <a:gd name="connsiteY25" fmla="*/ 61946 h 153768"/>
                <a:gd name="connsiteX26" fmla="*/ 83408 w 193155"/>
                <a:gd name="connsiteY26" fmla="*/ 62556 h 153768"/>
                <a:gd name="connsiteX27" fmla="*/ 81335 w 193155"/>
                <a:gd name="connsiteY27" fmla="*/ 61581 h 153768"/>
                <a:gd name="connsiteX28" fmla="*/ 73775 w 193155"/>
                <a:gd name="connsiteY28" fmla="*/ 57800 h 153768"/>
                <a:gd name="connsiteX29" fmla="*/ 65361 w 193155"/>
                <a:gd name="connsiteY29" fmla="*/ 59264 h 153768"/>
                <a:gd name="connsiteX30" fmla="*/ 52313 w 193155"/>
                <a:gd name="connsiteY30" fmla="*/ 67068 h 153768"/>
                <a:gd name="connsiteX31" fmla="*/ 50850 w 193155"/>
                <a:gd name="connsiteY31" fmla="*/ 68043 h 153768"/>
                <a:gd name="connsiteX32" fmla="*/ 20120 w 193155"/>
                <a:gd name="connsiteY32" fmla="*/ 68043 h 153768"/>
                <a:gd name="connsiteX33" fmla="*/ 18291 w 193155"/>
                <a:gd name="connsiteY33" fmla="*/ 64995 h 153768"/>
                <a:gd name="connsiteX34" fmla="*/ 17925 w 193155"/>
                <a:gd name="connsiteY34" fmla="*/ 64385 h 153768"/>
                <a:gd name="connsiteX35" fmla="*/ 10853 w 193155"/>
                <a:gd name="connsiteY35" fmla="*/ 52069 h 153768"/>
                <a:gd name="connsiteX36" fmla="*/ 7682 w 193155"/>
                <a:gd name="connsiteY36" fmla="*/ 46704 h 153768"/>
                <a:gd name="connsiteX37" fmla="*/ 7439 w 193155"/>
                <a:gd name="connsiteY37" fmla="*/ 46582 h 153768"/>
                <a:gd name="connsiteX38" fmla="*/ 0 w 193155"/>
                <a:gd name="connsiteY38" fmla="*/ 51703 h 153768"/>
                <a:gd name="connsiteX39" fmla="*/ 4512 w 193155"/>
                <a:gd name="connsiteY39" fmla="*/ 89383 h 153768"/>
                <a:gd name="connsiteX40" fmla="*/ 17560 w 193155"/>
                <a:gd name="connsiteY40" fmla="*/ 100602 h 153768"/>
                <a:gd name="connsiteX41" fmla="*/ 26827 w 193155"/>
                <a:gd name="connsiteY41" fmla="*/ 132063 h 153768"/>
                <a:gd name="connsiteX42" fmla="*/ 52679 w 193155"/>
                <a:gd name="connsiteY42" fmla="*/ 136697 h 153768"/>
                <a:gd name="connsiteX43" fmla="*/ 60605 w 193155"/>
                <a:gd name="connsiteY43" fmla="*/ 144501 h 153768"/>
                <a:gd name="connsiteX44" fmla="*/ 74019 w 193155"/>
                <a:gd name="connsiteY44" fmla="*/ 137428 h 153768"/>
                <a:gd name="connsiteX45" fmla="*/ 86701 w 193155"/>
                <a:gd name="connsiteY45" fmla="*/ 139501 h 153768"/>
                <a:gd name="connsiteX46" fmla="*/ 91090 w 193155"/>
                <a:gd name="connsiteY46" fmla="*/ 143769 h 153768"/>
                <a:gd name="connsiteX47" fmla="*/ 100236 w 193155"/>
                <a:gd name="connsiteY47" fmla="*/ 141087 h 153768"/>
                <a:gd name="connsiteX48" fmla="*/ 113162 w 193155"/>
                <a:gd name="connsiteY48" fmla="*/ 150720 h 153768"/>
                <a:gd name="connsiteX49" fmla="*/ 113771 w 193155"/>
                <a:gd name="connsiteY49" fmla="*/ 153768 h 153768"/>
                <a:gd name="connsiteX50" fmla="*/ 126088 w 193155"/>
                <a:gd name="connsiteY50" fmla="*/ 149135 h 153768"/>
                <a:gd name="connsiteX51" fmla="*/ 143038 w 193155"/>
                <a:gd name="connsiteY51" fmla="*/ 131331 h 153768"/>
                <a:gd name="connsiteX52" fmla="*/ 141087 w 193155"/>
                <a:gd name="connsiteY52" fmla="*/ 110723 h 15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93155" h="153768">
                  <a:moveTo>
                    <a:pt x="141087" y="110723"/>
                  </a:moveTo>
                  <a:lnTo>
                    <a:pt x="152427" y="106699"/>
                  </a:lnTo>
                  <a:lnTo>
                    <a:pt x="167548" y="87066"/>
                  </a:lnTo>
                  <a:lnTo>
                    <a:pt x="163767" y="69019"/>
                  </a:lnTo>
                  <a:lnTo>
                    <a:pt x="178644" y="54020"/>
                  </a:lnTo>
                  <a:lnTo>
                    <a:pt x="183278" y="60849"/>
                  </a:lnTo>
                  <a:lnTo>
                    <a:pt x="193155" y="60239"/>
                  </a:lnTo>
                  <a:lnTo>
                    <a:pt x="189985" y="53410"/>
                  </a:lnTo>
                  <a:lnTo>
                    <a:pt x="174255" y="47435"/>
                  </a:lnTo>
                  <a:lnTo>
                    <a:pt x="174255" y="47435"/>
                  </a:lnTo>
                  <a:lnTo>
                    <a:pt x="175230" y="27925"/>
                  </a:lnTo>
                  <a:lnTo>
                    <a:pt x="164865" y="17682"/>
                  </a:lnTo>
                  <a:lnTo>
                    <a:pt x="164865" y="5000"/>
                  </a:lnTo>
                  <a:lnTo>
                    <a:pt x="163036" y="3414"/>
                  </a:lnTo>
                  <a:lnTo>
                    <a:pt x="159012" y="0"/>
                  </a:lnTo>
                  <a:lnTo>
                    <a:pt x="137794" y="854"/>
                  </a:lnTo>
                  <a:lnTo>
                    <a:pt x="134745" y="4756"/>
                  </a:lnTo>
                  <a:lnTo>
                    <a:pt x="132795" y="7317"/>
                  </a:lnTo>
                  <a:lnTo>
                    <a:pt x="123649" y="32802"/>
                  </a:lnTo>
                  <a:lnTo>
                    <a:pt x="123283" y="33900"/>
                  </a:lnTo>
                  <a:lnTo>
                    <a:pt x="122551" y="34631"/>
                  </a:lnTo>
                  <a:lnTo>
                    <a:pt x="117796" y="40485"/>
                  </a:lnTo>
                  <a:lnTo>
                    <a:pt x="105236" y="55605"/>
                  </a:lnTo>
                  <a:lnTo>
                    <a:pt x="104016" y="57069"/>
                  </a:lnTo>
                  <a:lnTo>
                    <a:pt x="102065" y="57678"/>
                  </a:lnTo>
                  <a:lnTo>
                    <a:pt x="85603" y="61946"/>
                  </a:lnTo>
                  <a:lnTo>
                    <a:pt x="83408" y="62556"/>
                  </a:lnTo>
                  <a:lnTo>
                    <a:pt x="81335" y="61581"/>
                  </a:lnTo>
                  <a:lnTo>
                    <a:pt x="73775" y="57800"/>
                  </a:lnTo>
                  <a:lnTo>
                    <a:pt x="65361" y="59264"/>
                  </a:lnTo>
                  <a:lnTo>
                    <a:pt x="52313" y="67068"/>
                  </a:lnTo>
                  <a:lnTo>
                    <a:pt x="50850" y="68043"/>
                  </a:lnTo>
                  <a:lnTo>
                    <a:pt x="20120" y="68043"/>
                  </a:lnTo>
                  <a:lnTo>
                    <a:pt x="18291" y="64995"/>
                  </a:lnTo>
                  <a:lnTo>
                    <a:pt x="17925" y="64385"/>
                  </a:lnTo>
                  <a:lnTo>
                    <a:pt x="10853" y="52069"/>
                  </a:lnTo>
                  <a:lnTo>
                    <a:pt x="7682" y="46704"/>
                  </a:lnTo>
                  <a:lnTo>
                    <a:pt x="7439" y="46582"/>
                  </a:lnTo>
                  <a:lnTo>
                    <a:pt x="0" y="51703"/>
                  </a:lnTo>
                  <a:lnTo>
                    <a:pt x="4512" y="89383"/>
                  </a:lnTo>
                  <a:lnTo>
                    <a:pt x="17560" y="100602"/>
                  </a:lnTo>
                  <a:lnTo>
                    <a:pt x="26827" y="132063"/>
                  </a:lnTo>
                  <a:lnTo>
                    <a:pt x="52679" y="136697"/>
                  </a:lnTo>
                  <a:lnTo>
                    <a:pt x="60605" y="144501"/>
                  </a:lnTo>
                  <a:lnTo>
                    <a:pt x="74019" y="137428"/>
                  </a:lnTo>
                  <a:lnTo>
                    <a:pt x="86701" y="139501"/>
                  </a:lnTo>
                  <a:lnTo>
                    <a:pt x="91090" y="143769"/>
                  </a:lnTo>
                  <a:lnTo>
                    <a:pt x="100236" y="141087"/>
                  </a:lnTo>
                  <a:lnTo>
                    <a:pt x="113162" y="150720"/>
                  </a:lnTo>
                  <a:lnTo>
                    <a:pt x="113771" y="153768"/>
                  </a:lnTo>
                  <a:lnTo>
                    <a:pt x="126088" y="149135"/>
                  </a:lnTo>
                  <a:lnTo>
                    <a:pt x="143038" y="131331"/>
                  </a:lnTo>
                  <a:lnTo>
                    <a:pt x="141087" y="11072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0" name="Freihandform: Form 799">
              <a:extLst>
                <a:ext uri="{FF2B5EF4-FFF2-40B4-BE49-F238E27FC236}">
                  <a16:creationId xmlns:a16="http://schemas.microsoft.com/office/drawing/2014/main" id="{165EAB01-F2DB-43ED-B565-5FB9B7EEA4F3}"/>
                </a:ext>
              </a:extLst>
            </p:cNvPr>
            <p:cNvSpPr/>
            <p:nvPr/>
          </p:nvSpPr>
          <p:spPr>
            <a:xfrm>
              <a:off x="6739755" y="3494629"/>
              <a:ext cx="731" cy="5731"/>
            </a:xfrm>
            <a:custGeom>
              <a:avLst/>
              <a:gdLst>
                <a:gd name="connsiteX0" fmla="*/ 366 w 731"/>
                <a:gd name="connsiteY0" fmla="*/ 5731 h 5731"/>
                <a:gd name="connsiteX1" fmla="*/ 732 w 731"/>
                <a:gd name="connsiteY1" fmla="*/ 0 h 5731"/>
                <a:gd name="connsiteX2" fmla="*/ 488 w 731"/>
                <a:gd name="connsiteY2" fmla="*/ 244 h 5731"/>
                <a:gd name="connsiteX3" fmla="*/ 0 w 731"/>
                <a:gd name="connsiteY3" fmla="*/ 5731 h 5731"/>
                <a:gd name="connsiteX4" fmla="*/ 366 w 731"/>
                <a:gd name="connsiteY4" fmla="*/ 5731 h 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1" h="5731">
                  <a:moveTo>
                    <a:pt x="366" y="5731"/>
                  </a:moveTo>
                  <a:lnTo>
                    <a:pt x="732" y="0"/>
                  </a:lnTo>
                  <a:lnTo>
                    <a:pt x="488" y="244"/>
                  </a:lnTo>
                  <a:lnTo>
                    <a:pt x="0" y="5731"/>
                  </a:lnTo>
                  <a:lnTo>
                    <a:pt x="366" y="573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1" name="Freihandform: Form 800">
              <a:extLst>
                <a:ext uri="{FF2B5EF4-FFF2-40B4-BE49-F238E27FC236}">
                  <a16:creationId xmlns:a16="http://schemas.microsoft.com/office/drawing/2014/main" id="{CD4AC416-1F31-4661-90CB-12D3BC388E50}"/>
                </a:ext>
              </a:extLst>
            </p:cNvPr>
            <p:cNvSpPr/>
            <p:nvPr/>
          </p:nvSpPr>
          <p:spPr>
            <a:xfrm>
              <a:off x="7179965" y="2609089"/>
              <a:ext cx="7560" cy="10730"/>
            </a:xfrm>
            <a:custGeom>
              <a:avLst/>
              <a:gdLst>
                <a:gd name="connsiteX0" fmla="*/ 7560 w 7560"/>
                <a:gd name="connsiteY0" fmla="*/ 732 h 10730"/>
                <a:gd name="connsiteX1" fmla="*/ 5365 w 7560"/>
                <a:gd name="connsiteY1" fmla="*/ 0 h 10730"/>
                <a:gd name="connsiteX2" fmla="*/ 5365 w 7560"/>
                <a:gd name="connsiteY2" fmla="*/ 2805 h 10730"/>
                <a:gd name="connsiteX3" fmla="*/ 0 w 7560"/>
                <a:gd name="connsiteY3" fmla="*/ 10121 h 10730"/>
                <a:gd name="connsiteX4" fmla="*/ 244 w 7560"/>
                <a:gd name="connsiteY4" fmla="*/ 10731 h 10730"/>
                <a:gd name="connsiteX5" fmla="*/ 5732 w 7560"/>
                <a:gd name="connsiteY5" fmla="*/ 5853 h 10730"/>
                <a:gd name="connsiteX6" fmla="*/ 7560 w 7560"/>
                <a:gd name="connsiteY6" fmla="*/ 732 h 1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60" h="10730">
                  <a:moveTo>
                    <a:pt x="7560" y="732"/>
                  </a:moveTo>
                  <a:lnTo>
                    <a:pt x="5365" y="0"/>
                  </a:lnTo>
                  <a:lnTo>
                    <a:pt x="5365" y="2805"/>
                  </a:lnTo>
                  <a:lnTo>
                    <a:pt x="0" y="10121"/>
                  </a:lnTo>
                  <a:lnTo>
                    <a:pt x="244" y="10731"/>
                  </a:lnTo>
                  <a:lnTo>
                    <a:pt x="5732" y="5853"/>
                  </a:lnTo>
                  <a:lnTo>
                    <a:pt x="7560" y="7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2" name="Freihandform: Form 801">
              <a:extLst>
                <a:ext uri="{FF2B5EF4-FFF2-40B4-BE49-F238E27FC236}">
                  <a16:creationId xmlns:a16="http://schemas.microsoft.com/office/drawing/2014/main" id="{3883AA28-D1EF-4E44-982A-2554272ACFE3}"/>
                </a:ext>
              </a:extLst>
            </p:cNvPr>
            <p:cNvSpPr/>
            <p:nvPr/>
          </p:nvSpPr>
          <p:spPr>
            <a:xfrm>
              <a:off x="6945105" y="3485727"/>
              <a:ext cx="14876" cy="8779"/>
            </a:xfrm>
            <a:custGeom>
              <a:avLst/>
              <a:gdLst>
                <a:gd name="connsiteX0" fmla="*/ 1585 w 14876"/>
                <a:gd name="connsiteY0" fmla="*/ 0 h 8779"/>
                <a:gd name="connsiteX1" fmla="*/ 0 w 14876"/>
                <a:gd name="connsiteY1" fmla="*/ 3780 h 8779"/>
                <a:gd name="connsiteX2" fmla="*/ 4878 w 14876"/>
                <a:gd name="connsiteY2" fmla="*/ 8048 h 8779"/>
                <a:gd name="connsiteX3" fmla="*/ 13170 w 14876"/>
                <a:gd name="connsiteY3" fmla="*/ 8780 h 8779"/>
                <a:gd name="connsiteX4" fmla="*/ 14877 w 14876"/>
                <a:gd name="connsiteY4" fmla="*/ 5487 h 8779"/>
                <a:gd name="connsiteX5" fmla="*/ 11463 w 14876"/>
                <a:gd name="connsiteY5" fmla="*/ 732 h 8779"/>
                <a:gd name="connsiteX6" fmla="*/ 1585 w 14876"/>
                <a:gd name="connsiteY6" fmla="*/ 0 h 8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76" h="8779">
                  <a:moveTo>
                    <a:pt x="1585" y="0"/>
                  </a:moveTo>
                  <a:lnTo>
                    <a:pt x="0" y="3780"/>
                  </a:lnTo>
                  <a:lnTo>
                    <a:pt x="4878" y="8048"/>
                  </a:lnTo>
                  <a:lnTo>
                    <a:pt x="13170" y="8780"/>
                  </a:lnTo>
                  <a:lnTo>
                    <a:pt x="14877" y="5487"/>
                  </a:lnTo>
                  <a:lnTo>
                    <a:pt x="11463" y="732"/>
                  </a:lnTo>
                  <a:lnTo>
                    <a:pt x="158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3" name="Freihandform: Form 802">
              <a:extLst>
                <a:ext uri="{FF2B5EF4-FFF2-40B4-BE49-F238E27FC236}">
                  <a16:creationId xmlns:a16="http://schemas.microsoft.com/office/drawing/2014/main" id="{F6EBED8C-8645-423A-898E-8C2EC4F5F796}"/>
                </a:ext>
              </a:extLst>
            </p:cNvPr>
            <p:cNvSpPr/>
            <p:nvPr/>
          </p:nvSpPr>
          <p:spPr>
            <a:xfrm>
              <a:off x="6899743" y="3590963"/>
              <a:ext cx="16096" cy="5487"/>
            </a:xfrm>
            <a:custGeom>
              <a:avLst/>
              <a:gdLst>
                <a:gd name="connsiteX0" fmla="*/ 244 w 16096"/>
                <a:gd name="connsiteY0" fmla="*/ 4634 h 5487"/>
                <a:gd name="connsiteX1" fmla="*/ 0 w 16096"/>
                <a:gd name="connsiteY1" fmla="*/ 5488 h 5487"/>
                <a:gd name="connsiteX2" fmla="*/ 7316 w 16096"/>
                <a:gd name="connsiteY2" fmla="*/ 4878 h 5487"/>
                <a:gd name="connsiteX3" fmla="*/ 16096 w 16096"/>
                <a:gd name="connsiteY3" fmla="*/ 854 h 5487"/>
                <a:gd name="connsiteX4" fmla="*/ 16096 w 16096"/>
                <a:gd name="connsiteY4" fmla="*/ 0 h 5487"/>
                <a:gd name="connsiteX5" fmla="*/ 8414 w 16096"/>
                <a:gd name="connsiteY5" fmla="*/ 1341 h 5487"/>
                <a:gd name="connsiteX6" fmla="*/ 244 w 16096"/>
                <a:gd name="connsiteY6" fmla="*/ 4634 h 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96" h="5487">
                  <a:moveTo>
                    <a:pt x="244" y="4634"/>
                  </a:moveTo>
                  <a:lnTo>
                    <a:pt x="0" y="5488"/>
                  </a:lnTo>
                  <a:lnTo>
                    <a:pt x="7316" y="4878"/>
                  </a:lnTo>
                  <a:lnTo>
                    <a:pt x="16096" y="854"/>
                  </a:lnTo>
                  <a:lnTo>
                    <a:pt x="16096" y="0"/>
                  </a:lnTo>
                  <a:lnTo>
                    <a:pt x="8414" y="1341"/>
                  </a:lnTo>
                  <a:lnTo>
                    <a:pt x="244" y="463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4" name="Freihandform: Form 803">
              <a:extLst>
                <a:ext uri="{FF2B5EF4-FFF2-40B4-BE49-F238E27FC236}">
                  <a16:creationId xmlns:a16="http://schemas.microsoft.com/office/drawing/2014/main" id="{D4C616ED-9F54-47EF-B35C-E0763330A96A}"/>
                </a:ext>
              </a:extLst>
            </p:cNvPr>
            <p:cNvSpPr/>
            <p:nvPr/>
          </p:nvSpPr>
          <p:spPr>
            <a:xfrm>
              <a:off x="5947623" y="1446741"/>
              <a:ext cx="18900" cy="6950"/>
            </a:xfrm>
            <a:custGeom>
              <a:avLst/>
              <a:gdLst>
                <a:gd name="connsiteX0" fmla="*/ 18901 w 18900"/>
                <a:gd name="connsiteY0" fmla="*/ 1585 h 6950"/>
                <a:gd name="connsiteX1" fmla="*/ 18901 w 18900"/>
                <a:gd name="connsiteY1" fmla="*/ 1097 h 6950"/>
                <a:gd name="connsiteX2" fmla="*/ 14511 w 18900"/>
                <a:gd name="connsiteY2" fmla="*/ 0 h 6950"/>
                <a:gd name="connsiteX3" fmla="*/ 122 w 18900"/>
                <a:gd name="connsiteY3" fmla="*/ 5609 h 6950"/>
                <a:gd name="connsiteX4" fmla="*/ 0 w 18900"/>
                <a:gd name="connsiteY4" fmla="*/ 6097 h 6950"/>
                <a:gd name="connsiteX5" fmla="*/ 9268 w 18900"/>
                <a:gd name="connsiteY5" fmla="*/ 6951 h 6950"/>
                <a:gd name="connsiteX6" fmla="*/ 18901 w 18900"/>
                <a:gd name="connsiteY6" fmla="*/ 1585 h 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00" h="6950">
                  <a:moveTo>
                    <a:pt x="18901" y="1585"/>
                  </a:moveTo>
                  <a:lnTo>
                    <a:pt x="18901" y="1097"/>
                  </a:lnTo>
                  <a:lnTo>
                    <a:pt x="14511" y="0"/>
                  </a:lnTo>
                  <a:lnTo>
                    <a:pt x="122" y="5609"/>
                  </a:lnTo>
                  <a:lnTo>
                    <a:pt x="0" y="6097"/>
                  </a:lnTo>
                  <a:lnTo>
                    <a:pt x="9268" y="6951"/>
                  </a:lnTo>
                  <a:lnTo>
                    <a:pt x="18901" y="1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5" name="Freihandform: Form 804">
              <a:extLst>
                <a:ext uri="{FF2B5EF4-FFF2-40B4-BE49-F238E27FC236}">
                  <a16:creationId xmlns:a16="http://schemas.microsoft.com/office/drawing/2014/main" id="{1058DA62-A281-44F5-A08E-9E0D973DCDD6}"/>
                </a:ext>
              </a:extLst>
            </p:cNvPr>
            <p:cNvSpPr/>
            <p:nvPr/>
          </p:nvSpPr>
          <p:spPr>
            <a:xfrm>
              <a:off x="6320154" y="1262244"/>
              <a:ext cx="20364" cy="5243"/>
            </a:xfrm>
            <a:custGeom>
              <a:avLst/>
              <a:gdLst>
                <a:gd name="connsiteX0" fmla="*/ 0 w 20364"/>
                <a:gd name="connsiteY0" fmla="*/ 3170 h 5243"/>
                <a:gd name="connsiteX1" fmla="*/ 5975 w 20364"/>
                <a:gd name="connsiteY1" fmla="*/ 5243 h 5243"/>
                <a:gd name="connsiteX2" fmla="*/ 20121 w 20364"/>
                <a:gd name="connsiteY2" fmla="*/ 854 h 5243"/>
                <a:gd name="connsiteX3" fmla="*/ 20364 w 20364"/>
                <a:gd name="connsiteY3" fmla="*/ 0 h 5243"/>
                <a:gd name="connsiteX4" fmla="*/ 0 w 20364"/>
                <a:gd name="connsiteY4" fmla="*/ 2805 h 5243"/>
                <a:gd name="connsiteX5" fmla="*/ 0 w 20364"/>
                <a:gd name="connsiteY5" fmla="*/ 3170 h 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64" h="5243">
                  <a:moveTo>
                    <a:pt x="0" y="3170"/>
                  </a:moveTo>
                  <a:lnTo>
                    <a:pt x="5975" y="5243"/>
                  </a:lnTo>
                  <a:lnTo>
                    <a:pt x="20121" y="854"/>
                  </a:lnTo>
                  <a:lnTo>
                    <a:pt x="20364" y="0"/>
                  </a:lnTo>
                  <a:lnTo>
                    <a:pt x="0" y="2805"/>
                  </a:lnTo>
                  <a:lnTo>
                    <a:pt x="0" y="317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6" name="Freihandform: Form 805">
              <a:extLst>
                <a:ext uri="{FF2B5EF4-FFF2-40B4-BE49-F238E27FC236}">
                  <a16:creationId xmlns:a16="http://schemas.microsoft.com/office/drawing/2014/main" id="{CA3289CA-2561-4F48-830A-C5F4A213E50F}"/>
                </a:ext>
              </a:extLst>
            </p:cNvPr>
            <p:cNvSpPr/>
            <p:nvPr/>
          </p:nvSpPr>
          <p:spPr>
            <a:xfrm>
              <a:off x="6647812" y="1363821"/>
              <a:ext cx="30851" cy="13169"/>
            </a:xfrm>
            <a:custGeom>
              <a:avLst/>
              <a:gdLst>
                <a:gd name="connsiteX0" fmla="*/ 6097 w 30851"/>
                <a:gd name="connsiteY0" fmla="*/ 488 h 13169"/>
                <a:gd name="connsiteX1" fmla="*/ 1951 w 30851"/>
                <a:gd name="connsiteY1" fmla="*/ 3049 h 13169"/>
                <a:gd name="connsiteX2" fmla="*/ 0 w 30851"/>
                <a:gd name="connsiteY2" fmla="*/ 4878 h 13169"/>
                <a:gd name="connsiteX3" fmla="*/ 2561 w 30851"/>
                <a:gd name="connsiteY3" fmla="*/ 5609 h 13169"/>
                <a:gd name="connsiteX4" fmla="*/ 13292 w 30851"/>
                <a:gd name="connsiteY4" fmla="*/ 13170 h 13169"/>
                <a:gd name="connsiteX5" fmla="*/ 24144 w 30851"/>
                <a:gd name="connsiteY5" fmla="*/ 9877 h 13169"/>
                <a:gd name="connsiteX6" fmla="*/ 24144 w 30851"/>
                <a:gd name="connsiteY6" fmla="*/ 4512 h 13169"/>
                <a:gd name="connsiteX7" fmla="*/ 30851 w 30851"/>
                <a:gd name="connsiteY7" fmla="*/ 976 h 13169"/>
                <a:gd name="connsiteX8" fmla="*/ 18657 w 30851"/>
                <a:gd name="connsiteY8" fmla="*/ 0 h 13169"/>
                <a:gd name="connsiteX9" fmla="*/ 6097 w 30851"/>
                <a:gd name="connsiteY9" fmla="*/ 488 h 13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1" h="13169">
                  <a:moveTo>
                    <a:pt x="6097" y="488"/>
                  </a:moveTo>
                  <a:lnTo>
                    <a:pt x="1951" y="3049"/>
                  </a:lnTo>
                  <a:lnTo>
                    <a:pt x="0" y="4878"/>
                  </a:lnTo>
                  <a:lnTo>
                    <a:pt x="2561" y="5609"/>
                  </a:lnTo>
                  <a:lnTo>
                    <a:pt x="13292" y="13170"/>
                  </a:lnTo>
                  <a:lnTo>
                    <a:pt x="24144" y="9877"/>
                  </a:lnTo>
                  <a:lnTo>
                    <a:pt x="24144" y="4512"/>
                  </a:lnTo>
                  <a:lnTo>
                    <a:pt x="30851" y="976"/>
                  </a:lnTo>
                  <a:lnTo>
                    <a:pt x="18657" y="0"/>
                  </a:lnTo>
                  <a:lnTo>
                    <a:pt x="6097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7" name="Freihandform: Form 806">
              <a:extLst>
                <a:ext uri="{FF2B5EF4-FFF2-40B4-BE49-F238E27FC236}">
                  <a16:creationId xmlns:a16="http://schemas.microsoft.com/office/drawing/2014/main" id="{F097C6DD-C3B8-4F4C-BDA9-CB6AF3B85277}"/>
                </a:ext>
              </a:extLst>
            </p:cNvPr>
            <p:cNvSpPr/>
            <p:nvPr/>
          </p:nvSpPr>
          <p:spPr>
            <a:xfrm>
              <a:off x="7153747" y="1298460"/>
              <a:ext cx="161694" cy="55849"/>
            </a:xfrm>
            <a:custGeom>
              <a:avLst/>
              <a:gdLst>
                <a:gd name="connsiteX0" fmla="*/ 7317 w 161694"/>
                <a:gd name="connsiteY0" fmla="*/ 40119 h 55849"/>
                <a:gd name="connsiteX1" fmla="*/ 14389 w 161694"/>
                <a:gd name="connsiteY1" fmla="*/ 40119 h 55849"/>
                <a:gd name="connsiteX2" fmla="*/ 23047 w 161694"/>
                <a:gd name="connsiteY2" fmla="*/ 44631 h 55849"/>
                <a:gd name="connsiteX3" fmla="*/ 21340 w 161694"/>
                <a:gd name="connsiteY3" fmla="*/ 49386 h 55849"/>
                <a:gd name="connsiteX4" fmla="*/ 44631 w 161694"/>
                <a:gd name="connsiteY4" fmla="*/ 55849 h 55849"/>
                <a:gd name="connsiteX5" fmla="*/ 48411 w 161694"/>
                <a:gd name="connsiteY5" fmla="*/ 52801 h 55849"/>
                <a:gd name="connsiteX6" fmla="*/ 46460 w 161694"/>
                <a:gd name="connsiteY6" fmla="*/ 42680 h 55849"/>
                <a:gd name="connsiteX7" fmla="*/ 54386 w 161694"/>
                <a:gd name="connsiteY7" fmla="*/ 39509 h 55849"/>
                <a:gd name="connsiteX8" fmla="*/ 61092 w 161694"/>
                <a:gd name="connsiteY8" fmla="*/ 41094 h 55849"/>
                <a:gd name="connsiteX9" fmla="*/ 61946 w 161694"/>
                <a:gd name="connsiteY9" fmla="*/ 45850 h 55849"/>
                <a:gd name="connsiteX10" fmla="*/ 76579 w 161694"/>
                <a:gd name="connsiteY10" fmla="*/ 45850 h 55849"/>
                <a:gd name="connsiteX11" fmla="*/ 91822 w 161694"/>
                <a:gd name="connsiteY11" fmla="*/ 37314 h 55849"/>
                <a:gd name="connsiteX12" fmla="*/ 104626 w 161694"/>
                <a:gd name="connsiteY12" fmla="*/ 38655 h 55849"/>
                <a:gd name="connsiteX13" fmla="*/ 105601 w 161694"/>
                <a:gd name="connsiteY13" fmla="*/ 46094 h 55849"/>
                <a:gd name="connsiteX14" fmla="*/ 115601 w 161694"/>
                <a:gd name="connsiteY14" fmla="*/ 48045 h 55849"/>
                <a:gd name="connsiteX15" fmla="*/ 124258 w 161694"/>
                <a:gd name="connsiteY15" fmla="*/ 43411 h 55849"/>
                <a:gd name="connsiteX16" fmla="*/ 119991 w 161694"/>
                <a:gd name="connsiteY16" fmla="*/ 43167 h 55849"/>
                <a:gd name="connsiteX17" fmla="*/ 103894 w 161694"/>
                <a:gd name="connsiteY17" fmla="*/ 37070 h 55849"/>
                <a:gd name="connsiteX18" fmla="*/ 99382 w 161694"/>
                <a:gd name="connsiteY18" fmla="*/ 24266 h 55849"/>
                <a:gd name="connsiteX19" fmla="*/ 109504 w 161694"/>
                <a:gd name="connsiteY19" fmla="*/ 14511 h 55849"/>
                <a:gd name="connsiteX20" fmla="*/ 118649 w 161694"/>
                <a:gd name="connsiteY20" fmla="*/ 14511 h 55849"/>
                <a:gd name="connsiteX21" fmla="*/ 120235 w 161694"/>
                <a:gd name="connsiteY21" fmla="*/ 22437 h 55849"/>
                <a:gd name="connsiteX22" fmla="*/ 114260 w 161694"/>
                <a:gd name="connsiteY22" fmla="*/ 24998 h 55849"/>
                <a:gd name="connsiteX23" fmla="*/ 114260 w 161694"/>
                <a:gd name="connsiteY23" fmla="*/ 29632 h 55849"/>
                <a:gd name="connsiteX24" fmla="*/ 123039 w 161694"/>
                <a:gd name="connsiteY24" fmla="*/ 33900 h 55849"/>
                <a:gd name="connsiteX25" fmla="*/ 135111 w 161694"/>
                <a:gd name="connsiteY25" fmla="*/ 32802 h 55849"/>
                <a:gd name="connsiteX26" fmla="*/ 142184 w 161694"/>
                <a:gd name="connsiteY26" fmla="*/ 35363 h 55849"/>
                <a:gd name="connsiteX27" fmla="*/ 153280 w 161694"/>
                <a:gd name="connsiteY27" fmla="*/ 28412 h 55849"/>
                <a:gd name="connsiteX28" fmla="*/ 145598 w 161694"/>
                <a:gd name="connsiteY28" fmla="*/ 24510 h 55849"/>
                <a:gd name="connsiteX29" fmla="*/ 161694 w 161694"/>
                <a:gd name="connsiteY29" fmla="*/ 20974 h 55849"/>
                <a:gd name="connsiteX30" fmla="*/ 161085 w 161694"/>
                <a:gd name="connsiteY30" fmla="*/ 19876 h 55849"/>
                <a:gd name="connsiteX31" fmla="*/ 145598 w 161694"/>
                <a:gd name="connsiteY31" fmla="*/ 18291 h 55849"/>
                <a:gd name="connsiteX32" fmla="*/ 131819 w 161694"/>
                <a:gd name="connsiteY32" fmla="*/ 11584 h 55849"/>
                <a:gd name="connsiteX33" fmla="*/ 127307 w 161694"/>
                <a:gd name="connsiteY33" fmla="*/ 12682 h 55849"/>
                <a:gd name="connsiteX34" fmla="*/ 113649 w 161694"/>
                <a:gd name="connsiteY34" fmla="*/ 12682 h 55849"/>
                <a:gd name="connsiteX35" fmla="*/ 102431 w 161694"/>
                <a:gd name="connsiteY35" fmla="*/ 7804 h 55849"/>
                <a:gd name="connsiteX36" fmla="*/ 97675 w 161694"/>
                <a:gd name="connsiteY36" fmla="*/ 2805 h 55849"/>
                <a:gd name="connsiteX37" fmla="*/ 92798 w 161694"/>
                <a:gd name="connsiteY37" fmla="*/ 0 h 55849"/>
                <a:gd name="connsiteX38" fmla="*/ 87676 w 161694"/>
                <a:gd name="connsiteY38" fmla="*/ 244 h 55849"/>
                <a:gd name="connsiteX39" fmla="*/ 82067 w 161694"/>
                <a:gd name="connsiteY39" fmla="*/ 6463 h 55849"/>
                <a:gd name="connsiteX40" fmla="*/ 81091 w 161694"/>
                <a:gd name="connsiteY40" fmla="*/ 21584 h 55849"/>
                <a:gd name="connsiteX41" fmla="*/ 67190 w 161694"/>
                <a:gd name="connsiteY41" fmla="*/ 21584 h 55849"/>
                <a:gd name="connsiteX42" fmla="*/ 60970 w 161694"/>
                <a:gd name="connsiteY42" fmla="*/ 18413 h 55849"/>
                <a:gd name="connsiteX43" fmla="*/ 60970 w 161694"/>
                <a:gd name="connsiteY43" fmla="*/ 14999 h 55849"/>
                <a:gd name="connsiteX44" fmla="*/ 48045 w 161694"/>
                <a:gd name="connsiteY44" fmla="*/ 12072 h 55849"/>
                <a:gd name="connsiteX45" fmla="*/ 49996 w 161694"/>
                <a:gd name="connsiteY45" fmla="*/ 5975 h 55849"/>
                <a:gd name="connsiteX46" fmla="*/ 51215 w 161694"/>
                <a:gd name="connsiteY46" fmla="*/ 5609 h 55849"/>
                <a:gd name="connsiteX47" fmla="*/ 33778 w 161694"/>
                <a:gd name="connsiteY47" fmla="*/ 1219 h 55849"/>
                <a:gd name="connsiteX48" fmla="*/ 22559 w 161694"/>
                <a:gd name="connsiteY48" fmla="*/ 5122 h 55849"/>
                <a:gd name="connsiteX49" fmla="*/ 22559 w 161694"/>
                <a:gd name="connsiteY49" fmla="*/ 7195 h 55849"/>
                <a:gd name="connsiteX50" fmla="*/ 9999 w 161694"/>
                <a:gd name="connsiteY50" fmla="*/ 7926 h 55849"/>
                <a:gd name="connsiteX51" fmla="*/ 14633 w 161694"/>
                <a:gd name="connsiteY51" fmla="*/ 14511 h 55849"/>
                <a:gd name="connsiteX52" fmla="*/ 3902 w 161694"/>
                <a:gd name="connsiteY52" fmla="*/ 16462 h 55849"/>
                <a:gd name="connsiteX53" fmla="*/ 3780 w 161694"/>
                <a:gd name="connsiteY53" fmla="*/ 16584 h 55849"/>
                <a:gd name="connsiteX54" fmla="*/ 5853 w 161694"/>
                <a:gd name="connsiteY54" fmla="*/ 27071 h 55849"/>
                <a:gd name="connsiteX55" fmla="*/ 0 w 161694"/>
                <a:gd name="connsiteY55" fmla="*/ 30729 h 55849"/>
                <a:gd name="connsiteX56" fmla="*/ 7317 w 161694"/>
                <a:gd name="connsiteY56" fmla="*/ 40119 h 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1694" h="55849">
                  <a:moveTo>
                    <a:pt x="7317" y="40119"/>
                  </a:moveTo>
                  <a:lnTo>
                    <a:pt x="14389" y="40119"/>
                  </a:lnTo>
                  <a:lnTo>
                    <a:pt x="23047" y="44631"/>
                  </a:lnTo>
                  <a:lnTo>
                    <a:pt x="21340" y="49386"/>
                  </a:lnTo>
                  <a:lnTo>
                    <a:pt x="44631" y="55849"/>
                  </a:lnTo>
                  <a:lnTo>
                    <a:pt x="48411" y="52801"/>
                  </a:lnTo>
                  <a:lnTo>
                    <a:pt x="46460" y="42680"/>
                  </a:lnTo>
                  <a:lnTo>
                    <a:pt x="54386" y="39509"/>
                  </a:lnTo>
                  <a:lnTo>
                    <a:pt x="61092" y="41094"/>
                  </a:lnTo>
                  <a:lnTo>
                    <a:pt x="61946" y="45850"/>
                  </a:lnTo>
                  <a:lnTo>
                    <a:pt x="76579" y="45850"/>
                  </a:lnTo>
                  <a:lnTo>
                    <a:pt x="91822" y="37314"/>
                  </a:lnTo>
                  <a:lnTo>
                    <a:pt x="104626" y="38655"/>
                  </a:lnTo>
                  <a:lnTo>
                    <a:pt x="105601" y="46094"/>
                  </a:lnTo>
                  <a:lnTo>
                    <a:pt x="115601" y="48045"/>
                  </a:lnTo>
                  <a:lnTo>
                    <a:pt x="124258" y="43411"/>
                  </a:lnTo>
                  <a:lnTo>
                    <a:pt x="119991" y="43167"/>
                  </a:lnTo>
                  <a:lnTo>
                    <a:pt x="103894" y="37070"/>
                  </a:lnTo>
                  <a:lnTo>
                    <a:pt x="99382" y="24266"/>
                  </a:lnTo>
                  <a:lnTo>
                    <a:pt x="109504" y="14511"/>
                  </a:lnTo>
                  <a:lnTo>
                    <a:pt x="118649" y="14511"/>
                  </a:lnTo>
                  <a:lnTo>
                    <a:pt x="120235" y="22437"/>
                  </a:lnTo>
                  <a:lnTo>
                    <a:pt x="114260" y="24998"/>
                  </a:lnTo>
                  <a:lnTo>
                    <a:pt x="114260" y="29632"/>
                  </a:lnTo>
                  <a:lnTo>
                    <a:pt x="123039" y="33900"/>
                  </a:lnTo>
                  <a:lnTo>
                    <a:pt x="135111" y="32802"/>
                  </a:lnTo>
                  <a:lnTo>
                    <a:pt x="142184" y="35363"/>
                  </a:lnTo>
                  <a:lnTo>
                    <a:pt x="153280" y="28412"/>
                  </a:lnTo>
                  <a:lnTo>
                    <a:pt x="145598" y="24510"/>
                  </a:lnTo>
                  <a:lnTo>
                    <a:pt x="161694" y="20974"/>
                  </a:lnTo>
                  <a:lnTo>
                    <a:pt x="161085" y="19876"/>
                  </a:lnTo>
                  <a:lnTo>
                    <a:pt x="145598" y="18291"/>
                  </a:lnTo>
                  <a:lnTo>
                    <a:pt x="131819" y="11584"/>
                  </a:lnTo>
                  <a:lnTo>
                    <a:pt x="127307" y="12682"/>
                  </a:lnTo>
                  <a:lnTo>
                    <a:pt x="113649" y="12682"/>
                  </a:lnTo>
                  <a:lnTo>
                    <a:pt x="102431" y="7804"/>
                  </a:lnTo>
                  <a:lnTo>
                    <a:pt x="97675" y="2805"/>
                  </a:lnTo>
                  <a:lnTo>
                    <a:pt x="92798" y="0"/>
                  </a:lnTo>
                  <a:lnTo>
                    <a:pt x="87676" y="244"/>
                  </a:lnTo>
                  <a:lnTo>
                    <a:pt x="82067" y="6463"/>
                  </a:lnTo>
                  <a:lnTo>
                    <a:pt x="81091" y="21584"/>
                  </a:lnTo>
                  <a:lnTo>
                    <a:pt x="67190" y="21584"/>
                  </a:lnTo>
                  <a:lnTo>
                    <a:pt x="60970" y="18413"/>
                  </a:lnTo>
                  <a:lnTo>
                    <a:pt x="60970" y="14999"/>
                  </a:lnTo>
                  <a:lnTo>
                    <a:pt x="48045" y="12072"/>
                  </a:lnTo>
                  <a:lnTo>
                    <a:pt x="49996" y="5975"/>
                  </a:lnTo>
                  <a:lnTo>
                    <a:pt x="51215" y="5609"/>
                  </a:lnTo>
                  <a:lnTo>
                    <a:pt x="33778" y="1219"/>
                  </a:lnTo>
                  <a:lnTo>
                    <a:pt x="22559" y="5122"/>
                  </a:lnTo>
                  <a:lnTo>
                    <a:pt x="22559" y="7195"/>
                  </a:lnTo>
                  <a:lnTo>
                    <a:pt x="9999" y="7926"/>
                  </a:lnTo>
                  <a:lnTo>
                    <a:pt x="14633" y="14511"/>
                  </a:lnTo>
                  <a:lnTo>
                    <a:pt x="3902" y="16462"/>
                  </a:lnTo>
                  <a:lnTo>
                    <a:pt x="3780" y="16584"/>
                  </a:lnTo>
                  <a:lnTo>
                    <a:pt x="5853" y="27071"/>
                  </a:lnTo>
                  <a:lnTo>
                    <a:pt x="0" y="30729"/>
                  </a:lnTo>
                  <a:lnTo>
                    <a:pt x="7317" y="401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8" name="Freihandform: Form 807">
              <a:extLst>
                <a:ext uri="{FF2B5EF4-FFF2-40B4-BE49-F238E27FC236}">
                  <a16:creationId xmlns:a16="http://schemas.microsoft.com/office/drawing/2014/main" id="{23D83D44-5068-4434-9E64-06FCB31B281F}"/>
                </a:ext>
              </a:extLst>
            </p:cNvPr>
            <p:cNvSpPr/>
            <p:nvPr/>
          </p:nvSpPr>
          <p:spPr>
            <a:xfrm>
              <a:off x="6238941" y="1135546"/>
              <a:ext cx="38899" cy="13291"/>
            </a:xfrm>
            <a:custGeom>
              <a:avLst/>
              <a:gdLst>
                <a:gd name="connsiteX0" fmla="*/ 12926 w 38899"/>
                <a:gd name="connsiteY0" fmla="*/ 10609 h 13291"/>
                <a:gd name="connsiteX1" fmla="*/ 25486 w 38899"/>
                <a:gd name="connsiteY1" fmla="*/ 13292 h 13291"/>
                <a:gd name="connsiteX2" fmla="*/ 29875 w 38899"/>
                <a:gd name="connsiteY2" fmla="*/ 11341 h 13291"/>
                <a:gd name="connsiteX3" fmla="*/ 38899 w 38899"/>
                <a:gd name="connsiteY3" fmla="*/ 6097 h 13291"/>
                <a:gd name="connsiteX4" fmla="*/ 35973 w 38899"/>
                <a:gd name="connsiteY4" fmla="*/ 4878 h 13291"/>
                <a:gd name="connsiteX5" fmla="*/ 27437 w 38899"/>
                <a:gd name="connsiteY5" fmla="*/ 4268 h 13291"/>
                <a:gd name="connsiteX6" fmla="*/ 12194 w 38899"/>
                <a:gd name="connsiteY6" fmla="*/ 0 h 13291"/>
                <a:gd name="connsiteX7" fmla="*/ 0 w 38899"/>
                <a:gd name="connsiteY7" fmla="*/ 0 h 13291"/>
                <a:gd name="connsiteX8" fmla="*/ 4633 w 38899"/>
                <a:gd name="connsiteY8" fmla="*/ 2073 h 13291"/>
                <a:gd name="connsiteX9" fmla="*/ 4633 w 38899"/>
                <a:gd name="connsiteY9" fmla="*/ 9999 h 13291"/>
                <a:gd name="connsiteX10" fmla="*/ 12926 w 38899"/>
                <a:gd name="connsiteY10" fmla="*/ 10609 h 13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899" h="13291">
                  <a:moveTo>
                    <a:pt x="12926" y="10609"/>
                  </a:moveTo>
                  <a:lnTo>
                    <a:pt x="25486" y="13292"/>
                  </a:lnTo>
                  <a:lnTo>
                    <a:pt x="29875" y="11341"/>
                  </a:lnTo>
                  <a:lnTo>
                    <a:pt x="38899" y="6097"/>
                  </a:lnTo>
                  <a:lnTo>
                    <a:pt x="35973" y="4878"/>
                  </a:lnTo>
                  <a:lnTo>
                    <a:pt x="27437" y="4268"/>
                  </a:lnTo>
                  <a:lnTo>
                    <a:pt x="12194" y="0"/>
                  </a:lnTo>
                  <a:lnTo>
                    <a:pt x="0" y="0"/>
                  </a:lnTo>
                  <a:lnTo>
                    <a:pt x="4633" y="2073"/>
                  </a:lnTo>
                  <a:lnTo>
                    <a:pt x="4633" y="9999"/>
                  </a:lnTo>
                  <a:lnTo>
                    <a:pt x="12926" y="106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09" name="Freihandform: Form 808">
              <a:extLst>
                <a:ext uri="{FF2B5EF4-FFF2-40B4-BE49-F238E27FC236}">
                  <a16:creationId xmlns:a16="http://schemas.microsoft.com/office/drawing/2014/main" id="{F3EBF3F6-8596-4A9B-9D09-275B7351AA5D}"/>
                </a:ext>
              </a:extLst>
            </p:cNvPr>
            <p:cNvSpPr/>
            <p:nvPr/>
          </p:nvSpPr>
          <p:spPr>
            <a:xfrm>
              <a:off x="5431932" y="2899920"/>
              <a:ext cx="11706" cy="33777"/>
            </a:xfrm>
            <a:custGeom>
              <a:avLst/>
              <a:gdLst>
                <a:gd name="connsiteX0" fmla="*/ 366 w 11706"/>
                <a:gd name="connsiteY0" fmla="*/ 24023 h 33777"/>
                <a:gd name="connsiteX1" fmla="*/ 732 w 11706"/>
                <a:gd name="connsiteY1" fmla="*/ 24998 h 33777"/>
                <a:gd name="connsiteX2" fmla="*/ 976 w 11706"/>
                <a:gd name="connsiteY2" fmla="*/ 25730 h 33777"/>
                <a:gd name="connsiteX3" fmla="*/ 3171 w 11706"/>
                <a:gd name="connsiteY3" fmla="*/ 32193 h 33777"/>
                <a:gd name="connsiteX4" fmla="*/ 8902 w 11706"/>
                <a:gd name="connsiteY4" fmla="*/ 33778 h 33777"/>
                <a:gd name="connsiteX5" fmla="*/ 11707 w 11706"/>
                <a:gd name="connsiteY5" fmla="*/ 22071 h 33777"/>
                <a:gd name="connsiteX6" fmla="*/ 9146 w 11706"/>
                <a:gd name="connsiteY6" fmla="*/ 1341 h 33777"/>
                <a:gd name="connsiteX7" fmla="*/ 2561 w 11706"/>
                <a:gd name="connsiteY7" fmla="*/ 0 h 33777"/>
                <a:gd name="connsiteX8" fmla="*/ 0 w 11706"/>
                <a:gd name="connsiteY8" fmla="*/ 4512 h 33777"/>
                <a:gd name="connsiteX9" fmla="*/ 3780 w 11706"/>
                <a:gd name="connsiteY9" fmla="*/ 15731 h 33777"/>
                <a:gd name="connsiteX10" fmla="*/ 122 w 11706"/>
                <a:gd name="connsiteY10" fmla="*/ 23779 h 33777"/>
                <a:gd name="connsiteX11" fmla="*/ 366 w 11706"/>
                <a:gd name="connsiteY11" fmla="*/ 24023 h 3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06" h="33777">
                  <a:moveTo>
                    <a:pt x="366" y="24023"/>
                  </a:moveTo>
                  <a:lnTo>
                    <a:pt x="732" y="24998"/>
                  </a:lnTo>
                  <a:lnTo>
                    <a:pt x="976" y="25730"/>
                  </a:lnTo>
                  <a:lnTo>
                    <a:pt x="3171" y="32193"/>
                  </a:lnTo>
                  <a:lnTo>
                    <a:pt x="8902" y="33778"/>
                  </a:lnTo>
                  <a:lnTo>
                    <a:pt x="11707" y="22071"/>
                  </a:lnTo>
                  <a:lnTo>
                    <a:pt x="9146" y="1341"/>
                  </a:lnTo>
                  <a:lnTo>
                    <a:pt x="2561" y="0"/>
                  </a:lnTo>
                  <a:lnTo>
                    <a:pt x="0" y="4512"/>
                  </a:lnTo>
                  <a:lnTo>
                    <a:pt x="3780" y="15731"/>
                  </a:lnTo>
                  <a:lnTo>
                    <a:pt x="122" y="23779"/>
                  </a:lnTo>
                  <a:lnTo>
                    <a:pt x="366" y="2402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0" name="Freihandform: Form 809">
              <a:extLst>
                <a:ext uri="{FF2B5EF4-FFF2-40B4-BE49-F238E27FC236}">
                  <a16:creationId xmlns:a16="http://schemas.microsoft.com/office/drawing/2014/main" id="{82BFE6BD-49E5-494B-B62C-E7AC53FF341A}"/>
                </a:ext>
              </a:extLst>
            </p:cNvPr>
            <p:cNvSpPr/>
            <p:nvPr/>
          </p:nvSpPr>
          <p:spPr>
            <a:xfrm>
              <a:off x="7770284" y="1535759"/>
              <a:ext cx="24753" cy="12072"/>
            </a:xfrm>
            <a:custGeom>
              <a:avLst/>
              <a:gdLst>
                <a:gd name="connsiteX0" fmla="*/ 20974 w 24753"/>
                <a:gd name="connsiteY0" fmla="*/ 12072 h 12072"/>
                <a:gd name="connsiteX1" fmla="*/ 24754 w 24753"/>
                <a:gd name="connsiteY1" fmla="*/ 10121 h 12072"/>
                <a:gd name="connsiteX2" fmla="*/ 24144 w 24753"/>
                <a:gd name="connsiteY2" fmla="*/ 5487 h 12072"/>
                <a:gd name="connsiteX3" fmla="*/ 9024 w 24753"/>
                <a:gd name="connsiteY3" fmla="*/ 0 h 12072"/>
                <a:gd name="connsiteX4" fmla="*/ 2804 w 24753"/>
                <a:gd name="connsiteY4" fmla="*/ 2317 h 12072"/>
                <a:gd name="connsiteX5" fmla="*/ 0 w 24753"/>
                <a:gd name="connsiteY5" fmla="*/ 6097 h 12072"/>
                <a:gd name="connsiteX6" fmla="*/ 10609 w 24753"/>
                <a:gd name="connsiteY6" fmla="*/ 10975 h 12072"/>
                <a:gd name="connsiteX7" fmla="*/ 20974 w 24753"/>
                <a:gd name="connsiteY7" fmla="*/ 12072 h 1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53" h="12072">
                  <a:moveTo>
                    <a:pt x="20974" y="12072"/>
                  </a:moveTo>
                  <a:lnTo>
                    <a:pt x="24754" y="10121"/>
                  </a:lnTo>
                  <a:lnTo>
                    <a:pt x="24144" y="5487"/>
                  </a:lnTo>
                  <a:lnTo>
                    <a:pt x="9024" y="0"/>
                  </a:lnTo>
                  <a:lnTo>
                    <a:pt x="2804" y="2317"/>
                  </a:lnTo>
                  <a:lnTo>
                    <a:pt x="0" y="6097"/>
                  </a:lnTo>
                  <a:lnTo>
                    <a:pt x="10609" y="10975"/>
                  </a:lnTo>
                  <a:lnTo>
                    <a:pt x="20974" y="1207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1" name="Freihandform: Form 810">
              <a:extLst>
                <a:ext uri="{FF2B5EF4-FFF2-40B4-BE49-F238E27FC236}">
                  <a16:creationId xmlns:a16="http://schemas.microsoft.com/office/drawing/2014/main" id="{33BA307C-81C7-497D-8BC5-D6A187F0225C}"/>
                </a:ext>
              </a:extLst>
            </p:cNvPr>
            <p:cNvSpPr/>
            <p:nvPr/>
          </p:nvSpPr>
          <p:spPr>
            <a:xfrm>
              <a:off x="7982828" y="1481251"/>
              <a:ext cx="73164" cy="20120"/>
            </a:xfrm>
            <a:custGeom>
              <a:avLst/>
              <a:gdLst>
                <a:gd name="connsiteX0" fmla="*/ 30485 w 73164"/>
                <a:gd name="connsiteY0" fmla="*/ 19023 h 20120"/>
                <a:gd name="connsiteX1" fmla="*/ 61702 w 73164"/>
                <a:gd name="connsiteY1" fmla="*/ 20120 h 20120"/>
                <a:gd name="connsiteX2" fmla="*/ 71823 w 73164"/>
                <a:gd name="connsiteY2" fmla="*/ 14023 h 20120"/>
                <a:gd name="connsiteX3" fmla="*/ 73165 w 73164"/>
                <a:gd name="connsiteY3" fmla="*/ 9511 h 20120"/>
                <a:gd name="connsiteX4" fmla="*/ 72433 w 73164"/>
                <a:gd name="connsiteY4" fmla="*/ 8414 h 20120"/>
                <a:gd name="connsiteX5" fmla="*/ 63409 w 73164"/>
                <a:gd name="connsiteY5" fmla="*/ 8414 h 20120"/>
                <a:gd name="connsiteX6" fmla="*/ 54874 w 73164"/>
                <a:gd name="connsiteY6" fmla="*/ 1707 h 20120"/>
                <a:gd name="connsiteX7" fmla="*/ 40728 w 73164"/>
                <a:gd name="connsiteY7" fmla="*/ 2195 h 20120"/>
                <a:gd name="connsiteX8" fmla="*/ 22315 w 73164"/>
                <a:gd name="connsiteY8" fmla="*/ 5122 h 20120"/>
                <a:gd name="connsiteX9" fmla="*/ 5365 w 73164"/>
                <a:gd name="connsiteY9" fmla="*/ 0 h 20120"/>
                <a:gd name="connsiteX10" fmla="*/ 2926 w 73164"/>
                <a:gd name="connsiteY10" fmla="*/ 366 h 20120"/>
                <a:gd name="connsiteX11" fmla="*/ 0 w 73164"/>
                <a:gd name="connsiteY11" fmla="*/ 4512 h 20120"/>
                <a:gd name="connsiteX12" fmla="*/ 14023 w 73164"/>
                <a:gd name="connsiteY12" fmla="*/ 12926 h 20120"/>
                <a:gd name="connsiteX13" fmla="*/ 30485 w 73164"/>
                <a:gd name="connsiteY13" fmla="*/ 19023 h 20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164" h="20120">
                  <a:moveTo>
                    <a:pt x="30485" y="19023"/>
                  </a:moveTo>
                  <a:lnTo>
                    <a:pt x="61702" y="20120"/>
                  </a:lnTo>
                  <a:lnTo>
                    <a:pt x="71823" y="14023"/>
                  </a:lnTo>
                  <a:lnTo>
                    <a:pt x="73165" y="9511"/>
                  </a:lnTo>
                  <a:lnTo>
                    <a:pt x="72433" y="8414"/>
                  </a:lnTo>
                  <a:lnTo>
                    <a:pt x="63409" y="8414"/>
                  </a:lnTo>
                  <a:lnTo>
                    <a:pt x="54874" y="1707"/>
                  </a:lnTo>
                  <a:lnTo>
                    <a:pt x="40728" y="2195"/>
                  </a:lnTo>
                  <a:lnTo>
                    <a:pt x="22315" y="5122"/>
                  </a:lnTo>
                  <a:lnTo>
                    <a:pt x="5365" y="0"/>
                  </a:lnTo>
                  <a:lnTo>
                    <a:pt x="2926" y="366"/>
                  </a:lnTo>
                  <a:lnTo>
                    <a:pt x="0" y="4512"/>
                  </a:lnTo>
                  <a:lnTo>
                    <a:pt x="14023" y="12926"/>
                  </a:lnTo>
                  <a:lnTo>
                    <a:pt x="30485" y="1902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2" name="Freihandform: Form 811">
              <a:extLst>
                <a:ext uri="{FF2B5EF4-FFF2-40B4-BE49-F238E27FC236}">
                  <a16:creationId xmlns:a16="http://schemas.microsoft.com/office/drawing/2014/main" id="{913D5E6B-3740-4156-89EA-D1D9F8C45055}"/>
                </a:ext>
              </a:extLst>
            </p:cNvPr>
            <p:cNvSpPr/>
            <p:nvPr/>
          </p:nvSpPr>
          <p:spPr>
            <a:xfrm>
              <a:off x="6893158" y="3221724"/>
              <a:ext cx="2682" cy="11828"/>
            </a:xfrm>
            <a:custGeom>
              <a:avLst/>
              <a:gdLst>
                <a:gd name="connsiteX0" fmla="*/ 488 w 2682"/>
                <a:gd name="connsiteY0" fmla="*/ 11585 h 11828"/>
                <a:gd name="connsiteX1" fmla="*/ 2683 w 2682"/>
                <a:gd name="connsiteY1" fmla="*/ 5488 h 11828"/>
                <a:gd name="connsiteX2" fmla="*/ 1585 w 2682"/>
                <a:gd name="connsiteY2" fmla="*/ 0 h 11828"/>
                <a:gd name="connsiteX3" fmla="*/ 0 w 2682"/>
                <a:gd name="connsiteY3" fmla="*/ 11828 h 11828"/>
                <a:gd name="connsiteX4" fmla="*/ 488 w 2682"/>
                <a:gd name="connsiteY4" fmla="*/ 11585 h 1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2" h="11828">
                  <a:moveTo>
                    <a:pt x="488" y="11585"/>
                  </a:moveTo>
                  <a:lnTo>
                    <a:pt x="2683" y="5488"/>
                  </a:lnTo>
                  <a:lnTo>
                    <a:pt x="1585" y="0"/>
                  </a:lnTo>
                  <a:lnTo>
                    <a:pt x="0" y="11828"/>
                  </a:lnTo>
                  <a:lnTo>
                    <a:pt x="488" y="1158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3" name="Freihandform: Form 812">
              <a:extLst>
                <a:ext uri="{FF2B5EF4-FFF2-40B4-BE49-F238E27FC236}">
                  <a16:creationId xmlns:a16="http://schemas.microsoft.com/office/drawing/2014/main" id="{B1FE193C-6C53-4095-B35F-1C55A5777EFF}"/>
                </a:ext>
              </a:extLst>
            </p:cNvPr>
            <p:cNvSpPr/>
            <p:nvPr/>
          </p:nvSpPr>
          <p:spPr>
            <a:xfrm>
              <a:off x="7225205" y="1388819"/>
              <a:ext cx="60848" cy="25119"/>
            </a:xfrm>
            <a:custGeom>
              <a:avLst/>
              <a:gdLst>
                <a:gd name="connsiteX0" fmla="*/ 18779 w 60848"/>
                <a:gd name="connsiteY0" fmla="*/ 21340 h 25119"/>
                <a:gd name="connsiteX1" fmla="*/ 32558 w 60848"/>
                <a:gd name="connsiteY1" fmla="*/ 23535 h 25119"/>
                <a:gd name="connsiteX2" fmla="*/ 58288 w 60848"/>
                <a:gd name="connsiteY2" fmla="*/ 25120 h 25119"/>
                <a:gd name="connsiteX3" fmla="*/ 60849 w 60848"/>
                <a:gd name="connsiteY3" fmla="*/ 18413 h 25119"/>
                <a:gd name="connsiteX4" fmla="*/ 52800 w 60848"/>
                <a:gd name="connsiteY4" fmla="*/ 12072 h 25119"/>
                <a:gd name="connsiteX5" fmla="*/ 38168 w 60848"/>
                <a:gd name="connsiteY5" fmla="*/ 3902 h 25119"/>
                <a:gd name="connsiteX6" fmla="*/ 36582 w 60848"/>
                <a:gd name="connsiteY6" fmla="*/ 488 h 25119"/>
                <a:gd name="connsiteX7" fmla="*/ 14267 w 60848"/>
                <a:gd name="connsiteY7" fmla="*/ 0 h 25119"/>
                <a:gd name="connsiteX8" fmla="*/ 7682 w 60848"/>
                <a:gd name="connsiteY8" fmla="*/ 6707 h 25119"/>
                <a:gd name="connsiteX9" fmla="*/ 6707 w 60848"/>
                <a:gd name="connsiteY9" fmla="*/ 13292 h 25119"/>
                <a:gd name="connsiteX10" fmla="*/ 0 w 60848"/>
                <a:gd name="connsiteY10" fmla="*/ 17316 h 25119"/>
                <a:gd name="connsiteX11" fmla="*/ 12926 w 60848"/>
                <a:gd name="connsiteY11" fmla="*/ 17803 h 25119"/>
                <a:gd name="connsiteX12" fmla="*/ 18779 w 60848"/>
                <a:gd name="connsiteY12" fmla="*/ 21340 h 2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848" h="25119">
                  <a:moveTo>
                    <a:pt x="18779" y="21340"/>
                  </a:moveTo>
                  <a:lnTo>
                    <a:pt x="32558" y="23535"/>
                  </a:lnTo>
                  <a:lnTo>
                    <a:pt x="58288" y="25120"/>
                  </a:lnTo>
                  <a:lnTo>
                    <a:pt x="60849" y="18413"/>
                  </a:lnTo>
                  <a:lnTo>
                    <a:pt x="52800" y="12072"/>
                  </a:lnTo>
                  <a:lnTo>
                    <a:pt x="38168" y="3902"/>
                  </a:lnTo>
                  <a:lnTo>
                    <a:pt x="36582" y="488"/>
                  </a:lnTo>
                  <a:lnTo>
                    <a:pt x="14267" y="0"/>
                  </a:lnTo>
                  <a:lnTo>
                    <a:pt x="7682" y="6707"/>
                  </a:lnTo>
                  <a:lnTo>
                    <a:pt x="6707" y="13292"/>
                  </a:lnTo>
                  <a:lnTo>
                    <a:pt x="0" y="17316"/>
                  </a:lnTo>
                  <a:lnTo>
                    <a:pt x="12926" y="17803"/>
                  </a:lnTo>
                  <a:lnTo>
                    <a:pt x="18779" y="2134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4" name="Freihandform: Form 813">
              <a:extLst>
                <a:ext uri="{FF2B5EF4-FFF2-40B4-BE49-F238E27FC236}">
                  <a16:creationId xmlns:a16="http://schemas.microsoft.com/office/drawing/2014/main" id="{443461E6-614F-4E4D-99C9-2689FB444379}"/>
                </a:ext>
              </a:extLst>
            </p:cNvPr>
            <p:cNvSpPr/>
            <p:nvPr/>
          </p:nvSpPr>
          <p:spPr>
            <a:xfrm>
              <a:off x="7216303" y="1369674"/>
              <a:ext cx="17438" cy="16218"/>
            </a:xfrm>
            <a:custGeom>
              <a:avLst/>
              <a:gdLst>
                <a:gd name="connsiteX0" fmla="*/ 9999 w 17438"/>
                <a:gd name="connsiteY0" fmla="*/ 0 h 16218"/>
                <a:gd name="connsiteX1" fmla="*/ 1342 w 17438"/>
                <a:gd name="connsiteY1" fmla="*/ 4268 h 16218"/>
                <a:gd name="connsiteX2" fmla="*/ 0 w 17438"/>
                <a:gd name="connsiteY2" fmla="*/ 10853 h 16218"/>
                <a:gd name="connsiteX3" fmla="*/ 9024 w 17438"/>
                <a:gd name="connsiteY3" fmla="*/ 16218 h 16218"/>
                <a:gd name="connsiteX4" fmla="*/ 16706 w 17438"/>
                <a:gd name="connsiteY4" fmla="*/ 11584 h 16218"/>
                <a:gd name="connsiteX5" fmla="*/ 17438 w 17438"/>
                <a:gd name="connsiteY5" fmla="*/ 9511 h 16218"/>
                <a:gd name="connsiteX6" fmla="*/ 14755 w 17438"/>
                <a:gd name="connsiteY6" fmla="*/ 9024 h 16218"/>
                <a:gd name="connsiteX7" fmla="*/ 16828 w 17438"/>
                <a:gd name="connsiteY7" fmla="*/ 2439 h 16218"/>
                <a:gd name="connsiteX8" fmla="*/ 9999 w 17438"/>
                <a:gd name="connsiteY8" fmla="*/ 0 h 16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38" h="16218">
                  <a:moveTo>
                    <a:pt x="9999" y="0"/>
                  </a:moveTo>
                  <a:lnTo>
                    <a:pt x="1342" y="4268"/>
                  </a:lnTo>
                  <a:lnTo>
                    <a:pt x="0" y="10853"/>
                  </a:lnTo>
                  <a:lnTo>
                    <a:pt x="9024" y="16218"/>
                  </a:lnTo>
                  <a:lnTo>
                    <a:pt x="16706" y="11584"/>
                  </a:lnTo>
                  <a:lnTo>
                    <a:pt x="17438" y="9511"/>
                  </a:lnTo>
                  <a:lnTo>
                    <a:pt x="14755" y="9024"/>
                  </a:lnTo>
                  <a:lnTo>
                    <a:pt x="16828" y="2439"/>
                  </a:lnTo>
                  <a:lnTo>
                    <a:pt x="999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5" name="Freihandform: Form 814">
              <a:extLst>
                <a:ext uri="{FF2B5EF4-FFF2-40B4-BE49-F238E27FC236}">
                  <a16:creationId xmlns:a16="http://schemas.microsoft.com/office/drawing/2014/main" id="{27609879-1932-45F5-8501-4F8BC9CE7044}"/>
                </a:ext>
              </a:extLst>
            </p:cNvPr>
            <p:cNvSpPr/>
            <p:nvPr/>
          </p:nvSpPr>
          <p:spPr>
            <a:xfrm>
              <a:off x="6050664" y="1307850"/>
              <a:ext cx="121" cy="12194"/>
            </a:xfrm>
            <a:custGeom>
              <a:avLst/>
              <a:gdLst>
                <a:gd name="connsiteX0" fmla="*/ 122 w 121"/>
                <a:gd name="connsiteY0" fmla="*/ 0 h 12194"/>
                <a:gd name="connsiteX1" fmla="*/ 0 w 121"/>
                <a:gd name="connsiteY1" fmla="*/ 0 h 12194"/>
                <a:gd name="connsiteX2" fmla="*/ 122 w 121"/>
                <a:gd name="connsiteY2" fmla="*/ 0 h 12194"/>
                <a:gd name="connsiteX3" fmla="*/ 122 w 121"/>
                <a:gd name="connsiteY3" fmla="*/ 0 h 1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" h="12194">
                  <a:moveTo>
                    <a:pt x="122" y="0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6" name="Freihandform: Form 815">
              <a:extLst>
                <a:ext uri="{FF2B5EF4-FFF2-40B4-BE49-F238E27FC236}">
                  <a16:creationId xmlns:a16="http://schemas.microsoft.com/office/drawing/2014/main" id="{F558E8BE-5428-4503-A7C2-D27CFB7DCD48}"/>
                </a:ext>
              </a:extLst>
            </p:cNvPr>
            <p:cNvSpPr/>
            <p:nvPr/>
          </p:nvSpPr>
          <p:spPr>
            <a:xfrm>
              <a:off x="5988473" y="1427962"/>
              <a:ext cx="14632" cy="7560"/>
            </a:xfrm>
            <a:custGeom>
              <a:avLst/>
              <a:gdLst>
                <a:gd name="connsiteX0" fmla="*/ 9755 w 14632"/>
                <a:gd name="connsiteY0" fmla="*/ 7560 h 7560"/>
                <a:gd name="connsiteX1" fmla="*/ 14633 w 14632"/>
                <a:gd name="connsiteY1" fmla="*/ 3414 h 7560"/>
                <a:gd name="connsiteX2" fmla="*/ 13657 w 14632"/>
                <a:gd name="connsiteY2" fmla="*/ 854 h 7560"/>
                <a:gd name="connsiteX3" fmla="*/ 7926 w 14632"/>
                <a:gd name="connsiteY3" fmla="*/ 0 h 7560"/>
                <a:gd name="connsiteX4" fmla="*/ 0 w 14632"/>
                <a:gd name="connsiteY4" fmla="*/ 3902 h 7560"/>
                <a:gd name="connsiteX5" fmla="*/ 1463 w 14632"/>
                <a:gd name="connsiteY5" fmla="*/ 6585 h 7560"/>
                <a:gd name="connsiteX6" fmla="*/ 9755 w 14632"/>
                <a:gd name="connsiteY6" fmla="*/ 7560 h 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2" h="7560">
                  <a:moveTo>
                    <a:pt x="9755" y="7560"/>
                  </a:moveTo>
                  <a:lnTo>
                    <a:pt x="14633" y="3414"/>
                  </a:lnTo>
                  <a:lnTo>
                    <a:pt x="13657" y="854"/>
                  </a:lnTo>
                  <a:lnTo>
                    <a:pt x="7926" y="0"/>
                  </a:lnTo>
                  <a:lnTo>
                    <a:pt x="0" y="3902"/>
                  </a:lnTo>
                  <a:lnTo>
                    <a:pt x="1463" y="6585"/>
                  </a:lnTo>
                  <a:lnTo>
                    <a:pt x="9755" y="756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7" name="Freihandform: Form 816">
              <a:extLst>
                <a:ext uri="{FF2B5EF4-FFF2-40B4-BE49-F238E27FC236}">
                  <a16:creationId xmlns:a16="http://schemas.microsoft.com/office/drawing/2014/main" id="{05967C6E-14BE-4024-92D7-8D8FD924B1AD}"/>
                </a:ext>
              </a:extLst>
            </p:cNvPr>
            <p:cNvSpPr/>
            <p:nvPr/>
          </p:nvSpPr>
          <p:spPr>
            <a:xfrm>
              <a:off x="6199066" y="1255537"/>
              <a:ext cx="6584" cy="3170"/>
            </a:xfrm>
            <a:custGeom>
              <a:avLst/>
              <a:gdLst>
                <a:gd name="connsiteX0" fmla="*/ 6585 w 6584"/>
                <a:gd name="connsiteY0" fmla="*/ 854 h 3170"/>
                <a:gd name="connsiteX1" fmla="*/ 5975 w 6584"/>
                <a:gd name="connsiteY1" fmla="*/ 0 h 3170"/>
                <a:gd name="connsiteX2" fmla="*/ 1585 w 6584"/>
                <a:gd name="connsiteY2" fmla="*/ 610 h 3170"/>
                <a:gd name="connsiteX3" fmla="*/ 0 w 6584"/>
                <a:gd name="connsiteY3" fmla="*/ 2683 h 3170"/>
                <a:gd name="connsiteX4" fmla="*/ 1219 w 6584"/>
                <a:gd name="connsiteY4" fmla="*/ 3170 h 3170"/>
                <a:gd name="connsiteX5" fmla="*/ 6585 w 6584"/>
                <a:gd name="connsiteY5" fmla="*/ 854 h 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84" h="3170">
                  <a:moveTo>
                    <a:pt x="6585" y="854"/>
                  </a:moveTo>
                  <a:lnTo>
                    <a:pt x="5975" y="0"/>
                  </a:lnTo>
                  <a:lnTo>
                    <a:pt x="1585" y="610"/>
                  </a:lnTo>
                  <a:lnTo>
                    <a:pt x="0" y="2683"/>
                  </a:lnTo>
                  <a:lnTo>
                    <a:pt x="1219" y="3170"/>
                  </a:lnTo>
                  <a:lnTo>
                    <a:pt x="6585" y="8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8" name="Freihandform: Form 817">
              <a:extLst>
                <a:ext uri="{FF2B5EF4-FFF2-40B4-BE49-F238E27FC236}">
                  <a16:creationId xmlns:a16="http://schemas.microsoft.com/office/drawing/2014/main" id="{D07AD95D-1CC5-4415-9C01-8C3A6235F61F}"/>
                </a:ext>
              </a:extLst>
            </p:cNvPr>
            <p:cNvSpPr/>
            <p:nvPr/>
          </p:nvSpPr>
          <p:spPr>
            <a:xfrm>
              <a:off x="6041762" y="1323824"/>
              <a:ext cx="12437" cy="5365"/>
            </a:xfrm>
            <a:custGeom>
              <a:avLst/>
              <a:gdLst>
                <a:gd name="connsiteX0" fmla="*/ 12438 w 12437"/>
                <a:gd name="connsiteY0" fmla="*/ 3414 h 5365"/>
                <a:gd name="connsiteX1" fmla="*/ 9999 w 12437"/>
                <a:gd name="connsiteY1" fmla="*/ 366 h 5365"/>
                <a:gd name="connsiteX2" fmla="*/ 3902 w 12437"/>
                <a:gd name="connsiteY2" fmla="*/ 0 h 5365"/>
                <a:gd name="connsiteX3" fmla="*/ 0 w 12437"/>
                <a:gd name="connsiteY3" fmla="*/ 1707 h 5365"/>
                <a:gd name="connsiteX4" fmla="*/ 7439 w 12437"/>
                <a:gd name="connsiteY4" fmla="*/ 5365 h 5365"/>
                <a:gd name="connsiteX5" fmla="*/ 12438 w 12437"/>
                <a:gd name="connsiteY5" fmla="*/ 3414 h 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7" h="5365">
                  <a:moveTo>
                    <a:pt x="12438" y="3414"/>
                  </a:moveTo>
                  <a:lnTo>
                    <a:pt x="9999" y="366"/>
                  </a:lnTo>
                  <a:lnTo>
                    <a:pt x="3902" y="0"/>
                  </a:lnTo>
                  <a:lnTo>
                    <a:pt x="0" y="1707"/>
                  </a:lnTo>
                  <a:lnTo>
                    <a:pt x="7439" y="5365"/>
                  </a:lnTo>
                  <a:lnTo>
                    <a:pt x="12438" y="341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19" name="Freihandform: Form 818">
              <a:extLst>
                <a:ext uri="{FF2B5EF4-FFF2-40B4-BE49-F238E27FC236}">
                  <a16:creationId xmlns:a16="http://schemas.microsoft.com/office/drawing/2014/main" id="{AD6965F0-C4F8-4B92-B7E0-2779E0DE63A5}"/>
                </a:ext>
              </a:extLst>
            </p:cNvPr>
            <p:cNvSpPr/>
            <p:nvPr/>
          </p:nvSpPr>
          <p:spPr>
            <a:xfrm>
              <a:off x="6219309" y="1075307"/>
              <a:ext cx="21827" cy="2560"/>
            </a:xfrm>
            <a:custGeom>
              <a:avLst/>
              <a:gdLst>
                <a:gd name="connsiteX0" fmla="*/ 21584 w 21827"/>
                <a:gd name="connsiteY0" fmla="*/ 2561 h 2560"/>
                <a:gd name="connsiteX1" fmla="*/ 21828 w 21827"/>
                <a:gd name="connsiteY1" fmla="*/ 2317 h 2560"/>
                <a:gd name="connsiteX2" fmla="*/ 19754 w 21827"/>
                <a:gd name="connsiteY2" fmla="*/ 0 h 2560"/>
                <a:gd name="connsiteX3" fmla="*/ 2561 w 21827"/>
                <a:gd name="connsiteY3" fmla="*/ 0 h 2560"/>
                <a:gd name="connsiteX4" fmla="*/ 0 w 21827"/>
                <a:gd name="connsiteY4" fmla="*/ 732 h 2560"/>
                <a:gd name="connsiteX5" fmla="*/ 4146 w 21827"/>
                <a:gd name="connsiteY5" fmla="*/ 2561 h 2560"/>
                <a:gd name="connsiteX6" fmla="*/ 21584 w 21827"/>
                <a:gd name="connsiteY6" fmla="*/ 2561 h 2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27" h="2560">
                  <a:moveTo>
                    <a:pt x="21584" y="2561"/>
                  </a:moveTo>
                  <a:lnTo>
                    <a:pt x="21828" y="2317"/>
                  </a:lnTo>
                  <a:lnTo>
                    <a:pt x="19754" y="0"/>
                  </a:lnTo>
                  <a:lnTo>
                    <a:pt x="2561" y="0"/>
                  </a:lnTo>
                  <a:lnTo>
                    <a:pt x="0" y="732"/>
                  </a:lnTo>
                  <a:lnTo>
                    <a:pt x="4146" y="2561"/>
                  </a:lnTo>
                  <a:lnTo>
                    <a:pt x="21584" y="256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0" name="Freihandform: Form 819">
              <a:extLst>
                <a:ext uri="{FF2B5EF4-FFF2-40B4-BE49-F238E27FC236}">
                  <a16:creationId xmlns:a16="http://schemas.microsoft.com/office/drawing/2014/main" id="{03B6A781-43D4-4362-BE64-72BE1BF9897A}"/>
                </a:ext>
              </a:extLst>
            </p:cNvPr>
            <p:cNvSpPr/>
            <p:nvPr/>
          </p:nvSpPr>
          <p:spPr>
            <a:xfrm>
              <a:off x="6241868" y="1072380"/>
              <a:ext cx="124746" cy="59507"/>
            </a:xfrm>
            <a:custGeom>
              <a:avLst/>
              <a:gdLst>
                <a:gd name="connsiteX0" fmla="*/ 17316 w 124746"/>
                <a:gd name="connsiteY0" fmla="*/ 48533 h 59507"/>
                <a:gd name="connsiteX1" fmla="*/ 17316 w 124746"/>
                <a:gd name="connsiteY1" fmla="*/ 54508 h 59507"/>
                <a:gd name="connsiteX2" fmla="*/ 38046 w 124746"/>
                <a:gd name="connsiteY2" fmla="*/ 59508 h 59507"/>
                <a:gd name="connsiteX3" fmla="*/ 58166 w 124746"/>
                <a:gd name="connsiteY3" fmla="*/ 57800 h 59507"/>
                <a:gd name="connsiteX4" fmla="*/ 62312 w 124746"/>
                <a:gd name="connsiteY4" fmla="*/ 53532 h 59507"/>
                <a:gd name="connsiteX5" fmla="*/ 77555 w 124746"/>
                <a:gd name="connsiteY5" fmla="*/ 50362 h 59507"/>
                <a:gd name="connsiteX6" fmla="*/ 112552 w 124746"/>
                <a:gd name="connsiteY6" fmla="*/ 49142 h 59507"/>
                <a:gd name="connsiteX7" fmla="*/ 110845 w 124746"/>
                <a:gd name="connsiteY7" fmla="*/ 45972 h 59507"/>
                <a:gd name="connsiteX8" fmla="*/ 112552 w 124746"/>
                <a:gd name="connsiteY8" fmla="*/ 35729 h 59507"/>
                <a:gd name="connsiteX9" fmla="*/ 124746 w 124746"/>
                <a:gd name="connsiteY9" fmla="*/ 28900 h 59507"/>
                <a:gd name="connsiteX10" fmla="*/ 123405 w 124746"/>
                <a:gd name="connsiteY10" fmla="*/ 27925 h 59507"/>
                <a:gd name="connsiteX11" fmla="*/ 103041 w 124746"/>
                <a:gd name="connsiteY11" fmla="*/ 19633 h 59507"/>
                <a:gd name="connsiteX12" fmla="*/ 95846 w 124746"/>
                <a:gd name="connsiteY12" fmla="*/ 5487 h 59507"/>
                <a:gd name="connsiteX13" fmla="*/ 84383 w 124746"/>
                <a:gd name="connsiteY13" fmla="*/ 0 h 59507"/>
                <a:gd name="connsiteX14" fmla="*/ 74750 w 124746"/>
                <a:gd name="connsiteY14" fmla="*/ 1463 h 59507"/>
                <a:gd name="connsiteX15" fmla="*/ 70604 w 124746"/>
                <a:gd name="connsiteY15" fmla="*/ 9999 h 59507"/>
                <a:gd name="connsiteX16" fmla="*/ 33046 w 124746"/>
                <a:gd name="connsiteY16" fmla="*/ 21218 h 59507"/>
                <a:gd name="connsiteX17" fmla="*/ 22193 w 124746"/>
                <a:gd name="connsiteY17" fmla="*/ 26827 h 59507"/>
                <a:gd name="connsiteX18" fmla="*/ 33168 w 124746"/>
                <a:gd name="connsiteY18" fmla="*/ 33900 h 59507"/>
                <a:gd name="connsiteX19" fmla="*/ 21584 w 124746"/>
                <a:gd name="connsiteY19" fmla="*/ 42192 h 59507"/>
                <a:gd name="connsiteX20" fmla="*/ 7317 w 124746"/>
                <a:gd name="connsiteY20" fmla="*/ 43411 h 59507"/>
                <a:gd name="connsiteX21" fmla="*/ 0 w 124746"/>
                <a:gd name="connsiteY21" fmla="*/ 46948 h 59507"/>
                <a:gd name="connsiteX22" fmla="*/ 2926 w 124746"/>
                <a:gd name="connsiteY22" fmla="*/ 48533 h 59507"/>
                <a:gd name="connsiteX23" fmla="*/ 17316 w 124746"/>
                <a:gd name="connsiteY23" fmla="*/ 48533 h 5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4746" h="59507">
                  <a:moveTo>
                    <a:pt x="17316" y="48533"/>
                  </a:moveTo>
                  <a:lnTo>
                    <a:pt x="17316" y="54508"/>
                  </a:lnTo>
                  <a:lnTo>
                    <a:pt x="38046" y="59508"/>
                  </a:lnTo>
                  <a:lnTo>
                    <a:pt x="58166" y="57800"/>
                  </a:lnTo>
                  <a:lnTo>
                    <a:pt x="62312" y="53532"/>
                  </a:lnTo>
                  <a:lnTo>
                    <a:pt x="77555" y="50362"/>
                  </a:lnTo>
                  <a:lnTo>
                    <a:pt x="112552" y="49142"/>
                  </a:lnTo>
                  <a:lnTo>
                    <a:pt x="110845" y="45972"/>
                  </a:lnTo>
                  <a:lnTo>
                    <a:pt x="112552" y="35729"/>
                  </a:lnTo>
                  <a:lnTo>
                    <a:pt x="124746" y="28900"/>
                  </a:lnTo>
                  <a:lnTo>
                    <a:pt x="123405" y="27925"/>
                  </a:lnTo>
                  <a:lnTo>
                    <a:pt x="103041" y="19633"/>
                  </a:lnTo>
                  <a:lnTo>
                    <a:pt x="95846" y="5487"/>
                  </a:lnTo>
                  <a:lnTo>
                    <a:pt x="84383" y="0"/>
                  </a:lnTo>
                  <a:lnTo>
                    <a:pt x="74750" y="1463"/>
                  </a:lnTo>
                  <a:lnTo>
                    <a:pt x="70604" y="9999"/>
                  </a:lnTo>
                  <a:lnTo>
                    <a:pt x="33046" y="21218"/>
                  </a:lnTo>
                  <a:lnTo>
                    <a:pt x="22193" y="26827"/>
                  </a:lnTo>
                  <a:lnTo>
                    <a:pt x="33168" y="33900"/>
                  </a:lnTo>
                  <a:lnTo>
                    <a:pt x="21584" y="42192"/>
                  </a:lnTo>
                  <a:lnTo>
                    <a:pt x="7317" y="43411"/>
                  </a:lnTo>
                  <a:lnTo>
                    <a:pt x="0" y="46948"/>
                  </a:lnTo>
                  <a:lnTo>
                    <a:pt x="2926" y="48533"/>
                  </a:lnTo>
                  <a:lnTo>
                    <a:pt x="17316" y="485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1" name="Freihandform: Form 820">
              <a:extLst>
                <a:ext uri="{FF2B5EF4-FFF2-40B4-BE49-F238E27FC236}">
                  <a16:creationId xmlns:a16="http://schemas.microsoft.com/office/drawing/2014/main" id="{8565A675-4D90-4EC4-88E9-FBB97536E6D5}"/>
                </a:ext>
              </a:extLst>
            </p:cNvPr>
            <p:cNvSpPr/>
            <p:nvPr/>
          </p:nvSpPr>
          <p:spPr>
            <a:xfrm>
              <a:off x="6185409" y="1264195"/>
              <a:ext cx="1341" cy="731"/>
            </a:xfrm>
            <a:custGeom>
              <a:avLst/>
              <a:gdLst>
                <a:gd name="connsiteX0" fmla="*/ 1342 w 1341"/>
                <a:gd name="connsiteY0" fmla="*/ 0 h 731"/>
                <a:gd name="connsiteX1" fmla="*/ 0 w 1341"/>
                <a:gd name="connsiteY1" fmla="*/ 366 h 731"/>
                <a:gd name="connsiteX2" fmla="*/ 0 w 1341"/>
                <a:gd name="connsiteY2" fmla="*/ 732 h 731"/>
                <a:gd name="connsiteX3" fmla="*/ 732 w 1341"/>
                <a:gd name="connsiteY3" fmla="*/ 732 h 731"/>
                <a:gd name="connsiteX4" fmla="*/ 1342 w 1341"/>
                <a:gd name="connsiteY4" fmla="*/ 0 h 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1" h="731">
                  <a:moveTo>
                    <a:pt x="1342" y="0"/>
                  </a:moveTo>
                  <a:lnTo>
                    <a:pt x="0" y="366"/>
                  </a:lnTo>
                  <a:lnTo>
                    <a:pt x="0" y="732"/>
                  </a:lnTo>
                  <a:lnTo>
                    <a:pt x="732" y="732"/>
                  </a:lnTo>
                  <a:lnTo>
                    <a:pt x="1342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2" name="Freihandform: Form 821">
              <a:extLst>
                <a:ext uri="{FF2B5EF4-FFF2-40B4-BE49-F238E27FC236}">
                  <a16:creationId xmlns:a16="http://schemas.microsoft.com/office/drawing/2014/main" id="{950553F6-203B-4071-9A05-EB1FA9D4B743}"/>
                </a:ext>
              </a:extLst>
            </p:cNvPr>
            <p:cNvSpPr/>
            <p:nvPr/>
          </p:nvSpPr>
          <p:spPr>
            <a:xfrm>
              <a:off x="6402465" y="1168227"/>
              <a:ext cx="114625" cy="60483"/>
            </a:xfrm>
            <a:custGeom>
              <a:avLst/>
              <a:gdLst>
                <a:gd name="connsiteX0" fmla="*/ 0 w 114625"/>
                <a:gd name="connsiteY0" fmla="*/ 53898 h 60483"/>
                <a:gd name="connsiteX1" fmla="*/ 0 w 114625"/>
                <a:gd name="connsiteY1" fmla="*/ 55483 h 60483"/>
                <a:gd name="connsiteX2" fmla="*/ 9146 w 114625"/>
                <a:gd name="connsiteY2" fmla="*/ 60483 h 60483"/>
                <a:gd name="connsiteX3" fmla="*/ 18413 w 114625"/>
                <a:gd name="connsiteY3" fmla="*/ 54752 h 60483"/>
                <a:gd name="connsiteX4" fmla="*/ 38656 w 114625"/>
                <a:gd name="connsiteY4" fmla="*/ 51581 h 60483"/>
                <a:gd name="connsiteX5" fmla="*/ 51459 w 114625"/>
                <a:gd name="connsiteY5" fmla="*/ 48533 h 60483"/>
                <a:gd name="connsiteX6" fmla="*/ 51459 w 114625"/>
                <a:gd name="connsiteY6" fmla="*/ 48533 h 60483"/>
                <a:gd name="connsiteX7" fmla="*/ 64019 w 114625"/>
                <a:gd name="connsiteY7" fmla="*/ 48533 h 60483"/>
                <a:gd name="connsiteX8" fmla="*/ 67922 w 114625"/>
                <a:gd name="connsiteY8" fmla="*/ 52435 h 60483"/>
                <a:gd name="connsiteX9" fmla="*/ 78652 w 114625"/>
                <a:gd name="connsiteY9" fmla="*/ 49142 h 60483"/>
                <a:gd name="connsiteX10" fmla="*/ 90969 w 114625"/>
                <a:gd name="connsiteY10" fmla="*/ 49142 h 60483"/>
                <a:gd name="connsiteX11" fmla="*/ 113650 w 114625"/>
                <a:gd name="connsiteY11" fmla="*/ 39265 h 60483"/>
                <a:gd name="connsiteX12" fmla="*/ 114625 w 114625"/>
                <a:gd name="connsiteY12" fmla="*/ 32680 h 60483"/>
                <a:gd name="connsiteX13" fmla="*/ 104992 w 114625"/>
                <a:gd name="connsiteY13" fmla="*/ 26583 h 60483"/>
                <a:gd name="connsiteX14" fmla="*/ 104992 w 114625"/>
                <a:gd name="connsiteY14" fmla="*/ 21218 h 60483"/>
                <a:gd name="connsiteX15" fmla="*/ 92676 w 114625"/>
                <a:gd name="connsiteY15" fmla="*/ 14755 h 60483"/>
                <a:gd name="connsiteX16" fmla="*/ 90115 w 114625"/>
                <a:gd name="connsiteY16" fmla="*/ 9633 h 60483"/>
                <a:gd name="connsiteX17" fmla="*/ 82555 w 114625"/>
                <a:gd name="connsiteY17" fmla="*/ 9146 h 60483"/>
                <a:gd name="connsiteX18" fmla="*/ 78530 w 114625"/>
                <a:gd name="connsiteY18" fmla="*/ 14267 h 60483"/>
                <a:gd name="connsiteX19" fmla="*/ 67068 w 114625"/>
                <a:gd name="connsiteY19" fmla="*/ 18413 h 60483"/>
                <a:gd name="connsiteX20" fmla="*/ 64995 w 114625"/>
                <a:gd name="connsiteY20" fmla="*/ 5731 h 60483"/>
                <a:gd name="connsiteX21" fmla="*/ 71824 w 114625"/>
                <a:gd name="connsiteY21" fmla="*/ 2683 h 60483"/>
                <a:gd name="connsiteX22" fmla="*/ 71336 w 114625"/>
                <a:gd name="connsiteY22" fmla="*/ 976 h 60483"/>
                <a:gd name="connsiteX23" fmla="*/ 63044 w 114625"/>
                <a:gd name="connsiteY23" fmla="*/ 0 h 60483"/>
                <a:gd name="connsiteX24" fmla="*/ 60239 w 114625"/>
                <a:gd name="connsiteY24" fmla="*/ 7317 h 60483"/>
                <a:gd name="connsiteX25" fmla="*/ 59386 w 114625"/>
                <a:gd name="connsiteY25" fmla="*/ 7317 h 60483"/>
                <a:gd name="connsiteX26" fmla="*/ 63654 w 114625"/>
                <a:gd name="connsiteY26" fmla="*/ 22315 h 60483"/>
                <a:gd name="connsiteX27" fmla="*/ 49021 w 114625"/>
                <a:gd name="connsiteY27" fmla="*/ 11341 h 60483"/>
                <a:gd name="connsiteX28" fmla="*/ 44143 w 114625"/>
                <a:gd name="connsiteY28" fmla="*/ 7560 h 60483"/>
                <a:gd name="connsiteX29" fmla="*/ 37070 w 114625"/>
                <a:gd name="connsiteY29" fmla="*/ 8414 h 60483"/>
                <a:gd name="connsiteX30" fmla="*/ 34510 w 114625"/>
                <a:gd name="connsiteY30" fmla="*/ 10487 h 60483"/>
                <a:gd name="connsiteX31" fmla="*/ 35851 w 114625"/>
                <a:gd name="connsiteY31" fmla="*/ 12682 h 60483"/>
                <a:gd name="connsiteX32" fmla="*/ 31339 w 114625"/>
                <a:gd name="connsiteY32" fmla="*/ 18535 h 60483"/>
                <a:gd name="connsiteX33" fmla="*/ 33046 w 114625"/>
                <a:gd name="connsiteY33" fmla="*/ 26096 h 60483"/>
                <a:gd name="connsiteX34" fmla="*/ 18170 w 114625"/>
                <a:gd name="connsiteY34" fmla="*/ 27315 h 60483"/>
                <a:gd name="connsiteX35" fmla="*/ 16828 w 114625"/>
                <a:gd name="connsiteY35" fmla="*/ 38412 h 60483"/>
                <a:gd name="connsiteX36" fmla="*/ 13779 w 114625"/>
                <a:gd name="connsiteY36" fmla="*/ 40241 h 60483"/>
                <a:gd name="connsiteX37" fmla="*/ 18170 w 114625"/>
                <a:gd name="connsiteY37" fmla="*/ 45972 h 60483"/>
                <a:gd name="connsiteX38" fmla="*/ 0 w 114625"/>
                <a:gd name="connsiteY38" fmla="*/ 53898 h 6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14625" h="60483">
                  <a:moveTo>
                    <a:pt x="0" y="53898"/>
                  </a:moveTo>
                  <a:lnTo>
                    <a:pt x="0" y="55483"/>
                  </a:lnTo>
                  <a:lnTo>
                    <a:pt x="9146" y="60483"/>
                  </a:lnTo>
                  <a:lnTo>
                    <a:pt x="18413" y="54752"/>
                  </a:lnTo>
                  <a:lnTo>
                    <a:pt x="38656" y="51581"/>
                  </a:lnTo>
                  <a:lnTo>
                    <a:pt x="51459" y="48533"/>
                  </a:lnTo>
                  <a:lnTo>
                    <a:pt x="51459" y="48533"/>
                  </a:lnTo>
                  <a:lnTo>
                    <a:pt x="64019" y="48533"/>
                  </a:lnTo>
                  <a:lnTo>
                    <a:pt x="67922" y="52435"/>
                  </a:lnTo>
                  <a:lnTo>
                    <a:pt x="78652" y="49142"/>
                  </a:lnTo>
                  <a:lnTo>
                    <a:pt x="90969" y="49142"/>
                  </a:lnTo>
                  <a:lnTo>
                    <a:pt x="113650" y="39265"/>
                  </a:lnTo>
                  <a:lnTo>
                    <a:pt x="114625" y="32680"/>
                  </a:lnTo>
                  <a:lnTo>
                    <a:pt x="104992" y="26583"/>
                  </a:lnTo>
                  <a:lnTo>
                    <a:pt x="104992" y="21218"/>
                  </a:lnTo>
                  <a:lnTo>
                    <a:pt x="92676" y="14755"/>
                  </a:lnTo>
                  <a:lnTo>
                    <a:pt x="90115" y="9633"/>
                  </a:lnTo>
                  <a:lnTo>
                    <a:pt x="82555" y="9146"/>
                  </a:lnTo>
                  <a:lnTo>
                    <a:pt x="78530" y="14267"/>
                  </a:lnTo>
                  <a:lnTo>
                    <a:pt x="67068" y="18413"/>
                  </a:lnTo>
                  <a:lnTo>
                    <a:pt x="64995" y="5731"/>
                  </a:lnTo>
                  <a:lnTo>
                    <a:pt x="71824" y="2683"/>
                  </a:lnTo>
                  <a:lnTo>
                    <a:pt x="71336" y="976"/>
                  </a:lnTo>
                  <a:lnTo>
                    <a:pt x="63044" y="0"/>
                  </a:lnTo>
                  <a:lnTo>
                    <a:pt x="60239" y="7317"/>
                  </a:lnTo>
                  <a:lnTo>
                    <a:pt x="59386" y="7317"/>
                  </a:lnTo>
                  <a:lnTo>
                    <a:pt x="63654" y="22315"/>
                  </a:lnTo>
                  <a:lnTo>
                    <a:pt x="49021" y="11341"/>
                  </a:lnTo>
                  <a:lnTo>
                    <a:pt x="44143" y="7560"/>
                  </a:lnTo>
                  <a:lnTo>
                    <a:pt x="37070" y="8414"/>
                  </a:lnTo>
                  <a:lnTo>
                    <a:pt x="34510" y="10487"/>
                  </a:lnTo>
                  <a:lnTo>
                    <a:pt x="35851" y="12682"/>
                  </a:lnTo>
                  <a:lnTo>
                    <a:pt x="31339" y="18535"/>
                  </a:lnTo>
                  <a:lnTo>
                    <a:pt x="33046" y="26096"/>
                  </a:lnTo>
                  <a:lnTo>
                    <a:pt x="18170" y="27315"/>
                  </a:lnTo>
                  <a:lnTo>
                    <a:pt x="16828" y="38412"/>
                  </a:lnTo>
                  <a:lnTo>
                    <a:pt x="13779" y="40241"/>
                  </a:lnTo>
                  <a:lnTo>
                    <a:pt x="18170" y="45972"/>
                  </a:lnTo>
                  <a:lnTo>
                    <a:pt x="0" y="538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3" name="Freihandform: Form 822">
              <a:extLst>
                <a:ext uri="{FF2B5EF4-FFF2-40B4-BE49-F238E27FC236}">
                  <a16:creationId xmlns:a16="http://schemas.microsoft.com/office/drawing/2014/main" id="{2A6F58EA-68E8-4A97-92A0-A16C34EA1DF0}"/>
                </a:ext>
              </a:extLst>
            </p:cNvPr>
            <p:cNvSpPr/>
            <p:nvPr/>
          </p:nvSpPr>
          <p:spPr>
            <a:xfrm>
              <a:off x="6284304" y="1131278"/>
              <a:ext cx="127794" cy="61458"/>
            </a:xfrm>
            <a:custGeom>
              <a:avLst/>
              <a:gdLst>
                <a:gd name="connsiteX0" fmla="*/ 78530 w 127794"/>
                <a:gd name="connsiteY0" fmla="*/ 0 h 61458"/>
                <a:gd name="connsiteX1" fmla="*/ 51093 w 127794"/>
                <a:gd name="connsiteY1" fmla="*/ 1219 h 61458"/>
                <a:gd name="connsiteX2" fmla="*/ 32436 w 127794"/>
                <a:gd name="connsiteY2" fmla="*/ 5487 h 61458"/>
                <a:gd name="connsiteX3" fmla="*/ 32436 w 127794"/>
                <a:gd name="connsiteY3" fmla="*/ 5487 h 61458"/>
                <a:gd name="connsiteX4" fmla="*/ 25730 w 127794"/>
                <a:gd name="connsiteY4" fmla="*/ 4390 h 61458"/>
                <a:gd name="connsiteX5" fmla="*/ 18657 w 127794"/>
                <a:gd name="connsiteY5" fmla="*/ 8902 h 61458"/>
                <a:gd name="connsiteX6" fmla="*/ 17072 w 127794"/>
                <a:gd name="connsiteY6" fmla="*/ 18169 h 61458"/>
                <a:gd name="connsiteX7" fmla="*/ 5121 w 127794"/>
                <a:gd name="connsiteY7" fmla="*/ 19511 h 61458"/>
                <a:gd name="connsiteX8" fmla="*/ 1219 w 127794"/>
                <a:gd name="connsiteY8" fmla="*/ 25242 h 61458"/>
                <a:gd name="connsiteX9" fmla="*/ 0 w 127794"/>
                <a:gd name="connsiteY9" fmla="*/ 25974 h 61458"/>
                <a:gd name="connsiteX10" fmla="*/ 7316 w 127794"/>
                <a:gd name="connsiteY10" fmla="*/ 29510 h 61458"/>
                <a:gd name="connsiteX11" fmla="*/ 17803 w 127794"/>
                <a:gd name="connsiteY11" fmla="*/ 29510 h 61458"/>
                <a:gd name="connsiteX12" fmla="*/ 16096 w 127794"/>
                <a:gd name="connsiteY12" fmla="*/ 39753 h 61458"/>
                <a:gd name="connsiteX13" fmla="*/ 19510 w 127794"/>
                <a:gd name="connsiteY13" fmla="*/ 44631 h 61458"/>
                <a:gd name="connsiteX14" fmla="*/ 29753 w 127794"/>
                <a:gd name="connsiteY14" fmla="*/ 48533 h 61458"/>
                <a:gd name="connsiteX15" fmla="*/ 38167 w 127794"/>
                <a:gd name="connsiteY15" fmla="*/ 47923 h 61458"/>
                <a:gd name="connsiteX16" fmla="*/ 38167 w 127794"/>
                <a:gd name="connsiteY16" fmla="*/ 47923 h 61458"/>
                <a:gd name="connsiteX17" fmla="*/ 74872 w 127794"/>
                <a:gd name="connsiteY17" fmla="*/ 56215 h 61458"/>
                <a:gd name="connsiteX18" fmla="*/ 77555 w 127794"/>
                <a:gd name="connsiteY18" fmla="*/ 60971 h 61458"/>
                <a:gd name="connsiteX19" fmla="*/ 83286 w 127794"/>
                <a:gd name="connsiteY19" fmla="*/ 61459 h 61458"/>
                <a:gd name="connsiteX20" fmla="*/ 125234 w 127794"/>
                <a:gd name="connsiteY20" fmla="*/ 56215 h 61458"/>
                <a:gd name="connsiteX21" fmla="*/ 125234 w 127794"/>
                <a:gd name="connsiteY21" fmla="*/ 54508 h 61458"/>
                <a:gd name="connsiteX22" fmla="*/ 102553 w 127794"/>
                <a:gd name="connsiteY22" fmla="*/ 44753 h 61458"/>
                <a:gd name="connsiteX23" fmla="*/ 102553 w 127794"/>
                <a:gd name="connsiteY23" fmla="*/ 35363 h 61458"/>
                <a:gd name="connsiteX24" fmla="*/ 102553 w 127794"/>
                <a:gd name="connsiteY24" fmla="*/ 35363 h 61458"/>
                <a:gd name="connsiteX25" fmla="*/ 117064 w 127794"/>
                <a:gd name="connsiteY25" fmla="*/ 37436 h 61458"/>
                <a:gd name="connsiteX26" fmla="*/ 122795 w 127794"/>
                <a:gd name="connsiteY26" fmla="*/ 34997 h 61458"/>
                <a:gd name="connsiteX27" fmla="*/ 127795 w 127794"/>
                <a:gd name="connsiteY27" fmla="*/ 18291 h 61458"/>
                <a:gd name="connsiteX28" fmla="*/ 113649 w 127794"/>
                <a:gd name="connsiteY28" fmla="*/ 6585 h 61458"/>
                <a:gd name="connsiteX29" fmla="*/ 105235 w 127794"/>
                <a:gd name="connsiteY29" fmla="*/ 5609 h 61458"/>
                <a:gd name="connsiteX30" fmla="*/ 95724 w 127794"/>
                <a:gd name="connsiteY30" fmla="*/ 12682 h 61458"/>
                <a:gd name="connsiteX31" fmla="*/ 82554 w 127794"/>
                <a:gd name="connsiteY31" fmla="*/ 16218 h 61458"/>
                <a:gd name="connsiteX32" fmla="*/ 82554 w 127794"/>
                <a:gd name="connsiteY32" fmla="*/ 16218 h 61458"/>
                <a:gd name="connsiteX33" fmla="*/ 77555 w 127794"/>
                <a:gd name="connsiteY33" fmla="*/ 9755 h 61458"/>
                <a:gd name="connsiteX34" fmla="*/ 85237 w 127794"/>
                <a:gd name="connsiteY34" fmla="*/ 4146 h 61458"/>
                <a:gd name="connsiteX35" fmla="*/ 78530 w 127794"/>
                <a:gd name="connsiteY35" fmla="*/ 0 h 6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7794" h="61458">
                  <a:moveTo>
                    <a:pt x="78530" y="0"/>
                  </a:moveTo>
                  <a:lnTo>
                    <a:pt x="51093" y="1219"/>
                  </a:lnTo>
                  <a:lnTo>
                    <a:pt x="32436" y="5487"/>
                  </a:lnTo>
                  <a:lnTo>
                    <a:pt x="32436" y="5487"/>
                  </a:lnTo>
                  <a:lnTo>
                    <a:pt x="25730" y="4390"/>
                  </a:lnTo>
                  <a:lnTo>
                    <a:pt x="18657" y="8902"/>
                  </a:lnTo>
                  <a:lnTo>
                    <a:pt x="17072" y="18169"/>
                  </a:lnTo>
                  <a:lnTo>
                    <a:pt x="5121" y="19511"/>
                  </a:lnTo>
                  <a:lnTo>
                    <a:pt x="1219" y="25242"/>
                  </a:lnTo>
                  <a:lnTo>
                    <a:pt x="0" y="25974"/>
                  </a:lnTo>
                  <a:lnTo>
                    <a:pt x="7316" y="29510"/>
                  </a:lnTo>
                  <a:lnTo>
                    <a:pt x="17803" y="29510"/>
                  </a:lnTo>
                  <a:lnTo>
                    <a:pt x="16096" y="39753"/>
                  </a:lnTo>
                  <a:lnTo>
                    <a:pt x="19510" y="44631"/>
                  </a:lnTo>
                  <a:lnTo>
                    <a:pt x="29753" y="48533"/>
                  </a:lnTo>
                  <a:lnTo>
                    <a:pt x="38167" y="47923"/>
                  </a:lnTo>
                  <a:lnTo>
                    <a:pt x="38167" y="47923"/>
                  </a:lnTo>
                  <a:lnTo>
                    <a:pt x="74872" y="56215"/>
                  </a:lnTo>
                  <a:lnTo>
                    <a:pt x="77555" y="60971"/>
                  </a:lnTo>
                  <a:lnTo>
                    <a:pt x="83286" y="61459"/>
                  </a:lnTo>
                  <a:lnTo>
                    <a:pt x="125234" y="56215"/>
                  </a:lnTo>
                  <a:lnTo>
                    <a:pt x="125234" y="54508"/>
                  </a:lnTo>
                  <a:lnTo>
                    <a:pt x="102553" y="44753"/>
                  </a:lnTo>
                  <a:lnTo>
                    <a:pt x="102553" y="35363"/>
                  </a:lnTo>
                  <a:lnTo>
                    <a:pt x="102553" y="35363"/>
                  </a:lnTo>
                  <a:lnTo>
                    <a:pt x="117064" y="37436"/>
                  </a:lnTo>
                  <a:lnTo>
                    <a:pt x="122795" y="34997"/>
                  </a:lnTo>
                  <a:lnTo>
                    <a:pt x="127795" y="18291"/>
                  </a:lnTo>
                  <a:lnTo>
                    <a:pt x="113649" y="6585"/>
                  </a:lnTo>
                  <a:lnTo>
                    <a:pt x="105235" y="5609"/>
                  </a:lnTo>
                  <a:lnTo>
                    <a:pt x="95724" y="12682"/>
                  </a:lnTo>
                  <a:lnTo>
                    <a:pt x="82554" y="16218"/>
                  </a:lnTo>
                  <a:lnTo>
                    <a:pt x="82554" y="16218"/>
                  </a:lnTo>
                  <a:lnTo>
                    <a:pt x="77555" y="9755"/>
                  </a:lnTo>
                  <a:lnTo>
                    <a:pt x="85237" y="4146"/>
                  </a:lnTo>
                  <a:lnTo>
                    <a:pt x="78530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4" name="Freihandform: Form 823">
              <a:extLst>
                <a:ext uri="{FF2B5EF4-FFF2-40B4-BE49-F238E27FC236}">
                  <a16:creationId xmlns:a16="http://schemas.microsoft.com/office/drawing/2014/main" id="{2C407EAC-075C-49FE-83DF-649FF4B4B868}"/>
                </a:ext>
              </a:extLst>
            </p:cNvPr>
            <p:cNvSpPr/>
            <p:nvPr/>
          </p:nvSpPr>
          <p:spPr>
            <a:xfrm>
              <a:off x="7346171" y="1320654"/>
              <a:ext cx="85359" cy="27071"/>
            </a:xfrm>
            <a:custGeom>
              <a:avLst/>
              <a:gdLst>
                <a:gd name="connsiteX0" fmla="*/ 14145 w 85359"/>
                <a:gd name="connsiteY0" fmla="*/ 12804 h 27071"/>
                <a:gd name="connsiteX1" fmla="*/ 25486 w 85359"/>
                <a:gd name="connsiteY1" fmla="*/ 16950 h 27071"/>
                <a:gd name="connsiteX2" fmla="*/ 45972 w 85359"/>
                <a:gd name="connsiteY2" fmla="*/ 26461 h 27071"/>
                <a:gd name="connsiteX3" fmla="*/ 64141 w 85359"/>
                <a:gd name="connsiteY3" fmla="*/ 27071 h 27071"/>
                <a:gd name="connsiteX4" fmla="*/ 82920 w 85359"/>
                <a:gd name="connsiteY4" fmla="*/ 22193 h 27071"/>
                <a:gd name="connsiteX5" fmla="*/ 85359 w 85359"/>
                <a:gd name="connsiteY5" fmla="*/ 17682 h 27071"/>
                <a:gd name="connsiteX6" fmla="*/ 81457 w 85359"/>
                <a:gd name="connsiteY6" fmla="*/ 14145 h 27071"/>
                <a:gd name="connsiteX7" fmla="*/ 62190 w 85359"/>
                <a:gd name="connsiteY7" fmla="*/ 10121 h 27071"/>
                <a:gd name="connsiteX8" fmla="*/ 44874 w 85359"/>
                <a:gd name="connsiteY8" fmla="*/ 8414 h 27071"/>
                <a:gd name="connsiteX9" fmla="*/ 39265 w 85359"/>
                <a:gd name="connsiteY9" fmla="*/ 5243 h 27071"/>
                <a:gd name="connsiteX10" fmla="*/ 12926 w 85359"/>
                <a:gd name="connsiteY10" fmla="*/ 5243 h 27071"/>
                <a:gd name="connsiteX11" fmla="*/ 2317 w 85359"/>
                <a:gd name="connsiteY11" fmla="*/ 610 h 27071"/>
                <a:gd name="connsiteX12" fmla="*/ 0 w 85359"/>
                <a:gd name="connsiteY12" fmla="*/ 0 h 27071"/>
                <a:gd name="connsiteX13" fmla="*/ 12316 w 85359"/>
                <a:gd name="connsiteY13" fmla="*/ 6951 h 27071"/>
                <a:gd name="connsiteX14" fmla="*/ 14145 w 85359"/>
                <a:gd name="connsiteY14" fmla="*/ 12804 h 2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359" h="27071">
                  <a:moveTo>
                    <a:pt x="14145" y="12804"/>
                  </a:moveTo>
                  <a:lnTo>
                    <a:pt x="25486" y="16950"/>
                  </a:lnTo>
                  <a:lnTo>
                    <a:pt x="45972" y="26461"/>
                  </a:lnTo>
                  <a:lnTo>
                    <a:pt x="64141" y="27071"/>
                  </a:lnTo>
                  <a:lnTo>
                    <a:pt x="82920" y="22193"/>
                  </a:lnTo>
                  <a:lnTo>
                    <a:pt x="85359" y="17682"/>
                  </a:lnTo>
                  <a:lnTo>
                    <a:pt x="81457" y="14145"/>
                  </a:lnTo>
                  <a:lnTo>
                    <a:pt x="62190" y="10121"/>
                  </a:lnTo>
                  <a:lnTo>
                    <a:pt x="44874" y="8414"/>
                  </a:lnTo>
                  <a:lnTo>
                    <a:pt x="39265" y="5243"/>
                  </a:lnTo>
                  <a:lnTo>
                    <a:pt x="12926" y="5243"/>
                  </a:lnTo>
                  <a:lnTo>
                    <a:pt x="2317" y="610"/>
                  </a:lnTo>
                  <a:lnTo>
                    <a:pt x="0" y="0"/>
                  </a:lnTo>
                  <a:lnTo>
                    <a:pt x="12316" y="6951"/>
                  </a:lnTo>
                  <a:lnTo>
                    <a:pt x="14145" y="1280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5" name="Freihandform: Form 824">
              <a:extLst>
                <a:ext uri="{FF2B5EF4-FFF2-40B4-BE49-F238E27FC236}">
                  <a16:creationId xmlns:a16="http://schemas.microsoft.com/office/drawing/2014/main" id="{FC11049A-9880-407C-B2F0-CA6F5A6F410C}"/>
                </a:ext>
              </a:extLst>
            </p:cNvPr>
            <p:cNvSpPr/>
            <p:nvPr/>
          </p:nvSpPr>
          <p:spPr>
            <a:xfrm>
              <a:off x="6864014" y="3523651"/>
              <a:ext cx="3536" cy="2316"/>
            </a:xfrm>
            <a:custGeom>
              <a:avLst/>
              <a:gdLst>
                <a:gd name="connsiteX0" fmla="*/ 2805 w 3536"/>
                <a:gd name="connsiteY0" fmla="*/ 0 h 2316"/>
                <a:gd name="connsiteX1" fmla="*/ 732 w 3536"/>
                <a:gd name="connsiteY1" fmla="*/ 366 h 2316"/>
                <a:gd name="connsiteX2" fmla="*/ 0 w 3536"/>
                <a:gd name="connsiteY2" fmla="*/ 2317 h 2316"/>
                <a:gd name="connsiteX3" fmla="*/ 3536 w 3536"/>
                <a:gd name="connsiteY3" fmla="*/ 1219 h 2316"/>
                <a:gd name="connsiteX4" fmla="*/ 2805 w 3536"/>
                <a:gd name="connsiteY4" fmla="*/ 0 h 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6" h="2316">
                  <a:moveTo>
                    <a:pt x="2805" y="0"/>
                  </a:moveTo>
                  <a:lnTo>
                    <a:pt x="732" y="366"/>
                  </a:lnTo>
                  <a:lnTo>
                    <a:pt x="0" y="2317"/>
                  </a:lnTo>
                  <a:lnTo>
                    <a:pt x="3536" y="1219"/>
                  </a:lnTo>
                  <a:lnTo>
                    <a:pt x="280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6" name="Freihandform: Form 825">
              <a:extLst>
                <a:ext uri="{FF2B5EF4-FFF2-40B4-BE49-F238E27FC236}">
                  <a16:creationId xmlns:a16="http://schemas.microsoft.com/office/drawing/2014/main" id="{CA974506-D515-4750-8144-C5FDCC9F5F1C}"/>
                </a:ext>
              </a:extLst>
            </p:cNvPr>
            <p:cNvSpPr/>
            <p:nvPr/>
          </p:nvSpPr>
          <p:spPr>
            <a:xfrm>
              <a:off x="6870355" y="3530602"/>
              <a:ext cx="4877" cy="6828"/>
            </a:xfrm>
            <a:custGeom>
              <a:avLst/>
              <a:gdLst>
                <a:gd name="connsiteX0" fmla="*/ 0 w 4877"/>
                <a:gd name="connsiteY0" fmla="*/ 6829 h 6828"/>
                <a:gd name="connsiteX1" fmla="*/ 4512 w 4877"/>
                <a:gd name="connsiteY1" fmla="*/ 1585 h 6828"/>
                <a:gd name="connsiteX2" fmla="*/ 4878 w 4877"/>
                <a:gd name="connsiteY2" fmla="*/ 1219 h 6828"/>
                <a:gd name="connsiteX3" fmla="*/ 4146 w 4877"/>
                <a:gd name="connsiteY3" fmla="*/ 0 h 6828"/>
                <a:gd name="connsiteX4" fmla="*/ 1951 w 4877"/>
                <a:gd name="connsiteY4" fmla="*/ 4268 h 6828"/>
                <a:gd name="connsiteX5" fmla="*/ 0 w 4877"/>
                <a:gd name="connsiteY5" fmla="*/ 6829 h 6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7" h="6828">
                  <a:moveTo>
                    <a:pt x="0" y="6829"/>
                  </a:moveTo>
                  <a:lnTo>
                    <a:pt x="4512" y="1585"/>
                  </a:lnTo>
                  <a:lnTo>
                    <a:pt x="4878" y="1219"/>
                  </a:lnTo>
                  <a:lnTo>
                    <a:pt x="4146" y="0"/>
                  </a:lnTo>
                  <a:lnTo>
                    <a:pt x="1951" y="4268"/>
                  </a:lnTo>
                  <a:lnTo>
                    <a:pt x="0" y="682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7" name="Freihandform: Form 826">
              <a:extLst>
                <a:ext uri="{FF2B5EF4-FFF2-40B4-BE49-F238E27FC236}">
                  <a16:creationId xmlns:a16="http://schemas.microsoft.com/office/drawing/2014/main" id="{0718EE6B-EFB6-49ED-B84F-D294CD74E1AA}"/>
                </a:ext>
              </a:extLst>
            </p:cNvPr>
            <p:cNvSpPr/>
            <p:nvPr/>
          </p:nvSpPr>
          <p:spPr>
            <a:xfrm>
              <a:off x="6796580" y="3396832"/>
              <a:ext cx="117307" cy="141086"/>
            </a:xfrm>
            <a:custGeom>
              <a:avLst/>
              <a:gdLst>
                <a:gd name="connsiteX0" fmla="*/ 67312 w 117307"/>
                <a:gd name="connsiteY0" fmla="*/ 109991 h 141086"/>
                <a:gd name="connsiteX1" fmla="*/ 61581 w 117307"/>
                <a:gd name="connsiteY1" fmla="*/ 97553 h 141086"/>
                <a:gd name="connsiteX2" fmla="*/ 61581 w 117307"/>
                <a:gd name="connsiteY2" fmla="*/ 81579 h 141086"/>
                <a:gd name="connsiteX3" fmla="*/ 45972 w 117307"/>
                <a:gd name="connsiteY3" fmla="*/ 76092 h 141086"/>
                <a:gd name="connsiteX4" fmla="*/ 42192 w 117307"/>
                <a:gd name="connsiteY4" fmla="*/ 67068 h 141086"/>
                <a:gd name="connsiteX5" fmla="*/ 42192 w 117307"/>
                <a:gd name="connsiteY5" fmla="*/ 67068 h 141086"/>
                <a:gd name="connsiteX6" fmla="*/ 48045 w 117307"/>
                <a:gd name="connsiteY6" fmla="*/ 62678 h 141086"/>
                <a:gd name="connsiteX7" fmla="*/ 59142 w 117307"/>
                <a:gd name="connsiteY7" fmla="*/ 64629 h 141086"/>
                <a:gd name="connsiteX8" fmla="*/ 73165 w 117307"/>
                <a:gd name="connsiteY8" fmla="*/ 50606 h 141086"/>
                <a:gd name="connsiteX9" fmla="*/ 85603 w 117307"/>
                <a:gd name="connsiteY9" fmla="*/ 49630 h 141086"/>
                <a:gd name="connsiteX10" fmla="*/ 88286 w 117307"/>
                <a:gd name="connsiteY10" fmla="*/ 47313 h 141086"/>
                <a:gd name="connsiteX11" fmla="*/ 81213 w 117307"/>
                <a:gd name="connsiteY11" fmla="*/ 43533 h 141086"/>
                <a:gd name="connsiteX12" fmla="*/ 64141 w 117307"/>
                <a:gd name="connsiteY12" fmla="*/ 45240 h 141086"/>
                <a:gd name="connsiteX13" fmla="*/ 46948 w 117307"/>
                <a:gd name="connsiteY13" fmla="*/ 51581 h 141086"/>
                <a:gd name="connsiteX14" fmla="*/ 38412 w 117307"/>
                <a:gd name="connsiteY14" fmla="*/ 62312 h 141086"/>
                <a:gd name="connsiteX15" fmla="*/ 17925 w 117307"/>
                <a:gd name="connsiteY15" fmla="*/ 44021 h 141086"/>
                <a:gd name="connsiteX16" fmla="*/ 20120 w 117307"/>
                <a:gd name="connsiteY16" fmla="*/ 30851 h 141086"/>
                <a:gd name="connsiteX17" fmla="*/ 28656 w 117307"/>
                <a:gd name="connsiteY17" fmla="*/ 21218 h 141086"/>
                <a:gd name="connsiteX18" fmla="*/ 82311 w 117307"/>
                <a:gd name="connsiteY18" fmla="*/ 21340 h 141086"/>
                <a:gd name="connsiteX19" fmla="*/ 93895 w 117307"/>
                <a:gd name="connsiteY19" fmla="*/ 24876 h 141086"/>
                <a:gd name="connsiteX20" fmla="*/ 110235 w 117307"/>
                <a:gd name="connsiteY20" fmla="*/ 17925 h 141086"/>
                <a:gd name="connsiteX21" fmla="*/ 117308 w 117307"/>
                <a:gd name="connsiteY21" fmla="*/ 0 h 141086"/>
                <a:gd name="connsiteX22" fmla="*/ 112308 w 117307"/>
                <a:gd name="connsiteY22" fmla="*/ 0 h 141086"/>
                <a:gd name="connsiteX23" fmla="*/ 106821 w 117307"/>
                <a:gd name="connsiteY23" fmla="*/ 10975 h 141086"/>
                <a:gd name="connsiteX24" fmla="*/ 91212 w 117307"/>
                <a:gd name="connsiteY24" fmla="*/ 15121 h 141086"/>
                <a:gd name="connsiteX25" fmla="*/ 66093 w 117307"/>
                <a:gd name="connsiteY25" fmla="*/ 15974 h 141086"/>
                <a:gd name="connsiteX26" fmla="*/ 44265 w 117307"/>
                <a:gd name="connsiteY26" fmla="*/ 6585 h 141086"/>
                <a:gd name="connsiteX27" fmla="*/ 40241 w 117307"/>
                <a:gd name="connsiteY27" fmla="*/ 6585 h 141086"/>
                <a:gd name="connsiteX28" fmla="*/ 33534 w 117307"/>
                <a:gd name="connsiteY28" fmla="*/ 17194 h 141086"/>
                <a:gd name="connsiteX29" fmla="*/ 27071 w 117307"/>
                <a:gd name="connsiteY29" fmla="*/ 16096 h 141086"/>
                <a:gd name="connsiteX30" fmla="*/ 21950 w 117307"/>
                <a:gd name="connsiteY30" fmla="*/ 18291 h 141086"/>
                <a:gd name="connsiteX31" fmla="*/ 17316 w 117307"/>
                <a:gd name="connsiteY31" fmla="*/ 34753 h 141086"/>
                <a:gd name="connsiteX32" fmla="*/ 11707 w 117307"/>
                <a:gd name="connsiteY32" fmla="*/ 44996 h 141086"/>
                <a:gd name="connsiteX33" fmla="*/ 9146 w 117307"/>
                <a:gd name="connsiteY33" fmla="*/ 54752 h 141086"/>
                <a:gd name="connsiteX34" fmla="*/ 10975 w 117307"/>
                <a:gd name="connsiteY34" fmla="*/ 70970 h 141086"/>
                <a:gd name="connsiteX35" fmla="*/ 5610 w 117307"/>
                <a:gd name="connsiteY35" fmla="*/ 82798 h 141086"/>
                <a:gd name="connsiteX36" fmla="*/ 2195 w 117307"/>
                <a:gd name="connsiteY36" fmla="*/ 83652 h 141086"/>
                <a:gd name="connsiteX37" fmla="*/ 0 w 117307"/>
                <a:gd name="connsiteY37" fmla="*/ 97066 h 141086"/>
                <a:gd name="connsiteX38" fmla="*/ 9999 w 117307"/>
                <a:gd name="connsiteY38" fmla="*/ 97919 h 141086"/>
                <a:gd name="connsiteX39" fmla="*/ 15609 w 117307"/>
                <a:gd name="connsiteY39" fmla="*/ 105723 h 141086"/>
                <a:gd name="connsiteX40" fmla="*/ 17682 w 117307"/>
                <a:gd name="connsiteY40" fmla="*/ 124868 h 141086"/>
                <a:gd name="connsiteX41" fmla="*/ 10975 w 117307"/>
                <a:gd name="connsiteY41" fmla="*/ 138160 h 141086"/>
                <a:gd name="connsiteX42" fmla="*/ 10975 w 117307"/>
                <a:gd name="connsiteY42" fmla="*/ 141087 h 141086"/>
                <a:gd name="connsiteX43" fmla="*/ 16706 w 117307"/>
                <a:gd name="connsiteY43" fmla="*/ 140477 h 141086"/>
                <a:gd name="connsiteX44" fmla="*/ 21828 w 117307"/>
                <a:gd name="connsiteY44" fmla="*/ 125966 h 141086"/>
                <a:gd name="connsiteX45" fmla="*/ 23657 w 117307"/>
                <a:gd name="connsiteY45" fmla="*/ 95846 h 141086"/>
                <a:gd name="connsiteX46" fmla="*/ 18291 w 117307"/>
                <a:gd name="connsiteY46" fmla="*/ 89383 h 141086"/>
                <a:gd name="connsiteX47" fmla="*/ 18291 w 117307"/>
                <a:gd name="connsiteY47" fmla="*/ 89383 h 141086"/>
                <a:gd name="connsiteX48" fmla="*/ 24145 w 117307"/>
                <a:gd name="connsiteY48" fmla="*/ 83530 h 141086"/>
                <a:gd name="connsiteX49" fmla="*/ 29998 w 117307"/>
                <a:gd name="connsiteY49" fmla="*/ 84384 h 141086"/>
                <a:gd name="connsiteX50" fmla="*/ 32071 w 117307"/>
                <a:gd name="connsiteY50" fmla="*/ 76945 h 141086"/>
                <a:gd name="connsiteX51" fmla="*/ 44143 w 117307"/>
                <a:gd name="connsiteY51" fmla="*/ 83530 h 141086"/>
                <a:gd name="connsiteX52" fmla="*/ 44143 w 117307"/>
                <a:gd name="connsiteY52" fmla="*/ 83530 h 141086"/>
                <a:gd name="connsiteX53" fmla="*/ 43167 w 117307"/>
                <a:gd name="connsiteY53" fmla="*/ 102919 h 141086"/>
                <a:gd name="connsiteX54" fmla="*/ 53654 w 117307"/>
                <a:gd name="connsiteY54" fmla="*/ 114381 h 141086"/>
                <a:gd name="connsiteX55" fmla="*/ 51825 w 117307"/>
                <a:gd name="connsiteY55" fmla="*/ 126575 h 141086"/>
                <a:gd name="connsiteX56" fmla="*/ 56581 w 117307"/>
                <a:gd name="connsiteY56" fmla="*/ 127673 h 141086"/>
                <a:gd name="connsiteX57" fmla="*/ 61093 w 117307"/>
                <a:gd name="connsiteY57" fmla="*/ 114016 h 141086"/>
                <a:gd name="connsiteX58" fmla="*/ 67800 w 117307"/>
                <a:gd name="connsiteY58" fmla="*/ 113162 h 141086"/>
                <a:gd name="connsiteX59" fmla="*/ 67312 w 117307"/>
                <a:gd name="connsiteY59" fmla="*/ 109991 h 14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17307" h="141086">
                  <a:moveTo>
                    <a:pt x="67312" y="109991"/>
                  </a:moveTo>
                  <a:lnTo>
                    <a:pt x="61581" y="97553"/>
                  </a:lnTo>
                  <a:lnTo>
                    <a:pt x="61581" y="81579"/>
                  </a:lnTo>
                  <a:lnTo>
                    <a:pt x="45972" y="76092"/>
                  </a:lnTo>
                  <a:lnTo>
                    <a:pt x="42192" y="67068"/>
                  </a:lnTo>
                  <a:lnTo>
                    <a:pt x="42192" y="67068"/>
                  </a:lnTo>
                  <a:lnTo>
                    <a:pt x="48045" y="62678"/>
                  </a:lnTo>
                  <a:lnTo>
                    <a:pt x="59142" y="64629"/>
                  </a:lnTo>
                  <a:lnTo>
                    <a:pt x="73165" y="50606"/>
                  </a:lnTo>
                  <a:lnTo>
                    <a:pt x="85603" y="49630"/>
                  </a:lnTo>
                  <a:lnTo>
                    <a:pt x="88286" y="47313"/>
                  </a:lnTo>
                  <a:lnTo>
                    <a:pt x="81213" y="43533"/>
                  </a:lnTo>
                  <a:lnTo>
                    <a:pt x="64141" y="45240"/>
                  </a:lnTo>
                  <a:lnTo>
                    <a:pt x="46948" y="51581"/>
                  </a:lnTo>
                  <a:lnTo>
                    <a:pt x="38412" y="62312"/>
                  </a:lnTo>
                  <a:lnTo>
                    <a:pt x="17925" y="44021"/>
                  </a:lnTo>
                  <a:lnTo>
                    <a:pt x="20120" y="30851"/>
                  </a:lnTo>
                  <a:lnTo>
                    <a:pt x="28656" y="21218"/>
                  </a:lnTo>
                  <a:lnTo>
                    <a:pt x="82311" y="21340"/>
                  </a:lnTo>
                  <a:lnTo>
                    <a:pt x="93895" y="24876"/>
                  </a:lnTo>
                  <a:lnTo>
                    <a:pt x="110235" y="17925"/>
                  </a:lnTo>
                  <a:lnTo>
                    <a:pt x="117308" y="0"/>
                  </a:lnTo>
                  <a:lnTo>
                    <a:pt x="112308" y="0"/>
                  </a:lnTo>
                  <a:lnTo>
                    <a:pt x="106821" y="10975"/>
                  </a:lnTo>
                  <a:lnTo>
                    <a:pt x="91212" y="15121"/>
                  </a:lnTo>
                  <a:lnTo>
                    <a:pt x="66093" y="15974"/>
                  </a:lnTo>
                  <a:lnTo>
                    <a:pt x="44265" y="6585"/>
                  </a:lnTo>
                  <a:lnTo>
                    <a:pt x="40241" y="6585"/>
                  </a:lnTo>
                  <a:lnTo>
                    <a:pt x="33534" y="17194"/>
                  </a:lnTo>
                  <a:lnTo>
                    <a:pt x="27071" y="16096"/>
                  </a:lnTo>
                  <a:lnTo>
                    <a:pt x="21950" y="18291"/>
                  </a:lnTo>
                  <a:lnTo>
                    <a:pt x="17316" y="34753"/>
                  </a:lnTo>
                  <a:lnTo>
                    <a:pt x="11707" y="44996"/>
                  </a:lnTo>
                  <a:lnTo>
                    <a:pt x="9146" y="54752"/>
                  </a:lnTo>
                  <a:lnTo>
                    <a:pt x="10975" y="70970"/>
                  </a:lnTo>
                  <a:lnTo>
                    <a:pt x="5610" y="82798"/>
                  </a:lnTo>
                  <a:lnTo>
                    <a:pt x="2195" y="83652"/>
                  </a:lnTo>
                  <a:lnTo>
                    <a:pt x="0" y="97066"/>
                  </a:lnTo>
                  <a:lnTo>
                    <a:pt x="9999" y="97919"/>
                  </a:lnTo>
                  <a:lnTo>
                    <a:pt x="15609" y="105723"/>
                  </a:lnTo>
                  <a:lnTo>
                    <a:pt x="17682" y="124868"/>
                  </a:lnTo>
                  <a:lnTo>
                    <a:pt x="10975" y="138160"/>
                  </a:lnTo>
                  <a:lnTo>
                    <a:pt x="10975" y="141087"/>
                  </a:lnTo>
                  <a:lnTo>
                    <a:pt x="16706" y="140477"/>
                  </a:lnTo>
                  <a:lnTo>
                    <a:pt x="21828" y="125966"/>
                  </a:lnTo>
                  <a:lnTo>
                    <a:pt x="23657" y="95846"/>
                  </a:lnTo>
                  <a:lnTo>
                    <a:pt x="18291" y="89383"/>
                  </a:lnTo>
                  <a:lnTo>
                    <a:pt x="18291" y="89383"/>
                  </a:lnTo>
                  <a:lnTo>
                    <a:pt x="24145" y="83530"/>
                  </a:lnTo>
                  <a:lnTo>
                    <a:pt x="29998" y="84384"/>
                  </a:lnTo>
                  <a:lnTo>
                    <a:pt x="32071" y="76945"/>
                  </a:lnTo>
                  <a:lnTo>
                    <a:pt x="44143" y="83530"/>
                  </a:lnTo>
                  <a:lnTo>
                    <a:pt x="44143" y="83530"/>
                  </a:lnTo>
                  <a:lnTo>
                    <a:pt x="43167" y="102919"/>
                  </a:lnTo>
                  <a:lnTo>
                    <a:pt x="53654" y="114381"/>
                  </a:lnTo>
                  <a:lnTo>
                    <a:pt x="51825" y="126575"/>
                  </a:lnTo>
                  <a:lnTo>
                    <a:pt x="56581" y="127673"/>
                  </a:lnTo>
                  <a:lnTo>
                    <a:pt x="61093" y="114016"/>
                  </a:lnTo>
                  <a:lnTo>
                    <a:pt x="67800" y="113162"/>
                  </a:lnTo>
                  <a:lnTo>
                    <a:pt x="67312" y="10999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8" name="Freihandform: Form 827">
              <a:extLst>
                <a:ext uri="{FF2B5EF4-FFF2-40B4-BE49-F238E27FC236}">
                  <a16:creationId xmlns:a16="http://schemas.microsoft.com/office/drawing/2014/main" id="{D9EE2C2D-0D80-452B-A21E-968330125B4F}"/>
                </a:ext>
              </a:extLst>
            </p:cNvPr>
            <p:cNvSpPr/>
            <p:nvPr/>
          </p:nvSpPr>
          <p:spPr>
            <a:xfrm>
              <a:off x="6593913" y="3024422"/>
              <a:ext cx="41825" cy="35362"/>
            </a:xfrm>
            <a:custGeom>
              <a:avLst/>
              <a:gdLst>
                <a:gd name="connsiteX0" fmla="*/ 21706 w 41825"/>
                <a:gd name="connsiteY0" fmla="*/ 34144 h 35362"/>
                <a:gd name="connsiteX1" fmla="*/ 31461 w 41825"/>
                <a:gd name="connsiteY1" fmla="*/ 25120 h 35362"/>
                <a:gd name="connsiteX2" fmla="*/ 37070 w 41825"/>
                <a:gd name="connsiteY2" fmla="*/ 8902 h 35362"/>
                <a:gd name="connsiteX3" fmla="*/ 41826 w 41825"/>
                <a:gd name="connsiteY3" fmla="*/ 3658 h 35362"/>
                <a:gd name="connsiteX4" fmla="*/ 33656 w 41825"/>
                <a:gd name="connsiteY4" fmla="*/ 0 h 35362"/>
                <a:gd name="connsiteX5" fmla="*/ 27437 w 41825"/>
                <a:gd name="connsiteY5" fmla="*/ 732 h 35362"/>
                <a:gd name="connsiteX6" fmla="*/ 14023 w 41825"/>
                <a:gd name="connsiteY6" fmla="*/ 5853 h 35362"/>
                <a:gd name="connsiteX7" fmla="*/ 10365 w 41825"/>
                <a:gd name="connsiteY7" fmla="*/ 4024 h 35362"/>
                <a:gd name="connsiteX8" fmla="*/ 0 w 41825"/>
                <a:gd name="connsiteY8" fmla="*/ 14999 h 35362"/>
                <a:gd name="connsiteX9" fmla="*/ 0 w 41825"/>
                <a:gd name="connsiteY9" fmla="*/ 29266 h 35362"/>
                <a:gd name="connsiteX10" fmla="*/ 10365 w 41825"/>
                <a:gd name="connsiteY10" fmla="*/ 35363 h 35362"/>
                <a:gd name="connsiteX11" fmla="*/ 21706 w 41825"/>
                <a:gd name="connsiteY11" fmla="*/ 34144 h 3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825" h="35362">
                  <a:moveTo>
                    <a:pt x="21706" y="34144"/>
                  </a:moveTo>
                  <a:lnTo>
                    <a:pt x="31461" y="25120"/>
                  </a:lnTo>
                  <a:lnTo>
                    <a:pt x="37070" y="8902"/>
                  </a:lnTo>
                  <a:lnTo>
                    <a:pt x="41826" y="3658"/>
                  </a:lnTo>
                  <a:lnTo>
                    <a:pt x="33656" y="0"/>
                  </a:lnTo>
                  <a:lnTo>
                    <a:pt x="27437" y="732"/>
                  </a:lnTo>
                  <a:lnTo>
                    <a:pt x="14023" y="5853"/>
                  </a:lnTo>
                  <a:lnTo>
                    <a:pt x="10365" y="4024"/>
                  </a:lnTo>
                  <a:lnTo>
                    <a:pt x="0" y="14999"/>
                  </a:lnTo>
                  <a:lnTo>
                    <a:pt x="0" y="29266"/>
                  </a:lnTo>
                  <a:lnTo>
                    <a:pt x="10365" y="35363"/>
                  </a:lnTo>
                  <a:lnTo>
                    <a:pt x="21706" y="341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29" name="Freihandform: Form 828">
              <a:extLst>
                <a:ext uri="{FF2B5EF4-FFF2-40B4-BE49-F238E27FC236}">
                  <a16:creationId xmlns:a16="http://schemas.microsoft.com/office/drawing/2014/main" id="{E626C07A-BFAA-42EB-87BB-799C1D7073E1}"/>
                </a:ext>
              </a:extLst>
            </p:cNvPr>
            <p:cNvSpPr/>
            <p:nvPr/>
          </p:nvSpPr>
          <p:spPr>
            <a:xfrm>
              <a:off x="6373687" y="3019666"/>
              <a:ext cx="146817" cy="297171"/>
            </a:xfrm>
            <a:custGeom>
              <a:avLst/>
              <a:gdLst>
                <a:gd name="connsiteX0" fmla="*/ 13048 w 146817"/>
                <a:gd name="connsiteY0" fmla="*/ 252175 h 297171"/>
                <a:gd name="connsiteX1" fmla="*/ 20730 w 146817"/>
                <a:gd name="connsiteY1" fmla="*/ 253029 h 297171"/>
                <a:gd name="connsiteX2" fmla="*/ 32559 w 146817"/>
                <a:gd name="connsiteY2" fmla="*/ 270710 h 297171"/>
                <a:gd name="connsiteX3" fmla="*/ 44387 w 146817"/>
                <a:gd name="connsiteY3" fmla="*/ 284124 h 297171"/>
                <a:gd name="connsiteX4" fmla="*/ 46826 w 146817"/>
                <a:gd name="connsiteY4" fmla="*/ 283636 h 297171"/>
                <a:gd name="connsiteX5" fmla="*/ 54386 w 146817"/>
                <a:gd name="connsiteY5" fmla="*/ 282417 h 297171"/>
                <a:gd name="connsiteX6" fmla="*/ 58166 w 146817"/>
                <a:gd name="connsiteY6" fmla="*/ 281807 h 297171"/>
                <a:gd name="connsiteX7" fmla="*/ 60361 w 146817"/>
                <a:gd name="connsiteY7" fmla="*/ 284856 h 297171"/>
                <a:gd name="connsiteX8" fmla="*/ 61946 w 146817"/>
                <a:gd name="connsiteY8" fmla="*/ 287051 h 297171"/>
                <a:gd name="connsiteX9" fmla="*/ 66458 w 146817"/>
                <a:gd name="connsiteY9" fmla="*/ 293270 h 297171"/>
                <a:gd name="connsiteX10" fmla="*/ 76823 w 146817"/>
                <a:gd name="connsiteY10" fmla="*/ 297172 h 297171"/>
                <a:gd name="connsiteX11" fmla="*/ 86579 w 146817"/>
                <a:gd name="connsiteY11" fmla="*/ 296196 h 297171"/>
                <a:gd name="connsiteX12" fmla="*/ 84384 w 146817"/>
                <a:gd name="connsiteY12" fmla="*/ 294489 h 297171"/>
                <a:gd name="connsiteX13" fmla="*/ 78043 w 146817"/>
                <a:gd name="connsiteY13" fmla="*/ 288636 h 297171"/>
                <a:gd name="connsiteX14" fmla="*/ 71214 w 146817"/>
                <a:gd name="connsiteY14" fmla="*/ 282295 h 297171"/>
                <a:gd name="connsiteX15" fmla="*/ 58776 w 146817"/>
                <a:gd name="connsiteY15" fmla="*/ 276564 h 297171"/>
                <a:gd name="connsiteX16" fmla="*/ 45972 w 146817"/>
                <a:gd name="connsiteY16" fmla="*/ 260711 h 297171"/>
                <a:gd name="connsiteX17" fmla="*/ 38656 w 146817"/>
                <a:gd name="connsiteY17" fmla="*/ 237786 h 297171"/>
                <a:gd name="connsiteX18" fmla="*/ 29144 w 146817"/>
                <a:gd name="connsiteY18" fmla="*/ 234982 h 297171"/>
                <a:gd name="connsiteX19" fmla="*/ 22925 w 146817"/>
                <a:gd name="connsiteY19" fmla="*/ 215349 h 297171"/>
                <a:gd name="connsiteX20" fmla="*/ 28900 w 146817"/>
                <a:gd name="connsiteY20" fmla="*/ 188887 h 297171"/>
                <a:gd name="connsiteX21" fmla="*/ 41094 w 146817"/>
                <a:gd name="connsiteY21" fmla="*/ 172060 h 297171"/>
                <a:gd name="connsiteX22" fmla="*/ 41948 w 146817"/>
                <a:gd name="connsiteY22" fmla="*/ 151817 h 297171"/>
                <a:gd name="connsiteX23" fmla="*/ 52923 w 146817"/>
                <a:gd name="connsiteY23" fmla="*/ 143159 h 297171"/>
                <a:gd name="connsiteX24" fmla="*/ 63531 w 146817"/>
                <a:gd name="connsiteY24" fmla="*/ 144379 h 297171"/>
                <a:gd name="connsiteX25" fmla="*/ 65117 w 146817"/>
                <a:gd name="connsiteY25" fmla="*/ 148525 h 297171"/>
                <a:gd name="connsiteX26" fmla="*/ 69385 w 146817"/>
                <a:gd name="connsiteY26" fmla="*/ 159743 h 297171"/>
                <a:gd name="connsiteX27" fmla="*/ 84750 w 146817"/>
                <a:gd name="connsiteY27" fmla="*/ 164255 h 297171"/>
                <a:gd name="connsiteX28" fmla="*/ 87798 w 146817"/>
                <a:gd name="connsiteY28" fmla="*/ 166328 h 297171"/>
                <a:gd name="connsiteX29" fmla="*/ 90115 w 146817"/>
                <a:gd name="connsiteY29" fmla="*/ 168036 h 297171"/>
                <a:gd name="connsiteX30" fmla="*/ 92676 w 146817"/>
                <a:gd name="connsiteY30" fmla="*/ 155597 h 297171"/>
                <a:gd name="connsiteX31" fmla="*/ 91944 w 146817"/>
                <a:gd name="connsiteY31" fmla="*/ 155110 h 297171"/>
                <a:gd name="connsiteX32" fmla="*/ 88042 w 146817"/>
                <a:gd name="connsiteY32" fmla="*/ 152061 h 297171"/>
                <a:gd name="connsiteX33" fmla="*/ 85237 w 146817"/>
                <a:gd name="connsiteY33" fmla="*/ 149988 h 297171"/>
                <a:gd name="connsiteX34" fmla="*/ 85603 w 146817"/>
                <a:gd name="connsiteY34" fmla="*/ 146574 h 297171"/>
                <a:gd name="connsiteX35" fmla="*/ 86334 w 146817"/>
                <a:gd name="connsiteY35" fmla="*/ 139135 h 297171"/>
                <a:gd name="connsiteX36" fmla="*/ 86579 w 146817"/>
                <a:gd name="connsiteY36" fmla="*/ 136819 h 297171"/>
                <a:gd name="connsiteX37" fmla="*/ 88408 w 146817"/>
                <a:gd name="connsiteY37" fmla="*/ 135233 h 297171"/>
                <a:gd name="connsiteX38" fmla="*/ 92797 w 146817"/>
                <a:gd name="connsiteY38" fmla="*/ 131453 h 297171"/>
                <a:gd name="connsiteX39" fmla="*/ 94505 w 146817"/>
                <a:gd name="connsiteY39" fmla="*/ 129868 h 297171"/>
                <a:gd name="connsiteX40" fmla="*/ 97675 w 146817"/>
                <a:gd name="connsiteY40" fmla="*/ 120600 h 297171"/>
                <a:gd name="connsiteX41" fmla="*/ 98651 w 146817"/>
                <a:gd name="connsiteY41" fmla="*/ 117552 h 297171"/>
                <a:gd name="connsiteX42" fmla="*/ 101699 w 146817"/>
                <a:gd name="connsiteY42" fmla="*/ 116698 h 297171"/>
                <a:gd name="connsiteX43" fmla="*/ 113284 w 146817"/>
                <a:gd name="connsiteY43" fmla="*/ 113284 h 297171"/>
                <a:gd name="connsiteX44" fmla="*/ 114991 w 146817"/>
                <a:gd name="connsiteY44" fmla="*/ 112918 h 297171"/>
                <a:gd name="connsiteX45" fmla="*/ 116698 w 146817"/>
                <a:gd name="connsiteY45" fmla="*/ 113406 h 297171"/>
                <a:gd name="connsiteX46" fmla="*/ 140599 w 146817"/>
                <a:gd name="connsiteY46" fmla="*/ 120600 h 297171"/>
                <a:gd name="connsiteX47" fmla="*/ 146818 w 146817"/>
                <a:gd name="connsiteY47" fmla="*/ 99017 h 297171"/>
                <a:gd name="connsiteX48" fmla="*/ 144501 w 146817"/>
                <a:gd name="connsiteY48" fmla="*/ 89505 h 297171"/>
                <a:gd name="connsiteX49" fmla="*/ 128770 w 146817"/>
                <a:gd name="connsiteY49" fmla="*/ 69994 h 297171"/>
                <a:gd name="connsiteX50" fmla="*/ 126331 w 146817"/>
                <a:gd name="connsiteY50" fmla="*/ 66946 h 297171"/>
                <a:gd name="connsiteX51" fmla="*/ 125478 w 146817"/>
                <a:gd name="connsiteY51" fmla="*/ 65848 h 297171"/>
                <a:gd name="connsiteX52" fmla="*/ 125234 w 146817"/>
                <a:gd name="connsiteY52" fmla="*/ 64507 h 297171"/>
                <a:gd name="connsiteX53" fmla="*/ 124502 w 146817"/>
                <a:gd name="connsiteY53" fmla="*/ 61702 h 297171"/>
                <a:gd name="connsiteX54" fmla="*/ 120234 w 146817"/>
                <a:gd name="connsiteY54" fmla="*/ 43899 h 297171"/>
                <a:gd name="connsiteX55" fmla="*/ 117308 w 146817"/>
                <a:gd name="connsiteY55" fmla="*/ 43411 h 297171"/>
                <a:gd name="connsiteX56" fmla="*/ 114381 w 146817"/>
                <a:gd name="connsiteY56" fmla="*/ 42801 h 297171"/>
                <a:gd name="connsiteX57" fmla="*/ 110723 w 146817"/>
                <a:gd name="connsiteY57" fmla="*/ 46582 h 297171"/>
                <a:gd name="connsiteX58" fmla="*/ 107065 w 146817"/>
                <a:gd name="connsiteY58" fmla="*/ 50240 h 297171"/>
                <a:gd name="connsiteX59" fmla="*/ 105236 w 146817"/>
                <a:gd name="connsiteY59" fmla="*/ 51947 h 297171"/>
                <a:gd name="connsiteX60" fmla="*/ 92554 w 146817"/>
                <a:gd name="connsiteY60" fmla="*/ 51947 h 297171"/>
                <a:gd name="connsiteX61" fmla="*/ 90725 w 146817"/>
                <a:gd name="connsiteY61" fmla="*/ 50240 h 297171"/>
                <a:gd name="connsiteX62" fmla="*/ 87676 w 146817"/>
                <a:gd name="connsiteY62" fmla="*/ 47191 h 297171"/>
                <a:gd name="connsiteX63" fmla="*/ 85969 w 146817"/>
                <a:gd name="connsiteY63" fmla="*/ 45362 h 297171"/>
                <a:gd name="connsiteX64" fmla="*/ 78774 w 146817"/>
                <a:gd name="connsiteY64" fmla="*/ 45362 h 297171"/>
                <a:gd name="connsiteX65" fmla="*/ 67434 w 146817"/>
                <a:gd name="connsiteY65" fmla="*/ 56825 h 297171"/>
                <a:gd name="connsiteX66" fmla="*/ 62800 w 146817"/>
                <a:gd name="connsiteY66" fmla="*/ 61459 h 297171"/>
                <a:gd name="connsiteX67" fmla="*/ 58532 w 146817"/>
                <a:gd name="connsiteY67" fmla="*/ 56459 h 297171"/>
                <a:gd name="connsiteX68" fmla="*/ 56337 w 146817"/>
                <a:gd name="connsiteY68" fmla="*/ 54020 h 297171"/>
                <a:gd name="connsiteX69" fmla="*/ 54142 w 146817"/>
                <a:gd name="connsiteY69" fmla="*/ 51459 h 297171"/>
                <a:gd name="connsiteX70" fmla="*/ 51947 w 146817"/>
                <a:gd name="connsiteY70" fmla="*/ 49021 h 297171"/>
                <a:gd name="connsiteX71" fmla="*/ 52801 w 146817"/>
                <a:gd name="connsiteY71" fmla="*/ 45972 h 297171"/>
                <a:gd name="connsiteX72" fmla="*/ 54386 w 146817"/>
                <a:gd name="connsiteY72" fmla="*/ 39875 h 297171"/>
                <a:gd name="connsiteX73" fmla="*/ 57679 w 146817"/>
                <a:gd name="connsiteY73" fmla="*/ 19267 h 297171"/>
                <a:gd name="connsiteX74" fmla="*/ 48167 w 146817"/>
                <a:gd name="connsiteY74" fmla="*/ 15243 h 297171"/>
                <a:gd name="connsiteX75" fmla="*/ 45362 w 146817"/>
                <a:gd name="connsiteY75" fmla="*/ 14023 h 297171"/>
                <a:gd name="connsiteX76" fmla="*/ 44753 w 146817"/>
                <a:gd name="connsiteY76" fmla="*/ 10975 h 297171"/>
                <a:gd name="connsiteX77" fmla="*/ 42070 w 146817"/>
                <a:gd name="connsiteY77" fmla="*/ 0 h 297171"/>
                <a:gd name="connsiteX78" fmla="*/ 22559 w 146817"/>
                <a:gd name="connsiteY78" fmla="*/ 5000 h 297171"/>
                <a:gd name="connsiteX79" fmla="*/ 19023 w 146817"/>
                <a:gd name="connsiteY79" fmla="*/ 14999 h 297171"/>
                <a:gd name="connsiteX80" fmla="*/ 17682 w 146817"/>
                <a:gd name="connsiteY80" fmla="*/ 18657 h 297171"/>
                <a:gd name="connsiteX81" fmla="*/ 13779 w 146817"/>
                <a:gd name="connsiteY81" fmla="*/ 19023 h 297171"/>
                <a:gd name="connsiteX82" fmla="*/ 6585 w 146817"/>
                <a:gd name="connsiteY82" fmla="*/ 19754 h 297171"/>
                <a:gd name="connsiteX83" fmla="*/ 0 w 146817"/>
                <a:gd name="connsiteY83" fmla="*/ 23779 h 297171"/>
                <a:gd name="connsiteX84" fmla="*/ 1585 w 146817"/>
                <a:gd name="connsiteY84" fmla="*/ 45240 h 297171"/>
                <a:gd name="connsiteX85" fmla="*/ 14145 w 146817"/>
                <a:gd name="connsiteY85" fmla="*/ 56947 h 297171"/>
                <a:gd name="connsiteX86" fmla="*/ 15609 w 146817"/>
                <a:gd name="connsiteY86" fmla="*/ 58288 h 297171"/>
                <a:gd name="connsiteX87" fmla="*/ 15974 w 146817"/>
                <a:gd name="connsiteY87" fmla="*/ 60361 h 297171"/>
                <a:gd name="connsiteX88" fmla="*/ 20486 w 146817"/>
                <a:gd name="connsiteY88" fmla="*/ 89017 h 297171"/>
                <a:gd name="connsiteX89" fmla="*/ 20852 w 146817"/>
                <a:gd name="connsiteY89" fmla="*/ 91578 h 297171"/>
                <a:gd name="connsiteX90" fmla="*/ 19267 w 146817"/>
                <a:gd name="connsiteY90" fmla="*/ 93651 h 297171"/>
                <a:gd name="connsiteX91" fmla="*/ 12804 w 146817"/>
                <a:gd name="connsiteY91" fmla="*/ 102309 h 297171"/>
                <a:gd name="connsiteX92" fmla="*/ 27559 w 146817"/>
                <a:gd name="connsiteY92" fmla="*/ 132794 h 297171"/>
                <a:gd name="connsiteX93" fmla="*/ 28168 w 146817"/>
                <a:gd name="connsiteY93" fmla="*/ 134014 h 297171"/>
                <a:gd name="connsiteX94" fmla="*/ 28168 w 146817"/>
                <a:gd name="connsiteY94" fmla="*/ 135477 h 297171"/>
                <a:gd name="connsiteX95" fmla="*/ 28168 w 146817"/>
                <a:gd name="connsiteY95" fmla="*/ 164621 h 297171"/>
                <a:gd name="connsiteX96" fmla="*/ 26339 w 146817"/>
                <a:gd name="connsiteY96" fmla="*/ 184254 h 297171"/>
                <a:gd name="connsiteX97" fmla="*/ 26217 w 146817"/>
                <a:gd name="connsiteY97" fmla="*/ 184864 h 297171"/>
                <a:gd name="connsiteX98" fmla="*/ 26096 w 146817"/>
                <a:gd name="connsiteY98" fmla="*/ 185473 h 297171"/>
                <a:gd name="connsiteX99" fmla="*/ 22315 w 146817"/>
                <a:gd name="connsiteY99" fmla="*/ 197424 h 297171"/>
                <a:gd name="connsiteX100" fmla="*/ 22315 w 146817"/>
                <a:gd name="connsiteY100" fmla="*/ 197789 h 297171"/>
                <a:gd name="connsiteX101" fmla="*/ 22193 w 146817"/>
                <a:gd name="connsiteY101" fmla="*/ 198033 h 297171"/>
                <a:gd name="connsiteX102" fmla="*/ 20730 w 146817"/>
                <a:gd name="connsiteY102" fmla="*/ 201326 h 297171"/>
                <a:gd name="connsiteX103" fmla="*/ 14389 w 146817"/>
                <a:gd name="connsiteY103" fmla="*/ 215715 h 297171"/>
                <a:gd name="connsiteX104" fmla="*/ 14999 w 146817"/>
                <a:gd name="connsiteY104" fmla="*/ 222056 h 297171"/>
                <a:gd name="connsiteX105" fmla="*/ 12194 w 146817"/>
                <a:gd name="connsiteY105" fmla="*/ 233396 h 297171"/>
                <a:gd name="connsiteX106" fmla="*/ 13048 w 146817"/>
                <a:gd name="connsiteY106" fmla="*/ 252175 h 297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46817" h="297171">
                  <a:moveTo>
                    <a:pt x="13048" y="252175"/>
                  </a:moveTo>
                  <a:lnTo>
                    <a:pt x="20730" y="253029"/>
                  </a:lnTo>
                  <a:lnTo>
                    <a:pt x="32559" y="270710"/>
                  </a:lnTo>
                  <a:lnTo>
                    <a:pt x="44387" y="284124"/>
                  </a:lnTo>
                  <a:lnTo>
                    <a:pt x="46826" y="283636"/>
                  </a:lnTo>
                  <a:lnTo>
                    <a:pt x="54386" y="282417"/>
                  </a:lnTo>
                  <a:lnTo>
                    <a:pt x="58166" y="281807"/>
                  </a:lnTo>
                  <a:lnTo>
                    <a:pt x="60361" y="284856"/>
                  </a:lnTo>
                  <a:lnTo>
                    <a:pt x="61946" y="287051"/>
                  </a:lnTo>
                  <a:lnTo>
                    <a:pt x="66458" y="293270"/>
                  </a:lnTo>
                  <a:lnTo>
                    <a:pt x="76823" y="297172"/>
                  </a:lnTo>
                  <a:lnTo>
                    <a:pt x="86579" y="296196"/>
                  </a:lnTo>
                  <a:lnTo>
                    <a:pt x="84384" y="294489"/>
                  </a:lnTo>
                  <a:lnTo>
                    <a:pt x="78043" y="288636"/>
                  </a:lnTo>
                  <a:lnTo>
                    <a:pt x="71214" y="282295"/>
                  </a:lnTo>
                  <a:lnTo>
                    <a:pt x="58776" y="276564"/>
                  </a:lnTo>
                  <a:lnTo>
                    <a:pt x="45972" y="260711"/>
                  </a:lnTo>
                  <a:lnTo>
                    <a:pt x="38656" y="237786"/>
                  </a:lnTo>
                  <a:lnTo>
                    <a:pt x="29144" y="234982"/>
                  </a:lnTo>
                  <a:lnTo>
                    <a:pt x="22925" y="215349"/>
                  </a:lnTo>
                  <a:lnTo>
                    <a:pt x="28900" y="188887"/>
                  </a:lnTo>
                  <a:lnTo>
                    <a:pt x="41094" y="172060"/>
                  </a:lnTo>
                  <a:lnTo>
                    <a:pt x="41948" y="151817"/>
                  </a:lnTo>
                  <a:lnTo>
                    <a:pt x="52923" y="143159"/>
                  </a:lnTo>
                  <a:lnTo>
                    <a:pt x="63531" y="144379"/>
                  </a:lnTo>
                  <a:lnTo>
                    <a:pt x="65117" y="148525"/>
                  </a:lnTo>
                  <a:lnTo>
                    <a:pt x="69385" y="159743"/>
                  </a:lnTo>
                  <a:lnTo>
                    <a:pt x="84750" y="164255"/>
                  </a:lnTo>
                  <a:lnTo>
                    <a:pt x="87798" y="166328"/>
                  </a:lnTo>
                  <a:lnTo>
                    <a:pt x="90115" y="168036"/>
                  </a:lnTo>
                  <a:lnTo>
                    <a:pt x="92676" y="155597"/>
                  </a:lnTo>
                  <a:lnTo>
                    <a:pt x="91944" y="155110"/>
                  </a:lnTo>
                  <a:lnTo>
                    <a:pt x="88042" y="152061"/>
                  </a:lnTo>
                  <a:lnTo>
                    <a:pt x="85237" y="149988"/>
                  </a:lnTo>
                  <a:lnTo>
                    <a:pt x="85603" y="146574"/>
                  </a:lnTo>
                  <a:lnTo>
                    <a:pt x="86334" y="139135"/>
                  </a:lnTo>
                  <a:lnTo>
                    <a:pt x="86579" y="136819"/>
                  </a:lnTo>
                  <a:lnTo>
                    <a:pt x="88408" y="135233"/>
                  </a:lnTo>
                  <a:lnTo>
                    <a:pt x="92797" y="131453"/>
                  </a:lnTo>
                  <a:lnTo>
                    <a:pt x="94505" y="129868"/>
                  </a:lnTo>
                  <a:lnTo>
                    <a:pt x="97675" y="120600"/>
                  </a:lnTo>
                  <a:lnTo>
                    <a:pt x="98651" y="117552"/>
                  </a:lnTo>
                  <a:lnTo>
                    <a:pt x="101699" y="116698"/>
                  </a:lnTo>
                  <a:lnTo>
                    <a:pt x="113284" y="113284"/>
                  </a:lnTo>
                  <a:lnTo>
                    <a:pt x="114991" y="112918"/>
                  </a:lnTo>
                  <a:lnTo>
                    <a:pt x="116698" y="113406"/>
                  </a:lnTo>
                  <a:lnTo>
                    <a:pt x="140599" y="120600"/>
                  </a:lnTo>
                  <a:lnTo>
                    <a:pt x="146818" y="99017"/>
                  </a:lnTo>
                  <a:lnTo>
                    <a:pt x="144501" y="89505"/>
                  </a:lnTo>
                  <a:lnTo>
                    <a:pt x="128770" y="69994"/>
                  </a:lnTo>
                  <a:lnTo>
                    <a:pt x="126331" y="66946"/>
                  </a:lnTo>
                  <a:lnTo>
                    <a:pt x="125478" y="65848"/>
                  </a:lnTo>
                  <a:lnTo>
                    <a:pt x="125234" y="64507"/>
                  </a:lnTo>
                  <a:lnTo>
                    <a:pt x="124502" y="61702"/>
                  </a:lnTo>
                  <a:lnTo>
                    <a:pt x="120234" y="43899"/>
                  </a:lnTo>
                  <a:lnTo>
                    <a:pt x="117308" y="43411"/>
                  </a:lnTo>
                  <a:lnTo>
                    <a:pt x="114381" y="42801"/>
                  </a:lnTo>
                  <a:lnTo>
                    <a:pt x="110723" y="46582"/>
                  </a:lnTo>
                  <a:lnTo>
                    <a:pt x="107065" y="50240"/>
                  </a:lnTo>
                  <a:lnTo>
                    <a:pt x="105236" y="51947"/>
                  </a:lnTo>
                  <a:lnTo>
                    <a:pt x="92554" y="51947"/>
                  </a:lnTo>
                  <a:lnTo>
                    <a:pt x="90725" y="50240"/>
                  </a:lnTo>
                  <a:lnTo>
                    <a:pt x="87676" y="47191"/>
                  </a:lnTo>
                  <a:lnTo>
                    <a:pt x="85969" y="45362"/>
                  </a:lnTo>
                  <a:lnTo>
                    <a:pt x="78774" y="45362"/>
                  </a:lnTo>
                  <a:lnTo>
                    <a:pt x="67434" y="56825"/>
                  </a:lnTo>
                  <a:lnTo>
                    <a:pt x="62800" y="61459"/>
                  </a:lnTo>
                  <a:lnTo>
                    <a:pt x="58532" y="56459"/>
                  </a:lnTo>
                  <a:lnTo>
                    <a:pt x="56337" y="54020"/>
                  </a:lnTo>
                  <a:lnTo>
                    <a:pt x="54142" y="51459"/>
                  </a:lnTo>
                  <a:lnTo>
                    <a:pt x="51947" y="49021"/>
                  </a:lnTo>
                  <a:lnTo>
                    <a:pt x="52801" y="45972"/>
                  </a:lnTo>
                  <a:lnTo>
                    <a:pt x="54386" y="39875"/>
                  </a:lnTo>
                  <a:lnTo>
                    <a:pt x="57679" y="19267"/>
                  </a:lnTo>
                  <a:lnTo>
                    <a:pt x="48167" y="15243"/>
                  </a:lnTo>
                  <a:lnTo>
                    <a:pt x="45362" y="14023"/>
                  </a:lnTo>
                  <a:lnTo>
                    <a:pt x="44753" y="10975"/>
                  </a:lnTo>
                  <a:lnTo>
                    <a:pt x="42070" y="0"/>
                  </a:lnTo>
                  <a:lnTo>
                    <a:pt x="22559" y="5000"/>
                  </a:lnTo>
                  <a:lnTo>
                    <a:pt x="19023" y="14999"/>
                  </a:lnTo>
                  <a:lnTo>
                    <a:pt x="17682" y="18657"/>
                  </a:lnTo>
                  <a:lnTo>
                    <a:pt x="13779" y="19023"/>
                  </a:lnTo>
                  <a:lnTo>
                    <a:pt x="6585" y="19754"/>
                  </a:lnTo>
                  <a:lnTo>
                    <a:pt x="0" y="23779"/>
                  </a:lnTo>
                  <a:lnTo>
                    <a:pt x="1585" y="45240"/>
                  </a:lnTo>
                  <a:lnTo>
                    <a:pt x="14145" y="56947"/>
                  </a:lnTo>
                  <a:lnTo>
                    <a:pt x="15609" y="58288"/>
                  </a:lnTo>
                  <a:lnTo>
                    <a:pt x="15974" y="60361"/>
                  </a:lnTo>
                  <a:lnTo>
                    <a:pt x="20486" y="89017"/>
                  </a:lnTo>
                  <a:lnTo>
                    <a:pt x="20852" y="91578"/>
                  </a:lnTo>
                  <a:lnTo>
                    <a:pt x="19267" y="93651"/>
                  </a:lnTo>
                  <a:lnTo>
                    <a:pt x="12804" y="102309"/>
                  </a:lnTo>
                  <a:lnTo>
                    <a:pt x="27559" y="132794"/>
                  </a:lnTo>
                  <a:lnTo>
                    <a:pt x="28168" y="134014"/>
                  </a:lnTo>
                  <a:lnTo>
                    <a:pt x="28168" y="135477"/>
                  </a:lnTo>
                  <a:lnTo>
                    <a:pt x="28168" y="164621"/>
                  </a:lnTo>
                  <a:lnTo>
                    <a:pt x="26339" y="184254"/>
                  </a:lnTo>
                  <a:lnTo>
                    <a:pt x="26217" y="184864"/>
                  </a:lnTo>
                  <a:lnTo>
                    <a:pt x="26096" y="185473"/>
                  </a:lnTo>
                  <a:lnTo>
                    <a:pt x="22315" y="197424"/>
                  </a:lnTo>
                  <a:lnTo>
                    <a:pt x="22315" y="197789"/>
                  </a:lnTo>
                  <a:lnTo>
                    <a:pt x="22193" y="198033"/>
                  </a:lnTo>
                  <a:lnTo>
                    <a:pt x="20730" y="201326"/>
                  </a:lnTo>
                  <a:lnTo>
                    <a:pt x="14389" y="215715"/>
                  </a:lnTo>
                  <a:lnTo>
                    <a:pt x="14999" y="222056"/>
                  </a:lnTo>
                  <a:lnTo>
                    <a:pt x="12194" y="233396"/>
                  </a:lnTo>
                  <a:lnTo>
                    <a:pt x="13048" y="2521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0" name="Freihandform: Form 829">
              <a:extLst>
                <a:ext uri="{FF2B5EF4-FFF2-40B4-BE49-F238E27FC236}">
                  <a16:creationId xmlns:a16="http://schemas.microsoft.com/office/drawing/2014/main" id="{3D1C5BD0-DD85-4E07-A10B-F23C3F7370AA}"/>
                </a:ext>
              </a:extLst>
            </p:cNvPr>
            <p:cNvSpPr/>
            <p:nvPr/>
          </p:nvSpPr>
          <p:spPr>
            <a:xfrm>
              <a:off x="6903279" y="2492269"/>
              <a:ext cx="122551" cy="130111"/>
            </a:xfrm>
            <a:custGeom>
              <a:avLst/>
              <a:gdLst>
                <a:gd name="connsiteX0" fmla="*/ 112796 w 122551"/>
                <a:gd name="connsiteY0" fmla="*/ 610 h 130111"/>
                <a:gd name="connsiteX1" fmla="*/ 111821 w 122551"/>
                <a:gd name="connsiteY1" fmla="*/ 0 h 130111"/>
                <a:gd name="connsiteX2" fmla="*/ 94871 w 122551"/>
                <a:gd name="connsiteY2" fmla="*/ 17560 h 130111"/>
                <a:gd name="connsiteX3" fmla="*/ 92919 w 122551"/>
                <a:gd name="connsiteY3" fmla="*/ 19633 h 130111"/>
                <a:gd name="connsiteX4" fmla="*/ 89993 w 122551"/>
                <a:gd name="connsiteY4" fmla="*/ 19511 h 130111"/>
                <a:gd name="connsiteX5" fmla="*/ 82067 w 122551"/>
                <a:gd name="connsiteY5" fmla="*/ 18901 h 130111"/>
                <a:gd name="connsiteX6" fmla="*/ 81213 w 122551"/>
                <a:gd name="connsiteY6" fmla="*/ 18901 h 130111"/>
                <a:gd name="connsiteX7" fmla="*/ 83530 w 122551"/>
                <a:gd name="connsiteY7" fmla="*/ 28534 h 130111"/>
                <a:gd name="connsiteX8" fmla="*/ 84262 w 122551"/>
                <a:gd name="connsiteY8" fmla="*/ 31827 h 130111"/>
                <a:gd name="connsiteX9" fmla="*/ 81823 w 122551"/>
                <a:gd name="connsiteY9" fmla="*/ 34266 h 130111"/>
                <a:gd name="connsiteX10" fmla="*/ 75604 w 122551"/>
                <a:gd name="connsiteY10" fmla="*/ 40485 h 130111"/>
                <a:gd name="connsiteX11" fmla="*/ 74019 w 122551"/>
                <a:gd name="connsiteY11" fmla="*/ 42070 h 130111"/>
                <a:gd name="connsiteX12" fmla="*/ 71702 w 122551"/>
                <a:gd name="connsiteY12" fmla="*/ 42192 h 130111"/>
                <a:gd name="connsiteX13" fmla="*/ 62922 w 122551"/>
                <a:gd name="connsiteY13" fmla="*/ 42680 h 130111"/>
                <a:gd name="connsiteX14" fmla="*/ 58654 w 122551"/>
                <a:gd name="connsiteY14" fmla="*/ 42924 h 130111"/>
                <a:gd name="connsiteX15" fmla="*/ 52191 w 122551"/>
                <a:gd name="connsiteY15" fmla="*/ 43289 h 130111"/>
                <a:gd name="connsiteX16" fmla="*/ 52191 w 122551"/>
                <a:gd name="connsiteY16" fmla="*/ 36826 h 130111"/>
                <a:gd name="connsiteX17" fmla="*/ 52191 w 122551"/>
                <a:gd name="connsiteY17" fmla="*/ 34022 h 130111"/>
                <a:gd name="connsiteX18" fmla="*/ 52313 w 122551"/>
                <a:gd name="connsiteY18" fmla="*/ 28412 h 130111"/>
                <a:gd name="connsiteX19" fmla="*/ 49874 w 122551"/>
                <a:gd name="connsiteY19" fmla="*/ 28168 h 130111"/>
                <a:gd name="connsiteX20" fmla="*/ 44753 w 122551"/>
                <a:gd name="connsiteY20" fmla="*/ 36704 h 130111"/>
                <a:gd name="connsiteX21" fmla="*/ 35363 w 122551"/>
                <a:gd name="connsiteY21" fmla="*/ 52679 h 130111"/>
                <a:gd name="connsiteX22" fmla="*/ 34266 w 122551"/>
                <a:gd name="connsiteY22" fmla="*/ 54508 h 130111"/>
                <a:gd name="connsiteX23" fmla="*/ 32193 w 122551"/>
                <a:gd name="connsiteY23" fmla="*/ 55240 h 130111"/>
                <a:gd name="connsiteX24" fmla="*/ 17438 w 122551"/>
                <a:gd name="connsiteY24" fmla="*/ 60483 h 130111"/>
                <a:gd name="connsiteX25" fmla="*/ 7926 w 122551"/>
                <a:gd name="connsiteY25" fmla="*/ 63775 h 130111"/>
                <a:gd name="connsiteX26" fmla="*/ 5000 w 122551"/>
                <a:gd name="connsiteY26" fmla="*/ 69751 h 130111"/>
                <a:gd name="connsiteX27" fmla="*/ 0 w 122551"/>
                <a:gd name="connsiteY27" fmla="*/ 79750 h 130111"/>
                <a:gd name="connsiteX28" fmla="*/ 3293 w 122551"/>
                <a:gd name="connsiteY28" fmla="*/ 82067 h 130111"/>
                <a:gd name="connsiteX29" fmla="*/ 9633 w 122551"/>
                <a:gd name="connsiteY29" fmla="*/ 83896 h 130111"/>
                <a:gd name="connsiteX30" fmla="*/ 19754 w 122551"/>
                <a:gd name="connsiteY30" fmla="*/ 87310 h 130111"/>
                <a:gd name="connsiteX31" fmla="*/ 19754 w 122551"/>
                <a:gd name="connsiteY31" fmla="*/ 87310 h 130111"/>
                <a:gd name="connsiteX32" fmla="*/ 18657 w 122551"/>
                <a:gd name="connsiteY32" fmla="*/ 98895 h 130111"/>
                <a:gd name="connsiteX33" fmla="*/ 21828 w 122551"/>
                <a:gd name="connsiteY33" fmla="*/ 110113 h 130111"/>
                <a:gd name="connsiteX34" fmla="*/ 21828 w 122551"/>
                <a:gd name="connsiteY34" fmla="*/ 110113 h 130111"/>
                <a:gd name="connsiteX35" fmla="*/ 9024 w 122551"/>
                <a:gd name="connsiteY35" fmla="*/ 122917 h 130111"/>
                <a:gd name="connsiteX36" fmla="*/ 14755 w 122551"/>
                <a:gd name="connsiteY36" fmla="*/ 130112 h 130111"/>
                <a:gd name="connsiteX37" fmla="*/ 22925 w 122551"/>
                <a:gd name="connsiteY37" fmla="*/ 130112 h 130111"/>
                <a:gd name="connsiteX38" fmla="*/ 33412 w 122551"/>
                <a:gd name="connsiteY38" fmla="*/ 127429 h 130111"/>
                <a:gd name="connsiteX39" fmla="*/ 34631 w 122551"/>
                <a:gd name="connsiteY39" fmla="*/ 126209 h 130111"/>
                <a:gd name="connsiteX40" fmla="*/ 45119 w 122551"/>
                <a:gd name="connsiteY40" fmla="*/ 114747 h 130111"/>
                <a:gd name="connsiteX41" fmla="*/ 47070 w 122551"/>
                <a:gd name="connsiteY41" fmla="*/ 112552 h 130111"/>
                <a:gd name="connsiteX42" fmla="*/ 48289 w 122551"/>
                <a:gd name="connsiteY42" fmla="*/ 111211 h 130111"/>
                <a:gd name="connsiteX43" fmla="*/ 50118 w 122551"/>
                <a:gd name="connsiteY43" fmla="*/ 110723 h 130111"/>
                <a:gd name="connsiteX44" fmla="*/ 65117 w 122551"/>
                <a:gd name="connsiteY44" fmla="*/ 106821 h 130111"/>
                <a:gd name="connsiteX45" fmla="*/ 75360 w 122551"/>
                <a:gd name="connsiteY45" fmla="*/ 104260 h 130111"/>
                <a:gd name="connsiteX46" fmla="*/ 67678 w 122551"/>
                <a:gd name="connsiteY46" fmla="*/ 98163 h 130111"/>
                <a:gd name="connsiteX47" fmla="*/ 58898 w 122551"/>
                <a:gd name="connsiteY47" fmla="*/ 96090 h 130111"/>
                <a:gd name="connsiteX48" fmla="*/ 58898 w 122551"/>
                <a:gd name="connsiteY48" fmla="*/ 80603 h 130111"/>
                <a:gd name="connsiteX49" fmla="*/ 63410 w 122551"/>
                <a:gd name="connsiteY49" fmla="*/ 72555 h 130111"/>
                <a:gd name="connsiteX50" fmla="*/ 77189 w 122551"/>
                <a:gd name="connsiteY50" fmla="*/ 70604 h 130111"/>
                <a:gd name="connsiteX51" fmla="*/ 93651 w 122551"/>
                <a:gd name="connsiteY51" fmla="*/ 58776 h 130111"/>
                <a:gd name="connsiteX52" fmla="*/ 107065 w 122551"/>
                <a:gd name="connsiteY52" fmla="*/ 42680 h 130111"/>
                <a:gd name="connsiteX53" fmla="*/ 106089 w 122551"/>
                <a:gd name="connsiteY53" fmla="*/ 30729 h 130111"/>
                <a:gd name="connsiteX54" fmla="*/ 112186 w 122551"/>
                <a:gd name="connsiteY54" fmla="*/ 17560 h 130111"/>
                <a:gd name="connsiteX55" fmla="*/ 122552 w 122551"/>
                <a:gd name="connsiteY55" fmla="*/ 7195 h 130111"/>
                <a:gd name="connsiteX56" fmla="*/ 118893 w 122551"/>
                <a:gd name="connsiteY56" fmla="*/ 4634 h 130111"/>
                <a:gd name="connsiteX57" fmla="*/ 112796 w 122551"/>
                <a:gd name="connsiteY57" fmla="*/ 610 h 13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22551" h="130111">
                  <a:moveTo>
                    <a:pt x="112796" y="610"/>
                  </a:moveTo>
                  <a:lnTo>
                    <a:pt x="111821" y="0"/>
                  </a:lnTo>
                  <a:lnTo>
                    <a:pt x="94871" y="17560"/>
                  </a:lnTo>
                  <a:lnTo>
                    <a:pt x="92919" y="19633"/>
                  </a:lnTo>
                  <a:lnTo>
                    <a:pt x="89993" y="19511"/>
                  </a:lnTo>
                  <a:lnTo>
                    <a:pt x="82067" y="18901"/>
                  </a:lnTo>
                  <a:lnTo>
                    <a:pt x="81213" y="18901"/>
                  </a:lnTo>
                  <a:lnTo>
                    <a:pt x="83530" y="28534"/>
                  </a:lnTo>
                  <a:lnTo>
                    <a:pt x="84262" y="31827"/>
                  </a:lnTo>
                  <a:lnTo>
                    <a:pt x="81823" y="34266"/>
                  </a:lnTo>
                  <a:lnTo>
                    <a:pt x="75604" y="40485"/>
                  </a:lnTo>
                  <a:lnTo>
                    <a:pt x="74019" y="42070"/>
                  </a:lnTo>
                  <a:lnTo>
                    <a:pt x="71702" y="42192"/>
                  </a:lnTo>
                  <a:lnTo>
                    <a:pt x="62922" y="42680"/>
                  </a:lnTo>
                  <a:lnTo>
                    <a:pt x="58654" y="42924"/>
                  </a:lnTo>
                  <a:lnTo>
                    <a:pt x="52191" y="43289"/>
                  </a:lnTo>
                  <a:lnTo>
                    <a:pt x="52191" y="36826"/>
                  </a:lnTo>
                  <a:lnTo>
                    <a:pt x="52191" y="34022"/>
                  </a:lnTo>
                  <a:lnTo>
                    <a:pt x="52313" y="28412"/>
                  </a:lnTo>
                  <a:lnTo>
                    <a:pt x="49874" y="28168"/>
                  </a:lnTo>
                  <a:lnTo>
                    <a:pt x="44753" y="36704"/>
                  </a:lnTo>
                  <a:lnTo>
                    <a:pt x="35363" y="52679"/>
                  </a:lnTo>
                  <a:lnTo>
                    <a:pt x="34266" y="54508"/>
                  </a:lnTo>
                  <a:lnTo>
                    <a:pt x="32193" y="55240"/>
                  </a:lnTo>
                  <a:lnTo>
                    <a:pt x="17438" y="60483"/>
                  </a:lnTo>
                  <a:lnTo>
                    <a:pt x="7926" y="63775"/>
                  </a:lnTo>
                  <a:lnTo>
                    <a:pt x="5000" y="69751"/>
                  </a:lnTo>
                  <a:lnTo>
                    <a:pt x="0" y="79750"/>
                  </a:lnTo>
                  <a:lnTo>
                    <a:pt x="3293" y="82067"/>
                  </a:lnTo>
                  <a:lnTo>
                    <a:pt x="9633" y="83896"/>
                  </a:lnTo>
                  <a:lnTo>
                    <a:pt x="19754" y="87310"/>
                  </a:lnTo>
                  <a:lnTo>
                    <a:pt x="19754" y="87310"/>
                  </a:lnTo>
                  <a:lnTo>
                    <a:pt x="18657" y="98895"/>
                  </a:lnTo>
                  <a:lnTo>
                    <a:pt x="21828" y="110113"/>
                  </a:lnTo>
                  <a:lnTo>
                    <a:pt x="21828" y="110113"/>
                  </a:lnTo>
                  <a:lnTo>
                    <a:pt x="9024" y="122917"/>
                  </a:lnTo>
                  <a:lnTo>
                    <a:pt x="14755" y="130112"/>
                  </a:lnTo>
                  <a:lnTo>
                    <a:pt x="22925" y="130112"/>
                  </a:lnTo>
                  <a:lnTo>
                    <a:pt x="33412" y="127429"/>
                  </a:lnTo>
                  <a:lnTo>
                    <a:pt x="34631" y="126209"/>
                  </a:lnTo>
                  <a:lnTo>
                    <a:pt x="45119" y="114747"/>
                  </a:lnTo>
                  <a:lnTo>
                    <a:pt x="47070" y="112552"/>
                  </a:lnTo>
                  <a:lnTo>
                    <a:pt x="48289" y="111211"/>
                  </a:lnTo>
                  <a:lnTo>
                    <a:pt x="50118" y="110723"/>
                  </a:lnTo>
                  <a:lnTo>
                    <a:pt x="65117" y="106821"/>
                  </a:lnTo>
                  <a:lnTo>
                    <a:pt x="75360" y="104260"/>
                  </a:lnTo>
                  <a:lnTo>
                    <a:pt x="67678" y="98163"/>
                  </a:lnTo>
                  <a:lnTo>
                    <a:pt x="58898" y="96090"/>
                  </a:lnTo>
                  <a:lnTo>
                    <a:pt x="58898" y="80603"/>
                  </a:lnTo>
                  <a:lnTo>
                    <a:pt x="63410" y="72555"/>
                  </a:lnTo>
                  <a:lnTo>
                    <a:pt x="77189" y="70604"/>
                  </a:lnTo>
                  <a:lnTo>
                    <a:pt x="93651" y="58776"/>
                  </a:lnTo>
                  <a:lnTo>
                    <a:pt x="107065" y="42680"/>
                  </a:lnTo>
                  <a:lnTo>
                    <a:pt x="106089" y="30729"/>
                  </a:lnTo>
                  <a:lnTo>
                    <a:pt x="112186" y="17560"/>
                  </a:lnTo>
                  <a:lnTo>
                    <a:pt x="122552" y="7195"/>
                  </a:lnTo>
                  <a:lnTo>
                    <a:pt x="118893" y="4634"/>
                  </a:lnTo>
                  <a:lnTo>
                    <a:pt x="112796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1" name="Freihandform: Form 830">
              <a:extLst>
                <a:ext uri="{FF2B5EF4-FFF2-40B4-BE49-F238E27FC236}">
                  <a16:creationId xmlns:a16="http://schemas.microsoft.com/office/drawing/2014/main" id="{462ADFE1-9028-4B7A-BCE0-B0EFABE02561}"/>
                </a:ext>
              </a:extLst>
            </p:cNvPr>
            <p:cNvSpPr/>
            <p:nvPr/>
          </p:nvSpPr>
          <p:spPr>
            <a:xfrm>
              <a:off x="6169557" y="2221802"/>
              <a:ext cx="635803" cy="295830"/>
            </a:xfrm>
            <a:custGeom>
              <a:avLst/>
              <a:gdLst>
                <a:gd name="connsiteX0" fmla="*/ 209252 w 635803"/>
                <a:gd name="connsiteY0" fmla="*/ 53898 h 295830"/>
                <a:gd name="connsiteX1" fmla="*/ 207910 w 635803"/>
                <a:gd name="connsiteY1" fmla="*/ 63653 h 295830"/>
                <a:gd name="connsiteX2" fmla="*/ 207301 w 635803"/>
                <a:gd name="connsiteY2" fmla="*/ 68409 h 295830"/>
                <a:gd name="connsiteX3" fmla="*/ 202545 w 635803"/>
                <a:gd name="connsiteY3" fmla="*/ 68897 h 295830"/>
                <a:gd name="connsiteX4" fmla="*/ 193643 w 635803"/>
                <a:gd name="connsiteY4" fmla="*/ 69994 h 295830"/>
                <a:gd name="connsiteX5" fmla="*/ 180717 w 635803"/>
                <a:gd name="connsiteY5" fmla="*/ 71336 h 295830"/>
                <a:gd name="connsiteX6" fmla="*/ 174864 w 635803"/>
                <a:gd name="connsiteY6" fmla="*/ 72067 h 295830"/>
                <a:gd name="connsiteX7" fmla="*/ 174011 w 635803"/>
                <a:gd name="connsiteY7" fmla="*/ 66214 h 295830"/>
                <a:gd name="connsiteX8" fmla="*/ 173401 w 635803"/>
                <a:gd name="connsiteY8" fmla="*/ 61702 h 295830"/>
                <a:gd name="connsiteX9" fmla="*/ 164011 w 635803"/>
                <a:gd name="connsiteY9" fmla="*/ 61702 h 295830"/>
                <a:gd name="connsiteX10" fmla="*/ 162182 w 635803"/>
                <a:gd name="connsiteY10" fmla="*/ 66458 h 295830"/>
                <a:gd name="connsiteX11" fmla="*/ 161207 w 635803"/>
                <a:gd name="connsiteY11" fmla="*/ 69141 h 295830"/>
                <a:gd name="connsiteX12" fmla="*/ 159743 w 635803"/>
                <a:gd name="connsiteY12" fmla="*/ 73043 h 295830"/>
                <a:gd name="connsiteX13" fmla="*/ 148281 w 635803"/>
                <a:gd name="connsiteY13" fmla="*/ 73043 h 295830"/>
                <a:gd name="connsiteX14" fmla="*/ 146452 w 635803"/>
                <a:gd name="connsiteY14" fmla="*/ 71214 h 295830"/>
                <a:gd name="connsiteX15" fmla="*/ 124259 w 635803"/>
                <a:gd name="connsiteY15" fmla="*/ 49020 h 295830"/>
                <a:gd name="connsiteX16" fmla="*/ 108406 w 635803"/>
                <a:gd name="connsiteY16" fmla="*/ 50362 h 295830"/>
                <a:gd name="connsiteX17" fmla="*/ 106211 w 635803"/>
                <a:gd name="connsiteY17" fmla="*/ 50484 h 295830"/>
                <a:gd name="connsiteX18" fmla="*/ 104504 w 635803"/>
                <a:gd name="connsiteY18" fmla="*/ 49264 h 295830"/>
                <a:gd name="connsiteX19" fmla="*/ 89139 w 635803"/>
                <a:gd name="connsiteY19" fmla="*/ 39021 h 295830"/>
                <a:gd name="connsiteX20" fmla="*/ 80481 w 635803"/>
                <a:gd name="connsiteY20" fmla="*/ 39021 h 295830"/>
                <a:gd name="connsiteX21" fmla="*/ 72799 w 635803"/>
                <a:gd name="connsiteY21" fmla="*/ 45972 h 295830"/>
                <a:gd name="connsiteX22" fmla="*/ 66580 w 635803"/>
                <a:gd name="connsiteY22" fmla="*/ 51703 h 295830"/>
                <a:gd name="connsiteX23" fmla="*/ 65117 w 635803"/>
                <a:gd name="connsiteY23" fmla="*/ 53045 h 295830"/>
                <a:gd name="connsiteX24" fmla="*/ 63166 w 635803"/>
                <a:gd name="connsiteY24" fmla="*/ 53288 h 295830"/>
                <a:gd name="connsiteX25" fmla="*/ 54264 w 635803"/>
                <a:gd name="connsiteY25" fmla="*/ 54386 h 295830"/>
                <a:gd name="connsiteX26" fmla="*/ 40119 w 635803"/>
                <a:gd name="connsiteY26" fmla="*/ 73653 h 295830"/>
                <a:gd name="connsiteX27" fmla="*/ 38777 w 635803"/>
                <a:gd name="connsiteY27" fmla="*/ 75482 h 295830"/>
                <a:gd name="connsiteX28" fmla="*/ 36460 w 635803"/>
                <a:gd name="connsiteY28" fmla="*/ 75970 h 295830"/>
                <a:gd name="connsiteX29" fmla="*/ 20242 w 635803"/>
                <a:gd name="connsiteY29" fmla="*/ 79384 h 295830"/>
                <a:gd name="connsiteX30" fmla="*/ 4878 w 635803"/>
                <a:gd name="connsiteY30" fmla="*/ 82554 h 295830"/>
                <a:gd name="connsiteX31" fmla="*/ 0 w 635803"/>
                <a:gd name="connsiteY31" fmla="*/ 90237 h 295830"/>
                <a:gd name="connsiteX32" fmla="*/ 19998 w 635803"/>
                <a:gd name="connsiteY32" fmla="*/ 118893 h 295830"/>
                <a:gd name="connsiteX33" fmla="*/ 42801 w 635803"/>
                <a:gd name="connsiteY33" fmla="*/ 118893 h 295830"/>
                <a:gd name="connsiteX34" fmla="*/ 44631 w 635803"/>
                <a:gd name="connsiteY34" fmla="*/ 121576 h 295830"/>
                <a:gd name="connsiteX35" fmla="*/ 74262 w 635803"/>
                <a:gd name="connsiteY35" fmla="*/ 164743 h 295830"/>
                <a:gd name="connsiteX36" fmla="*/ 76823 w 635803"/>
                <a:gd name="connsiteY36" fmla="*/ 168523 h 295830"/>
                <a:gd name="connsiteX37" fmla="*/ 73897 w 635803"/>
                <a:gd name="connsiteY37" fmla="*/ 172060 h 295830"/>
                <a:gd name="connsiteX38" fmla="*/ 64141 w 635803"/>
                <a:gd name="connsiteY38" fmla="*/ 184010 h 295830"/>
                <a:gd name="connsiteX39" fmla="*/ 66824 w 635803"/>
                <a:gd name="connsiteY39" fmla="*/ 187424 h 295830"/>
                <a:gd name="connsiteX40" fmla="*/ 75604 w 635803"/>
                <a:gd name="connsiteY40" fmla="*/ 198765 h 295830"/>
                <a:gd name="connsiteX41" fmla="*/ 93042 w 635803"/>
                <a:gd name="connsiteY41" fmla="*/ 202911 h 295830"/>
                <a:gd name="connsiteX42" fmla="*/ 98163 w 635803"/>
                <a:gd name="connsiteY42" fmla="*/ 204008 h 295830"/>
                <a:gd name="connsiteX43" fmla="*/ 98651 w 635803"/>
                <a:gd name="connsiteY43" fmla="*/ 204130 h 295830"/>
                <a:gd name="connsiteX44" fmla="*/ 99139 w 635803"/>
                <a:gd name="connsiteY44" fmla="*/ 204374 h 295830"/>
                <a:gd name="connsiteX45" fmla="*/ 139257 w 635803"/>
                <a:gd name="connsiteY45" fmla="*/ 221934 h 295830"/>
                <a:gd name="connsiteX46" fmla="*/ 165597 w 635803"/>
                <a:gd name="connsiteY46" fmla="*/ 233518 h 295830"/>
                <a:gd name="connsiteX47" fmla="*/ 169743 w 635803"/>
                <a:gd name="connsiteY47" fmla="*/ 235347 h 295830"/>
                <a:gd name="connsiteX48" fmla="*/ 169255 w 635803"/>
                <a:gd name="connsiteY48" fmla="*/ 239859 h 295830"/>
                <a:gd name="connsiteX49" fmla="*/ 166816 w 635803"/>
                <a:gd name="connsiteY49" fmla="*/ 259248 h 295830"/>
                <a:gd name="connsiteX50" fmla="*/ 178766 w 635803"/>
                <a:gd name="connsiteY50" fmla="*/ 273637 h 295830"/>
                <a:gd name="connsiteX51" fmla="*/ 195107 w 635803"/>
                <a:gd name="connsiteY51" fmla="*/ 274734 h 295830"/>
                <a:gd name="connsiteX52" fmla="*/ 198765 w 635803"/>
                <a:gd name="connsiteY52" fmla="*/ 271198 h 295830"/>
                <a:gd name="connsiteX53" fmla="*/ 200716 w 635803"/>
                <a:gd name="connsiteY53" fmla="*/ 269247 h 295830"/>
                <a:gd name="connsiteX54" fmla="*/ 201447 w 635803"/>
                <a:gd name="connsiteY54" fmla="*/ 268515 h 295830"/>
                <a:gd name="connsiteX55" fmla="*/ 202301 w 635803"/>
                <a:gd name="connsiteY55" fmla="*/ 268028 h 295830"/>
                <a:gd name="connsiteX56" fmla="*/ 206691 w 635803"/>
                <a:gd name="connsiteY56" fmla="*/ 265833 h 295830"/>
                <a:gd name="connsiteX57" fmla="*/ 209496 w 635803"/>
                <a:gd name="connsiteY57" fmla="*/ 264491 h 295830"/>
                <a:gd name="connsiteX58" fmla="*/ 212178 w 635803"/>
                <a:gd name="connsiteY58" fmla="*/ 265833 h 295830"/>
                <a:gd name="connsiteX59" fmla="*/ 216446 w 635803"/>
                <a:gd name="connsiteY59" fmla="*/ 268028 h 295830"/>
                <a:gd name="connsiteX60" fmla="*/ 221324 w 635803"/>
                <a:gd name="connsiteY60" fmla="*/ 270467 h 295830"/>
                <a:gd name="connsiteX61" fmla="*/ 232299 w 635803"/>
                <a:gd name="connsiteY61" fmla="*/ 267906 h 295830"/>
                <a:gd name="connsiteX62" fmla="*/ 245224 w 635803"/>
                <a:gd name="connsiteY62" fmla="*/ 265101 h 295830"/>
                <a:gd name="connsiteX63" fmla="*/ 246078 w 635803"/>
                <a:gd name="connsiteY63" fmla="*/ 264857 h 295830"/>
                <a:gd name="connsiteX64" fmla="*/ 246932 w 635803"/>
                <a:gd name="connsiteY64" fmla="*/ 264979 h 295830"/>
                <a:gd name="connsiteX65" fmla="*/ 279978 w 635803"/>
                <a:gd name="connsiteY65" fmla="*/ 267784 h 295830"/>
                <a:gd name="connsiteX66" fmla="*/ 281929 w 635803"/>
                <a:gd name="connsiteY66" fmla="*/ 267906 h 295830"/>
                <a:gd name="connsiteX67" fmla="*/ 283514 w 635803"/>
                <a:gd name="connsiteY67" fmla="*/ 269247 h 295830"/>
                <a:gd name="connsiteX68" fmla="*/ 293147 w 635803"/>
                <a:gd name="connsiteY68" fmla="*/ 277539 h 295830"/>
                <a:gd name="connsiteX69" fmla="*/ 303269 w 635803"/>
                <a:gd name="connsiteY69" fmla="*/ 286319 h 295830"/>
                <a:gd name="connsiteX70" fmla="*/ 305098 w 635803"/>
                <a:gd name="connsiteY70" fmla="*/ 286441 h 295830"/>
                <a:gd name="connsiteX71" fmla="*/ 324121 w 635803"/>
                <a:gd name="connsiteY71" fmla="*/ 287660 h 295830"/>
                <a:gd name="connsiteX72" fmla="*/ 325340 w 635803"/>
                <a:gd name="connsiteY72" fmla="*/ 287660 h 295830"/>
                <a:gd name="connsiteX73" fmla="*/ 326438 w 635803"/>
                <a:gd name="connsiteY73" fmla="*/ 288270 h 295830"/>
                <a:gd name="connsiteX74" fmla="*/ 341680 w 635803"/>
                <a:gd name="connsiteY74" fmla="*/ 295830 h 295830"/>
                <a:gd name="connsiteX75" fmla="*/ 352289 w 635803"/>
                <a:gd name="connsiteY75" fmla="*/ 292294 h 295830"/>
                <a:gd name="connsiteX76" fmla="*/ 382531 w 635803"/>
                <a:gd name="connsiteY76" fmla="*/ 275832 h 295830"/>
                <a:gd name="connsiteX77" fmla="*/ 385091 w 635803"/>
                <a:gd name="connsiteY77" fmla="*/ 274491 h 295830"/>
                <a:gd name="connsiteX78" fmla="*/ 387774 w 635803"/>
                <a:gd name="connsiteY78" fmla="*/ 275588 h 295830"/>
                <a:gd name="connsiteX79" fmla="*/ 402773 w 635803"/>
                <a:gd name="connsiteY79" fmla="*/ 281807 h 295830"/>
                <a:gd name="connsiteX80" fmla="*/ 419357 w 635803"/>
                <a:gd name="connsiteY80" fmla="*/ 279368 h 295830"/>
                <a:gd name="connsiteX81" fmla="*/ 443867 w 635803"/>
                <a:gd name="connsiteY81" fmla="*/ 268515 h 295830"/>
                <a:gd name="connsiteX82" fmla="*/ 458378 w 635803"/>
                <a:gd name="connsiteY82" fmla="*/ 251322 h 295830"/>
                <a:gd name="connsiteX83" fmla="*/ 459720 w 635803"/>
                <a:gd name="connsiteY83" fmla="*/ 249736 h 295830"/>
                <a:gd name="connsiteX84" fmla="*/ 461671 w 635803"/>
                <a:gd name="connsiteY84" fmla="*/ 249249 h 295830"/>
                <a:gd name="connsiteX85" fmla="*/ 477645 w 635803"/>
                <a:gd name="connsiteY85" fmla="*/ 245590 h 295830"/>
                <a:gd name="connsiteX86" fmla="*/ 479962 w 635803"/>
                <a:gd name="connsiteY86" fmla="*/ 240957 h 295830"/>
                <a:gd name="connsiteX87" fmla="*/ 482401 w 635803"/>
                <a:gd name="connsiteY87" fmla="*/ 236079 h 295830"/>
                <a:gd name="connsiteX88" fmla="*/ 477158 w 635803"/>
                <a:gd name="connsiteY88" fmla="*/ 232055 h 295830"/>
                <a:gd name="connsiteX89" fmla="*/ 473743 w 635803"/>
                <a:gd name="connsiteY89" fmla="*/ 229250 h 295830"/>
                <a:gd name="connsiteX90" fmla="*/ 469353 w 635803"/>
                <a:gd name="connsiteY90" fmla="*/ 225958 h 295830"/>
                <a:gd name="connsiteX91" fmla="*/ 472280 w 635803"/>
                <a:gd name="connsiteY91" fmla="*/ 221324 h 295830"/>
                <a:gd name="connsiteX92" fmla="*/ 484596 w 635803"/>
                <a:gd name="connsiteY92" fmla="*/ 201570 h 295830"/>
                <a:gd name="connsiteX93" fmla="*/ 487035 w 635803"/>
                <a:gd name="connsiteY93" fmla="*/ 197667 h 295830"/>
                <a:gd name="connsiteX94" fmla="*/ 491425 w 635803"/>
                <a:gd name="connsiteY94" fmla="*/ 198887 h 295830"/>
                <a:gd name="connsiteX95" fmla="*/ 517520 w 635803"/>
                <a:gd name="connsiteY95" fmla="*/ 206325 h 295830"/>
                <a:gd name="connsiteX96" fmla="*/ 538494 w 635803"/>
                <a:gd name="connsiteY96" fmla="*/ 185473 h 295830"/>
                <a:gd name="connsiteX97" fmla="*/ 542762 w 635803"/>
                <a:gd name="connsiteY97" fmla="*/ 181083 h 295830"/>
                <a:gd name="connsiteX98" fmla="*/ 547030 w 635803"/>
                <a:gd name="connsiteY98" fmla="*/ 185473 h 295830"/>
                <a:gd name="connsiteX99" fmla="*/ 551298 w 635803"/>
                <a:gd name="connsiteY99" fmla="*/ 189741 h 295830"/>
                <a:gd name="connsiteX100" fmla="*/ 553981 w 635803"/>
                <a:gd name="connsiteY100" fmla="*/ 192302 h 295830"/>
                <a:gd name="connsiteX101" fmla="*/ 562273 w 635803"/>
                <a:gd name="connsiteY101" fmla="*/ 190473 h 295830"/>
                <a:gd name="connsiteX102" fmla="*/ 562638 w 635803"/>
                <a:gd name="connsiteY102" fmla="*/ 188644 h 295830"/>
                <a:gd name="connsiteX103" fmla="*/ 568370 w 635803"/>
                <a:gd name="connsiteY103" fmla="*/ 166938 h 295830"/>
                <a:gd name="connsiteX104" fmla="*/ 569223 w 635803"/>
                <a:gd name="connsiteY104" fmla="*/ 163889 h 295830"/>
                <a:gd name="connsiteX105" fmla="*/ 572150 w 635803"/>
                <a:gd name="connsiteY105" fmla="*/ 162792 h 295830"/>
                <a:gd name="connsiteX106" fmla="*/ 576296 w 635803"/>
                <a:gd name="connsiteY106" fmla="*/ 161207 h 295830"/>
                <a:gd name="connsiteX107" fmla="*/ 580930 w 635803"/>
                <a:gd name="connsiteY107" fmla="*/ 159500 h 295830"/>
                <a:gd name="connsiteX108" fmla="*/ 585320 w 635803"/>
                <a:gd name="connsiteY108" fmla="*/ 157792 h 295830"/>
                <a:gd name="connsiteX109" fmla="*/ 588124 w 635803"/>
                <a:gd name="connsiteY109" fmla="*/ 161695 h 295830"/>
                <a:gd name="connsiteX110" fmla="*/ 590929 w 635803"/>
                <a:gd name="connsiteY110" fmla="*/ 165597 h 295830"/>
                <a:gd name="connsiteX111" fmla="*/ 592514 w 635803"/>
                <a:gd name="connsiteY111" fmla="*/ 167792 h 295830"/>
                <a:gd name="connsiteX112" fmla="*/ 599343 w 635803"/>
                <a:gd name="connsiteY112" fmla="*/ 165597 h 295830"/>
                <a:gd name="connsiteX113" fmla="*/ 599099 w 635803"/>
                <a:gd name="connsiteY113" fmla="*/ 163889 h 295830"/>
                <a:gd name="connsiteX114" fmla="*/ 598611 w 635803"/>
                <a:gd name="connsiteY114" fmla="*/ 159622 h 295830"/>
                <a:gd name="connsiteX115" fmla="*/ 597880 w 635803"/>
                <a:gd name="connsiteY115" fmla="*/ 153281 h 295830"/>
                <a:gd name="connsiteX116" fmla="*/ 604221 w 635803"/>
                <a:gd name="connsiteY116" fmla="*/ 152793 h 295830"/>
                <a:gd name="connsiteX117" fmla="*/ 618610 w 635803"/>
                <a:gd name="connsiteY117" fmla="*/ 151573 h 295830"/>
                <a:gd name="connsiteX118" fmla="*/ 619829 w 635803"/>
                <a:gd name="connsiteY118" fmla="*/ 151573 h 295830"/>
                <a:gd name="connsiteX119" fmla="*/ 621049 w 635803"/>
                <a:gd name="connsiteY119" fmla="*/ 151939 h 295830"/>
                <a:gd name="connsiteX120" fmla="*/ 631535 w 635803"/>
                <a:gd name="connsiteY120" fmla="*/ 155354 h 295830"/>
                <a:gd name="connsiteX121" fmla="*/ 635803 w 635803"/>
                <a:gd name="connsiteY121" fmla="*/ 152549 h 295830"/>
                <a:gd name="connsiteX122" fmla="*/ 629097 w 635803"/>
                <a:gd name="connsiteY122" fmla="*/ 134745 h 295830"/>
                <a:gd name="connsiteX123" fmla="*/ 601172 w 635803"/>
                <a:gd name="connsiteY123" fmla="*/ 126210 h 295830"/>
                <a:gd name="connsiteX124" fmla="*/ 595319 w 635803"/>
                <a:gd name="connsiteY124" fmla="*/ 134867 h 295830"/>
                <a:gd name="connsiteX125" fmla="*/ 592270 w 635803"/>
                <a:gd name="connsiteY125" fmla="*/ 139501 h 295830"/>
                <a:gd name="connsiteX126" fmla="*/ 587393 w 635803"/>
                <a:gd name="connsiteY126" fmla="*/ 136818 h 295830"/>
                <a:gd name="connsiteX127" fmla="*/ 576296 w 635803"/>
                <a:gd name="connsiteY127" fmla="*/ 130843 h 295830"/>
                <a:gd name="connsiteX128" fmla="*/ 574955 w 635803"/>
                <a:gd name="connsiteY128" fmla="*/ 132550 h 295830"/>
                <a:gd name="connsiteX129" fmla="*/ 572516 w 635803"/>
                <a:gd name="connsiteY129" fmla="*/ 135355 h 295830"/>
                <a:gd name="connsiteX130" fmla="*/ 569101 w 635803"/>
                <a:gd name="connsiteY130" fmla="*/ 139501 h 295830"/>
                <a:gd name="connsiteX131" fmla="*/ 564590 w 635803"/>
                <a:gd name="connsiteY131" fmla="*/ 136697 h 295830"/>
                <a:gd name="connsiteX132" fmla="*/ 555932 w 635803"/>
                <a:gd name="connsiteY132" fmla="*/ 131331 h 295830"/>
                <a:gd name="connsiteX133" fmla="*/ 552639 w 635803"/>
                <a:gd name="connsiteY133" fmla="*/ 129258 h 295830"/>
                <a:gd name="connsiteX134" fmla="*/ 553127 w 635803"/>
                <a:gd name="connsiteY134" fmla="*/ 125478 h 295830"/>
                <a:gd name="connsiteX135" fmla="*/ 553249 w 635803"/>
                <a:gd name="connsiteY135" fmla="*/ 124015 h 295830"/>
                <a:gd name="connsiteX136" fmla="*/ 554346 w 635803"/>
                <a:gd name="connsiteY136" fmla="*/ 114625 h 295830"/>
                <a:gd name="connsiteX137" fmla="*/ 554590 w 635803"/>
                <a:gd name="connsiteY137" fmla="*/ 112796 h 295830"/>
                <a:gd name="connsiteX138" fmla="*/ 555810 w 635803"/>
                <a:gd name="connsiteY138" fmla="*/ 111333 h 295830"/>
                <a:gd name="connsiteX139" fmla="*/ 564590 w 635803"/>
                <a:gd name="connsiteY139" fmla="*/ 101212 h 295830"/>
                <a:gd name="connsiteX140" fmla="*/ 569223 w 635803"/>
                <a:gd name="connsiteY140" fmla="*/ 90603 h 295830"/>
                <a:gd name="connsiteX141" fmla="*/ 577515 w 635803"/>
                <a:gd name="connsiteY141" fmla="*/ 71580 h 295830"/>
                <a:gd name="connsiteX142" fmla="*/ 577759 w 635803"/>
                <a:gd name="connsiteY142" fmla="*/ 71092 h 295830"/>
                <a:gd name="connsiteX143" fmla="*/ 574101 w 635803"/>
                <a:gd name="connsiteY143" fmla="*/ 71458 h 295830"/>
                <a:gd name="connsiteX144" fmla="*/ 562517 w 635803"/>
                <a:gd name="connsiteY144" fmla="*/ 72921 h 295830"/>
                <a:gd name="connsiteX145" fmla="*/ 559956 w 635803"/>
                <a:gd name="connsiteY145" fmla="*/ 73287 h 295830"/>
                <a:gd name="connsiteX146" fmla="*/ 558005 w 635803"/>
                <a:gd name="connsiteY146" fmla="*/ 71580 h 295830"/>
                <a:gd name="connsiteX147" fmla="*/ 538860 w 635803"/>
                <a:gd name="connsiteY147" fmla="*/ 56337 h 295830"/>
                <a:gd name="connsiteX148" fmla="*/ 538250 w 635803"/>
                <a:gd name="connsiteY148" fmla="*/ 55849 h 295830"/>
                <a:gd name="connsiteX149" fmla="*/ 524959 w 635803"/>
                <a:gd name="connsiteY149" fmla="*/ 53654 h 295830"/>
                <a:gd name="connsiteX150" fmla="*/ 524105 w 635803"/>
                <a:gd name="connsiteY150" fmla="*/ 54996 h 295830"/>
                <a:gd name="connsiteX151" fmla="*/ 516667 w 635803"/>
                <a:gd name="connsiteY151" fmla="*/ 67800 h 295830"/>
                <a:gd name="connsiteX152" fmla="*/ 515935 w 635803"/>
                <a:gd name="connsiteY152" fmla="*/ 69019 h 295830"/>
                <a:gd name="connsiteX153" fmla="*/ 514715 w 635803"/>
                <a:gd name="connsiteY153" fmla="*/ 69873 h 295830"/>
                <a:gd name="connsiteX154" fmla="*/ 501302 w 635803"/>
                <a:gd name="connsiteY154" fmla="*/ 78530 h 295830"/>
                <a:gd name="connsiteX155" fmla="*/ 491547 w 635803"/>
                <a:gd name="connsiteY155" fmla="*/ 84749 h 295830"/>
                <a:gd name="connsiteX156" fmla="*/ 489961 w 635803"/>
                <a:gd name="connsiteY156" fmla="*/ 85847 h 295830"/>
                <a:gd name="connsiteX157" fmla="*/ 487888 w 635803"/>
                <a:gd name="connsiteY157" fmla="*/ 85725 h 295830"/>
                <a:gd name="connsiteX158" fmla="*/ 467768 w 635803"/>
                <a:gd name="connsiteY158" fmla="*/ 84384 h 295830"/>
                <a:gd name="connsiteX159" fmla="*/ 439477 w 635803"/>
                <a:gd name="connsiteY159" fmla="*/ 89749 h 295830"/>
                <a:gd name="connsiteX160" fmla="*/ 436673 w 635803"/>
                <a:gd name="connsiteY160" fmla="*/ 90359 h 295830"/>
                <a:gd name="connsiteX161" fmla="*/ 434478 w 635803"/>
                <a:gd name="connsiteY161" fmla="*/ 88530 h 295830"/>
                <a:gd name="connsiteX162" fmla="*/ 427283 w 635803"/>
                <a:gd name="connsiteY162" fmla="*/ 82432 h 295830"/>
                <a:gd name="connsiteX163" fmla="*/ 412285 w 635803"/>
                <a:gd name="connsiteY163" fmla="*/ 76701 h 295830"/>
                <a:gd name="connsiteX164" fmla="*/ 403139 w 635803"/>
                <a:gd name="connsiteY164" fmla="*/ 73165 h 295830"/>
                <a:gd name="connsiteX165" fmla="*/ 400700 w 635803"/>
                <a:gd name="connsiteY165" fmla="*/ 72189 h 295830"/>
                <a:gd name="connsiteX166" fmla="*/ 399725 w 635803"/>
                <a:gd name="connsiteY166" fmla="*/ 69629 h 295830"/>
                <a:gd name="connsiteX167" fmla="*/ 396432 w 635803"/>
                <a:gd name="connsiteY167" fmla="*/ 60971 h 295830"/>
                <a:gd name="connsiteX168" fmla="*/ 374117 w 635803"/>
                <a:gd name="connsiteY168" fmla="*/ 54386 h 295830"/>
                <a:gd name="connsiteX169" fmla="*/ 347168 w 635803"/>
                <a:gd name="connsiteY169" fmla="*/ 46338 h 295830"/>
                <a:gd name="connsiteX170" fmla="*/ 325706 w 635803"/>
                <a:gd name="connsiteY170" fmla="*/ 54264 h 295830"/>
                <a:gd name="connsiteX171" fmla="*/ 311561 w 635803"/>
                <a:gd name="connsiteY171" fmla="*/ 59507 h 295830"/>
                <a:gd name="connsiteX172" fmla="*/ 307293 w 635803"/>
                <a:gd name="connsiteY172" fmla="*/ 61093 h 295830"/>
                <a:gd name="connsiteX173" fmla="*/ 304610 w 635803"/>
                <a:gd name="connsiteY173" fmla="*/ 57313 h 295830"/>
                <a:gd name="connsiteX174" fmla="*/ 288758 w 635803"/>
                <a:gd name="connsiteY174" fmla="*/ 35607 h 295830"/>
                <a:gd name="connsiteX175" fmla="*/ 272295 w 635803"/>
                <a:gd name="connsiteY175" fmla="*/ 12926 h 295830"/>
                <a:gd name="connsiteX176" fmla="*/ 248029 w 635803"/>
                <a:gd name="connsiteY176" fmla="*/ 6097 h 295830"/>
                <a:gd name="connsiteX177" fmla="*/ 226689 w 635803"/>
                <a:gd name="connsiteY177" fmla="*/ 0 h 295830"/>
                <a:gd name="connsiteX178" fmla="*/ 220714 w 635803"/>
                <a:gd name="connsiteY178" fmla="*/ 8170 h 295830"/>
                <a:gd name="connsiteX179" fmla="*/ 217056 w 635803"/>
                <a:gd name="connsiteY179" fmla="*/ 13048 h 295830"/>
                <a:gd name="connsiteX180" fmla="*/ 216690 w 635803"/>
                <a:gd name="connsiteY180" fmla="*/ 13657 h 295830"/>
                <a:gd name="connsiteX181" fmla="*/ 216202 w 635803"/>
                <a:gd name="connsiteY181" fmla="*/ 14023 h 295830"/>
                <a:gd name="connsiteX182" fmla="*/ 202911 w 635803"/>
                <a:gd name="connsiteY182" fmla="*/ 26096 h 295830"/>
                <a:gd name="connsiteX183" fmla="*/ 205959 w 635803"/>
                <a:gd name="connsiteY183" fmla="*/ 32558 h 295830"/>
                <a:gd name="connsiteX184" fmla="*/ 209983 w 635803"/>
                <a:gd name="connsiteY184" fmla="*/ 41338 h 295830"/>
                <a:gd name="connsiteX185" fmla="*/ 210715 w 635803"/>
                <a:gd name="connsiteY185" fmla="*/ 42923 h 295830"/>
                <a:gd name="connsiteX186" fmla="*/ 210471 w 635803"/>
                <a:gd name="connsiteY186" fmla="*/ 44631 h 295830"/>
                <a:gd name="connsiteX187" fmla="*/ 209252 w 635803"/>
                <a:gd name="connsiteY187" fmla="*/ 53898 h 29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635803" h="295830">
                  <a:moveTo>
                    <a:pt x="209252" y="53898"/>
                  </a:moveTo>
                  <a:lnTo>
                    <a:pt x="207910" y="63653"/>
                  </a:lnTo>
                  <a:lnTo>
                    <a:pt x="207301" y="68409"/>
                  </a:lnTo>
                  <a:lnTo>
                    <a:pt x="202545" y="68897"/>
                  </a:lnTo>
                  <a:lnTo>
                    <a:pt x="193643" y="69994"/>
                  </a:lnTo>
                  <a:lnTo>
                    <a:pt x="180717" y="71336"/>
                  </a:lnTo>
                  <a:lnTo>
                    <a:pt x="174864" y="72067"/>
                  </a:lnTo>
                  <a:lnTo>
                    <a:pt x="174011" y="66214"/>
                  </a:lnTo>
                  <a:lnTo>
                    <a:pt x="173401" y="61702"/>
                  </a:lnTo>
                  <a:lnTo>
                    <a:pt x="164011" y="61702"/>
                  </a:lnTo>
                  <a:lnTo>
                    <a:pt x="162182" y="66458"/>
                  </a:lnTo>
                  <a:lnTo>
                    <a:pt x="161207" y="69141"/>
                  </a:lnTo>
                  <a:lnTo>
                    <a:pt x="159743" y="73043"/>
                  </a:lnTo>
                  <a:lnTo>
                    <a:pt x="148281" y="73043"/>
                  </a:lnTo>
                  <a:lnTo>
                    <a:pt x="146452" y="71214"/>
                  </a:lnTo>
                  <a:lnTo>
                    <a:pt x="124259" y="49020"/>
                  </a:lnTo>
                  <a:lnTo>
                    <a:pt x="108406" y="50362"/>
                  </a:lnTo>
                  <a:lnTo>
                    <a:pt x="106211" y="50484"/>
                  </a:lnTo>
                  <a:lnTo>
                    <a:pt x="104504" y="49264"/>
                  </a:lnTo>
                  <a:lnTo>
                    <a:pt x="89139" y="39021"/>
                  </a:lnTo>
                  <a:lnTo>
                    <a:pt x="80481" y="39021"/>
                  </a:lnTo>
                  <a:lnTo>
                    <a:pt x="72799" y="45972"/>
                  </a:lnTo>
                  <a:lnTo>
                    <a:pt x="66580" y="51703"/>
                  </a:lnTo>
                  <a:lnTo>
                    <a:pt x="65117" y="53045"/>
                  </a:lnTo>
                  <a:lnTo>
                    <a:pt x="63166" y="53288"/>
                  </a:lnTo>
                  <a:lnTo>
                    <a:pt x="54264" y="54386"/>
                  </a:lnTo>
                  <a:lnTo>
                    <a:pt x="40119" y="73653"/>
                  </a:lnTo>
                  <a:lnTo>
                    <a:pt x="38777" y="75482"/>
                  </a:lnTo>
                  <a:lnTo>
                    <a:pt x="36460" y="75970"/>
                  </a:lnTo>
                  <a:lnTo>
                    <a:pt x="20242" y="79384"/>
                  </a:lnTo>
                  <a:lnTo>
                    <a:pt x="4878" y="82554"/>
                  </a:lnTo>
                  <a:lnTo>
                    <a:pt x="0" y="90237"/>
                  </a:lnTo>
                  <a:lnTo>
                    <a:pt x="19998" y="118893"/>
                  </a:lnTo>
                  <a:lnTo>
                    <a:pt x="42801" y="118893"/>
                  </a:lnTo>
                  <a:lnTo>
                    <a:pt x="44631" y="121576"/>
                  </a:lnTo>
                  <a:lnTo>
                    <a:pt x="74262" y="164743"/>
                  </a:lnTo>
                  <a:lnTo>
                    <a:pt x="76823" y="168523"/>
                  </a:lnTo>
                  <a:lnTo>
                    <a:pt x="73897" y="172060"/>
                  </a:lnTo>
                  <a:lnTo>
                    <a:pt x="64141" y="184010"/>
                  </a:lnTo>
                  <a:lnTo>
                    <a:pt x="66824" y="187424"/>
                  </a:lnTo>
                  <a:lnTo>
                    <a:pt x="75604" y="198765"/>
                  </a:lnTo>
                  <a:lnTo>
                    <a:pt x="93042" y="202911"/>
                  </a:lnTo>
                  <a:lnTo>
                    <a:pt x="98163" y="204008"/>
                  </a:lnTo>
                  <a:lnTo>
                    <a:pt x="98651" y="204130"/>
                  </a:lnTo>
                  <a:lnTo>
                    <a:pt x="99139" y="204374"/>
                  </a:lnTo>
                  <a:lnTo>
                    <a:pt x="139257" y="221934"/>
                  </a:lnTo>
                  <a:lnTo>
                    <a:pt x="165597" y="233518"/>
                  </a:lnTo>
                  <a:lnTo>
                    <a:pt x="169743" y="235347"/>
                  </a:lnTo>
                  <a:lnTo>
                    <a:pt x="169255" y="239859"/>
                  </a:lnTo>
                  <a:lnTo>
                    <a:pt x="166816" y="259248"/>
                  </a:lnTo>
                  <a:lnTo>
                    <a:pt x="178766" y="273637"/>
                  </a:lnTo>
                  <a:lnTo>
                    <a:pt x="195107" y="274734"/>
                  </a:lnTo>
                  <a:lnTo>
                    <a:pt x="198765" y="271198"/>
                  </a:lnTo>
                  <a:lnTo>
                    <a:pt x="200716" y="269247"/>
                  </a:lnTo>
                  <a:lnTo>
                    <a:pt x="201447" y="268515"/>
                  </a:lnTo>
                  <a:lnTo>
                    <a:pt x="202301" y="268028"/>
                  </a:lnTo>
                  <a:lnTo>
                    <a:pt x="206691" y="265833"/>
                  </a:lnTo>
                  <a:lnTo>
                    <a:pt x="209496" y="264491"/>
                  </a:lnTo>
                  <a:lnTo>
                    <a:pt x="212178" y="265833"/>
                  </a:lnTo>
                  <a:lnTo>
                    <a:pt x="216446" y="268028"/>
                  </a:lnTo>
                  <a:lnTo>
                    <a:pt x="221324" y="270467"/>
                  </a:lnTo>
                  <a:lnTo>
                    <a:pt x="232299" y="267906"/>
                  </a:lnTo>
                  <a:lnTo>
                    <a:pt x="245224" y="265101"/>
                  </a:lnTo>
                  <a:lnTo>
                    <a:pt x="246078" y="264857"/>
                  </a:lnTo>
                  <a:lnTo>
                    <a:pt x="246932" y="264979"/>
                  </a:lnTo>
                  <a:lnTo>
                    <a:pt x="279978" y="267784"/>
                  </a:lnTo>
                  <a:lnTo>
                    <a:pt x="281929" y="267906"/>
                  </a:lnTo>
                  <a:lnTo>
                    <a:pt x="283514" y="269247"/>
                  </a:lnTo>
                  <a:lnTo>
                    <a:pt x="293147" y="277539"/>
                  </a:lnTo>
                  <a:lnTo>
                    <a:pt x="303269" y="286319"/>
                  </a:lnTo>
                  <a:lnTo>
                    <a:pt x="305098" y="286441"/>
                  </a:lnTo>
                  <a:lnTo>
                    <a:pt x="324121" y="287660"/>
                  </a:lnTo>
                  <a:lnTo>
                    <a:pt x="325340" y="287660"/>
                  </a:lnTo>
                  <a:lnTo>
                    <a:pt x="326438" y="288270"/>
                  </a:lnTo>
                  <a:lnTo>
                    <a:pt x="341680" y="295830"/>
                  </a:lnTo>
                  <a:lnTo>
                    <a:pt x="352289" y="292294"/>
                  </a:lnTo>
                  <a:lnTo>
                    <a:pt x="382531" y="275832"/>
                  </a:lnTo>
                  <a:lnTo>
                    <a:pt x="385091" y="274491"/>
                  </a:lnTo>
                  <a:lnTo>
                    <a:pt x="387774" y="275588"/>
                  </a:lnTo>
                  <a:lnTo>
                    <a:pt x="402773" y="281807"/>
                  </a:lnTo>
                  <a:lnTo>
                    <a:pt x="419357" y="279368"/>
                  </a:lnTo>
                  <a:lnTo>
                    <a:pt x="443867" y="268515"/>
                  </a:lnTo>
                  <a:lnTo>
                    <a:pt x="458378" y="251322"/>
                  </a:lnTo>
                  <a:lnTo>
                    <a:pt x="459720" y="249736"/>
                  </a:lnTo>
                  <a:lnTo>
                    <a:pt x="461671" y="249249"/>
                  </a:lnTo>
                  <a:lnTo>
                    <a:pt x="477645" y="245590"/>
                  </a:lnTo>
                  <a:lnTo>
                    <a:pt x="479962" y="240957"/>
                  </a:lnTo>
                  <a:lnTo>
                    <a:pt x="482401" y="236079"/>
                  </a:lnTo>
                  <a:lnTo>
                    <a:pt x="477158" y="232055"/>
                  </a:lnTo>
                  <a:lnTo>
                    <a:pt x="473743" y="229250"/>
                  </a:lnTo>
                  <a:lnTo>
                    <a:pt x="469353" y="225958"/>
                  </a:lnTo>
                  <a:lnTo>
                    <a:pt x="472280" y="221324"/>
                  </a:lnTo>
                  <a:lnTo>
                    <a:pt x="484596" y="201570"/>
                  </a:lnTo>
                  <a:lnTo>
                    <a:pt x="487035" y="197667"/>
                  </a:lnTo>
                  <a:lnTo>
                    <a:pt x="491425" y="198887"/>
                  </a:lnTo>
                  <a:lnTo>
                    <a:pt x="517520" y="206325"/>
                  </a:lnTo>
                  <a:lnTo>
                    <a:pt x="538494" y="185473"/>
                  </a:lnTo>
                  <a:lnTo>
                    <a:pt x="542762" y="181083"/>
                  </a:lnTo>
                  <a:lnTo>
                    <a:pt x="547030" y="185473"/>
                  </a:lnTo>
                  <a:lnTo>
                    <a:pt x="551298" y="189741"/>
                  </a:lnTo>
                  <a:lnTo>
                    <a:pt x="553981" y="192302"/>
                  </a:lnTo>
                  <a:lnTo>
                    <a:pt x="562273" y="190473"/>
                  </a:lnTo>
                  <a:lnTo>
                    <a:pt x="562638" y="188644"/>
                  </a:lnTo>
                  <a:lnTo>
                    <a:pt x="568370" y="166938"/>
                  </a:lnTo>
                  <a:lnTo>
                    <a:pt x="569223" y="163889"/>
                  </a:lnTo>
                  <a:lnTo>
                    <a:pt x="572150" y="162792"/>
                  </a:lnTo>
                  <a:lnTo>
                    <a:pt x="576296" y="161207"/>
                  </a:lnTo>
                  <a:lnTo>
                    <a:pt x="580930" y="159500"/>
                  </a:lnTo>
                  <a:lnTo>
                    <a:pt x="585320" y="157792"/>
                  </a:lnTo>
                  <a:lnTo>
                    <a:pt x="588124" y="161695"/>
                  </a:lnTo>
                  <a:lnTo>
                    <a:pt x="590929" y="165597"/>
                  </a:lnTo>
                  <a:lnTo>
                    <a:pt x="592514" y="167792"/>
                  </a:lnTo>
                  <a:lnTo>
                    <a:pt x="599343" y="165597"/>
                  </a:lnTo>
                  <a:lnTo>
                    <a:pt x="599099" y="163889"/>
                  </a:lnTo>
                  <a:lnTo>
                    <a:pt x="598611" y="159622"/>
                  </a:lnTo>
                  <a:lnTo>
                    <a:pt x="597880" y="153281"/>
                  </a:lnTo>
                  <a:lnTo>
                    <a:pt x="604221" y="152793"/>
                  </a:lnTo>
                  <a:lnTo>
                    <a:pt x="618610" y="151573"/>
                  </a:lnTo>
                  <a:lnTo>
                    <a:pt x="619829" y="151573"/>
                  </a:lnTo>
                  <a:lnTo>
                    <a:pt x="621049" y="151939"/>
                  </a:lnTo>
                  <a:lnTo>
                    <a:pt x="631535" y="155354"/>
                  </a:lnTo>
                  <a:lnTo>
                    <a:pt x="635803" y="152549"/>
                  </a:lnTo>
                  <a:lnTo>
                    <a:pt x="629097" y="134745"/>
                  </a:lnTo>
                  <a:lnTo>
                    <a:pt x="601172" y="126210"/>
                  </a:lnTo>
                  <a:lnTo>
                    <a:pt x="595319" y="134867"/>
                  </a:lnTo>
                  <a:lnTo>
                    <a:pt x="592270" y="139501"/>
                  </a:lnTo>
                  <a:lnTo>
                    <a:pt x="587393" y="136818"/>
                  </a:lnTo>
                  <a:lnTo>
                    <a:pt x="576296" y="130843"/>
                  </a:lnTo>
                  <a:lnTo>
                    <a:pt x="574955" y="132550"/>
                  </a:lnTo>
                  <a:lnTo>
                    <a:pt x="572516" y="135355"/>
                  </a:lnTo>
                  <a:lnTo>
                    <a:pt x="569101" y="139501"/>
                  </a:lnTo>
                  <a:lnTo>
                    <a:pt x="564590" y="136697"/>
                  </a:lnTo>
                  <a:lnTo>
                    <a:pt x="555932" y="131331"/>
                  </a:lnTo>
                  <a:lnTo>
                    <a:pt x="552639" y="129258"/>
                  </a:lnTo>
                  <a:lnTo>
                    <a:pt x="553127" y="125478"/>
                  </a:lnTo>
                  <a:lnTo>
                    <a:pt x="553249" y="124015"/>
                  </a:lnTo>
                  <a:lnTo>
                    <a:pt x="554346" y="114625"/>
                  </a:lnTo>
                  <a:lnTo>
                    <a:pt x="554590" y="112796"/>
                  </a:lnTo>
                  <a:lnTo>
                    <a:pt x="555810" y="111333"/>
                  </a:lnTo>
                  <a:lnTo>
                    <a:pt x="564590" y="101212"/>
                  </a:lnTo>
                  <a:lnTo>
                    <a:pt x="569223" y="90603"/>
                  </a:lnTo>
                  <a:lnTo>
                    <a:pt x="577515" y="71580"/>
                  </a:lnTo>
                  <a:lnTo>
                    <a:pt x="577759" y="71092"/>
                  </a:lnTo>
                  <a:lnTo>
                    <a:pt x="574101" y="71458"/>
                  </a:lnTo>
                  <a:lnTo>
                    <a:pt x="562517" y="72921"/>
                  </a:lnTo>
                  <a:lnTo>
                    <a:pt x="559956" y="73287"/>
                  </a:lnTo>
                  <a:lnTo>
                    <a:pt x="558005" y="71580"/>
                  </a:lnTo>
                  <a:lnTo>
                    <a:pt x="538860" y="56337"/>
                  </a:lnTo>
                  <a:lnTo>
                    <a:pt x="538250" y="55849"/>
                  </a:lnTo>
                  <a:lnTo>
                    <a:pt x="524959" y="53654"/>
                  </a:lnTo>
                  <a:lnTo>
                    <a:pt x="524105" y="54996"/>
                  </a:lnTo>
                  <a:lnTo>
                    <a:pt x="516667" y="67800"/>
                  </a:lnTo>
                  <a:lnTo>
                    <a:pt x="515935" y="69019"/>
                  </a:lnTo>
                  <a:lnTo>
                    <a:pt x="514715" y="69873"/>
                  </a:lnTo>
                  <a:lnTo>
                    <a:pt x="501302" y="78530"/>
                  </a:lnTo>
                  <a:lnTo>
                    <a:pt x="491547" y="84749"/>
                  </a:lnTo>
                  <a:lnTo>
                    <a:pt x="489961" y="85847"/>
                  </a:lnTo>
                  <a:lnTo>
                    <a:pt x="487888" y="85725"/>
                  </a:lnTo>
                  <a:lnTo>
                    <a:pt x="467768" y="84384"/>
                  </a:lnTo>
                  <a:lnTo>
                    <a:pt x="439477" y="89749"/>
                  </a:lnTo>
                  <a:lnTo>
                    <a:pt x="436673" y="90359"/>
                  </a:lnTo>
                  <a:lnTo>
                    <a:pt x="434478" y="88530"/>
                  </a:lnTo>
                  <a:lnTo>
                    <a:pt x="427283" y="82432"/>
                  </a:lnTo>
                  <a:lnTo>
                    <a:pt x="412285" y="76701"/>
                  </a:lnTo>
                  <a:lnTo>
                    <a:pt x="403139" y="73165"/>
                  </a:lnTo>
                  <a:lnTo>
                    <a:pt x="400700" y="72189"/>
                  </a:lnTo>
                  <a:lnTo>
                    <a:pt x="399725" y="69629"/>
                  </a:lnTo>
                  <a:lnTo>
                    <a:pt x="396432" y="60971"/>
                  </a:lnTo>
                  <a:lnTo>
                    <a:pt x="374117" y="54386"/>
                  </a:lnTo>
                  <a:lnTo>
                    <a:pt x="347168" y="46338"/>
                  </a:lnTo>
                  <a:lnTo>
                    <a:pt x="325706" y="54264"/>
                  </a:lnTo>
                  <a:lnTo>
                    <a:pt x="311561" y="59507"/>
                  </a:lnTo>
                  <a:lnTo>
                    <a:pt x="307293" y="61093"/>
                  </a:lnTo>
                  <a:lnTo>
                    <a:pt x="304610" y="57313"/>
                  </a:lnTo>
                  <a:lnTo>
                    <a:pt x="288758" y="35607"/>
                  </a:lnTo>
                  <a:lnTo>
                    <a:pt x="272295" y="12926"/>
                  </a:lnTo>
                  <a:lnTo>
                    <a:pt x="248029" y="6097"/>
                  </a:lnTo>
                  <a:lnTo>
                    <a:pt x="226689" y="0"/>
                  </a:lnTo>
                  <a:lnTo>
                    <a:pt x="220714" y="8170"/>
                  </a:lnTo>
                  <a:lnTo>
                    <a:pt x="217056" y="13048"/>
                  </a:lnTo>
                  <a:lnTo>
                    <a:pt x="216690" y="13657"/>
                  </a:lnTo>
                  <a:lnTo>
                    <a:pt x="216202" y="14023"/>
                  </a:lnTo>
                  <a:lnTo>
                    <a:pt x="202911" y="26096"/>
                  </a:lnTo>
                  <a:lnTo>
                    <a:pt x="205959" y="32558"/>
                  </a:lnTo>
                  <a:lnTo>
                    <a:pt x="209983" y="41338"/>
                  </a:lnTo>
                  <a:lnTo>
                    <a:pt x="210715" y="42923"/>
                  </a:lnTo>
                  <a:lnTo>
                    <a:pt x="210471" y="44631"/>
                  </a:lnTo>
                  <a:lnTo>
                    <a:pt x="209252" y="538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2" name="Freihandform: Form 831">
              <a:extLst>
                <a:ext uri="{FF2B5EF4-FFF2-40B4-BE49-F238E27FC236}">
                  <a16:creationId xmlns:a16="http://schemas.microsoft.com/office/drawing/2014/main" id="{D404BE11-85C3-4503-A5F8-E334B4B5F931}"/>
                </a:ext>
              </a:extLst>
            </p:cNvPr>
            <p:cNvSpPr/>
            <p:nvPr/>
          </p:nvSpPr>
          <p:spPr>
            <a:xfrm>
              <a:off x="6971323" y="3401466"/>
              <a:ext cx="21705" cy="32680"/>
            </a:xfrm>
            <a:custGeom>
              <a:avLst/>
              <a:gdLst>
                <a:gd name="connsiteX0" fmla="*/ 5121 w 21705"/>
                <a:gd name="connsiteY0" fmla="*/ 25852 h 32680"/>
                <a:gd name="connsiteX1" fmla="*/ 2561 w 21705"/>
                <a:gd name="connsiteY1" fmla="*/ 14755 h 32680"/>
                <a:gd name="connsiteX2" fmla="*/ 19145 w 21705"/>
                <a:gd name="connsiteY2" fmla="*/ 14755 h 32680"/>
                <a:gd name="connsiteX3" fmla="*/ 17438 w 21705"/>
                <a:gd name="connsiteY3" fmla="*/ 12316 h 32680"/>
                <a:gd name="connsiteX4" fmla="*/ 8414 w 21705"/>
                <a:gd name="connsiteY4" fmla="*/ 12316 h 32680"/>
                <a:gd name="connsiteX5" fmla="*/ 12316 w 21705"/>
                <a:gd name="connsiteY5" fmla="*/ 4634 h 32680"/>
                <a:gd name="connsiteX6" fmla="*/ 21340 w 21705"/>
                <a:gd name="connsiteY6" fmla="*/ 1951 h 32680"/>
                <a:gd name="connsiteX7" fmla="*/ 21706 w 21705"/>
                <a:gd name="connsiteY7" fmla="*/ 0 h 32680"/>
                <a:gd name="connsiteX8" fmla="*/ 15486 w 21705"/>
                <a:gd name="connsiteY8" fmla="*/ 0 h 32680"/>
                <a:gd name="connsiteX9" fmla="*/ 0 w 21705"/>
                <a:gd name="connsiteY9" fmla="*/ 13779 h 32680"/>
                <a:gd name="connsiteX10" fmla="*/ 2561 w 21705"/>
                <a:gd name="connsiteY10" fmla="*/ 24510 h 32680"/>
                <a:gd name="connsiteX11" fmla="*/ 7438 w 21705"/>
                <a:gd name="connsiteY11" fmla="*/ 32680 h 32680"/>
                <a:gd name="connsiteX12" fmla="*/ 8414 w 21705"/>
                <a:gd name="connsiteY12" fmla="*/ 32680 h 32680"/>
                <a:gd name="connsiteX13" fmla="*/ 5121 w 21705"/>
                <a:gd name="connsiteY13" fmla="*/ 25852 h 3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705" h="32680">
                  <a:moveTo>
                    <a:pt x="5121" y="25852"/>
                  </a:moveTo>
                  <a:lnTo>
                    <a:pt x="2561" y="14755"/>
                  </a:lnTo>
                  <a:lnTo>
                    <a:pt x="19145" y="14755"/>
                  </a:lnTo>
                  <a:lnTo>
                    <a:pt x="17438" y="12316"/>
                  </a:lnTo>
                  <a:lnTo>
                    <a:pt x="8414" y="12316"/>
                  </a:lnTo>
                  <a:lnTo>
                    <a:pt x="12316" y="4634"/>
                  </a:lnTo>
                  <a:lnTo>
                    <a:pt x="21340" y="1951"/>
                  </a:lnTo>
                  <a:lnTo>
                    <a:pt x="21706" y="0"/>
                  </a:lnTo>
                  <a:lnTo>
                    <a:pt x="15486" y="0"/>
                  </a:lnTo>
                  <a:lnTo>
                    <a:pt x="0" y="13779"/>
                  </a:lnTo>
                  <a:lnTo>
                    <a:pt x="2561" y="24510"/>
                  </a:lnTo>
                  <a:lnTo>
                    <a:pt x="7438" y="32680"/>
                  </a:lnTo>
                  <a:lnTo>
                    <a:pt x="8414" y="32680"/>
                  </a:lnTo>
                  <a:lnTo>
                    <a:pt x="5121" y="2585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3" name="Freihandform: Form 832">
              <a:extLst>
                <a:ext uri="{FF2B5EF4-FFF2-40B4-BE49-F238E27FC236}">
                  <a16:creationId xmlns:a16="http://schemas.microsoft.com/office/drawing/2014/main" id="{9BCCA2CA-A36C-4CEE-B2CB-8F9D601C71DF}"/>
                </a:ext>
              </a:extLst>
            </p:cNvPr>
            <p:cNvSpPr/>
            <p:nvPr/>
          </p:nvSpPr>
          <p:spPr>
            <a:xfrm>
              <a:off x="7063632" y="2708471"/>
              <a:ext cx="41216" cy="31704"/>
            </a:xfrm>
            <a:custGeom>
              <a:avLst/>
              <a:gdLst>
                <a:gd name="connsiteX0" fmla="*/ 14999 w 41216"/>
                <a:gd name="connsiteY0" fmla="*/ 22071 h 31704"/>
                <a:gd name="connsiteX1" fmla="*/ 24023 w 41216"/>
                <a:gd name="connsiteY1" fmla="*/ 13779 h 31704"/>
                <a:gd name="connsiteX2" fmla="*/ 31827 w 41216"/>
                <a:gd name="connsiteY2" fmla="*/ 16828 h 31704"/>
                <a:gd name="connsiteX3" fmla="*/ 37680 w 41216"/>
                <a:gd name="connsiteY3" fmla="*/ 15731 h 31704"/>
                <a:gd name="connsiteX4" fmla="*/ 41216 w 41216"/>
                <a:gd name="connsiteY4" fmla="*/ 3049 h 31704"/>
                <a:gd name="connsiteX5" fmla="*/ 35485 w 41216"/>
                <a:gd name="connsiteY5" fmla="*/ 0 h 31704"/>
                <a:gd name="connsiteX6" fmla="*/ 29144 w 41216"/>
                <a:gd name="connsiteY6" fmla="*/ 1097 h 31704"/>
                <a:gd name="connsiteX7" fmla="*/ 19877 w 41216"/>
                <a:gd name="connsiteY7" fmla="*/ 11097 h 31704"/>
                <a:gd name="connsiteX8" fmla="*/ 5731 w 41216"/>
                <a:gd name="connsiteY8" fmla="*/ 13170 h 31704"/>
                <a:gd name="connsiteX9" fmla="*/ 0 w 41216"/>
                <a:gd name="connsiteY9" fmla="*/ 18901 h 31704"/>
                <a:gd name="connsiteX10" fmla="*/ 4024 w 41216"/>
                <a:gd name="connsiteY10" fmla="*/ 31705 h 31704"/>
                <a:gd name="connsiteX11" fmla="*/ 10975 w 41216"/>
                <a:gd name="connsiteY11" fmla="*/ 31217 h 31704"/>
                <a:gd name="connsiteX12" fmla="*/ 14999 w 41216"/>
                <a:gd name="connsiteY12" fmla="*/ 22071 h 3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216" h="31704">
                  <a:moveTo>
                    <a:pt x="14999" y="22071"/>
                  </a:moveTo>
                  <a:lnTo>
                    <a:pt x="24023" y="13779"/>
                  </a:lnTo>
                  <a:lnTo>
                    <a:pt x="31827" y="16828"/>
                  </a:lnTo>
                  <a:lnTo>
                    <a:pt x="37680" y="15731"/>
                  </a:lnTo>
                  <a:lnTo>
                    <a:pt x="41216" y="3049"/>
                  </a:lnTo>
                  <a:lnTo>
                    <a:pt x="35485" y="0"/>
                  </a:lnTo>
                  <a:lnTo>
                    <a:pt x="29144" y="1097"/>
                  </a:lnTo>
                  <a:lnTo>
                    <a:pt x="19877" y="11097"/>
                  </a:lnTo>
                  <a:lnTo>
                    <a:pt x="5731" y="13170"/>
                  </a:lnTo>
                  <a:lnTo>
                    <a:pt x="0" y="18901"/>
                  </a:lnTo>
                  <a:lnTo>
                    <a:pt x="4024" y="31705"/>
                  </a:lnTo>
                  <a:lnTo>
                    <a:pt x="10975" y="31217"/>
                  </a:lnTo>
                  <a:lnTo>
                    <a:pt x="14999" y="2207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4" name="Freihandform: Form 833">
              <a:extLst>
                <a:ext uri="{FF2B5EF4-FFF2-40B4-BE49-F238E27FC236}">
                  <a16:creationId xmlns:a16="http://schemas.microsoft.com/office/drawing/2014/main" id="{D844D6B8-2239-4E60-B7B2-9E764EB4B814}"/>
                </a:ext>
              </a:extLst>
            </p:cNvPr>
            <p:cNvSpPr/>
            <p:nvPr/>
          </p:nvSpPr>
          <p:spPr>
            <a:xfrm>
              <a:off x="6969493" y="3393417"/>
              <a:ext cx="1951" cy="7926"/>
            </a:xfrm>
            <a:custGeom>
              <a:avLst/>
              <a:gdLst>
                <a:gd name="connsiteX0" fmla="*/ 0 w 1951"/>
                <a:gd name="connsiteY0" fmla="*/ 122 h 7926"/>
                <a:gd name="connsiteX1" fmla="*/ 976 w 1951"/>
                <a:gd name="connsiteY1" fmla="*/ 7926 h 7926"/>
                <a:gd name="connsiteX2" fmla="*/ 1951 w 1951"/>
                <a:gd name="connsiteY2" fmla="*/ 6463 h 7926"/>
                <a:gd name="connsiteX3" fmla="*/ 732 w 1951"/>
                <a:gd name="connsiteY3" fmla="*/ 0 h 7926"/>
                <a:gd name="connsiteX4" fmla="*/ 0 w 1951"/>
                <a:gd name="connsiteY4" fmla="*/ 122 h 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" h="7926">
                  <a:moveTo>
                    <a:pt x="0" y="122"/>
                  </a:moveTo>
                  <a:lnTo>
                    <a:pt x="976" y="7926"/>
                  </a:lnTo>
                  <a:lnTo>
                    <a:pt x="1951" y="6463"/>
                  </a:lnTo>
                  <a:lnTo>
                    <a:pt x="732" y="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5" name="Freihandform: Form 834">
              <a:extLst>
                <a:ext uri="{FF2B5EF4-FFF2-40B4-BE49-F238E27FC236}">
                  <a16:creationId xmlns:a16="http://schemas.microsoft.com/office/drawing/2014/main" id="{4C782B1A-BC9C-4268-9C78-7432E4FD87EA}"/>
                </a:ext>
              </a:extLst>
            </p:cNvPr>
            <p:cNvSpPr/>
            <p:nvPr/>
          </p:nvSpPr>
          <p:spPr>
            <a:xfrm>
              <a:off x="6965835" y="3434390"/>
              <a:ext cx="5121" cy="5609"/>
            </a:xfrm>
            <a:custGeom>
              <a:avLst/>
              <a:gdLst>
                <a:gd name="connsiteX0" fmla="*/ 5122 w 5121"/>
                <a:gd name="connsiteY0" fmla="*/ 4878 h 5609"/>
                <a:gd name="connsiteX1" fmla="*/ 3414 w 5121"/>
                <a:gd name="connsiteY1" fmla="*/ 3171 h 5609"/>
                <a:gd name="connsiteX2" fmla="*/ 854 w 5121"/>
                <a:gd name="connsiteY2" fmla="*/ 0 h 5609"/>
                <a:gd name="connsiteX3" fmla="*/ 0 w 5121"/>
                <a:gd name="connsiteY3" fmla="*/ 732 h 5609"/>
                <a:gd name="connsiteX4" fmla="*/ 1097 w 5121"/>
                <a:gd name="connsiteY4" fmla="*/ 3292 h 5609"/>
                <a:gd name="connsiteX5" fmla="*/ 4634 w 5121"/>
                <a:gd name="connsiteY5" fmla="*/ 5609 h 5609"/>
                <a:gd name="connsiteX6" fmla="*/ 5122 w 5121"/>
                <a:gd name="connsiteY6" fmla="*/ 4878 h 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21" h="5609">
                  <a:moveTo>
                    <a:pt x="5122" y="4878"/>
                  </a:moveTo>
                  <a:lnTo>
                    <a:pt x="3414" y="3171"/>
                  </a:lnTo>
                  <a:lnTo>
                    <a:pt x="854" y="0"/>
                  </a:lnTo>
                  <a:lnTo>
                    <a:pt x="0" y="732"/>
                  </a:lnTo>
                  <a:lnTo>
                    <a:pt x="1097" y="3292"/>
                  </a:lnTo>
                  <a:lnTo>
                    <a:pt x="4634" y="5609"/>
                  </a:lnTo>
                  <a:lnTo>
                    <a:pt x="5122" y="487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6" name="Freihandform: Form 835">
              <a:extLst>
                <a:ext uri="{FF2B5EF4-FFF2-40B4-BE49-F238E27FC236}">
                  <a16:creationId xmlns:a16="http://schemas.microsoft.com/office/drawing/2014/main" id="{BD9382C9-37AA-48CA-A1A8-8E39F7CBABA7}"/>
                </a:ext>
              </a:extLst>
            </p:cNvPr>
            <p:cNvSpPr/>
            <p:nvPr/>
          </p:nvSpPr>
          <p:spPr>
            <a:xfrm>
              <a:off x="6944130" y="2725787"/>
              <a:ext cx="8779" cy="3170"/>
            </a:xfrm>
            <a:custGeom>
              <a:avLst/>
              <a:gdLst>
                <a:gd name="connsiteX0" fmla="*/ 8780 w 8779"/>
                <a:gd name="connsiteY0" fmla="*/ 976 h 3170"/>
                <a:gd name="connsiteX1" fmla="*/ 7560 w 8779"/>
                <a:gd name="connsiteY1" fmla="*/ 0 h 3170"/>
                <a:gd name="connsiteX2" fmla="*/ 2805 w 8779"/>
                <a:gd name="connsiteY2" fmla="*/ 2317 h 3170"/>
                <a:gd name="connsiteX3" fmla="*/ 0 w 8779"/>
                <a:gd name="connsiteY3" fmla="*/ 3049 h 3170"/>
                <a:gd name="connsiteX4" fmla="*/ 122 w 8779"/>
                <a:gd name="connsiteY4" fmla="*/ 3171 h 3170"/>
                <a:gd name="connsiteX5" fmla="*/ 6341 w 8779"/>
                <a:gd name="connsiteY5" fmla="*/ 3171 h 3170"/>
                <a:gd name="connsiteX6" fmla="*/ 8780 w 8779"/>
                <a:gd name="connsiteY6" fmla="*/ 976 h 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79" h="3170">
                  <a:moveTo>
                    <a:pt x="8780" y="976"/>
                  </a:moveTo>
                  <a:lnTo>
                    <a:pt x="7560" y="0"/>
                  </a:lnTo>
                  <a:lnTo>
                    <a:pt x="2805" y="2317"/>
                  </a:lnTo>
                  <a:lnTo>
                    <a:pt x="0" y="3049"/>
                  </a:lnTo>
                  <a:lnTo>
                    <a:pt x="122" y="3171"/>
                  </a:lnTo>
                  <a:lnTo>
                    <a:pt x="6341" y="3171"/>
                  </a:lnTo>
                  <a:lnTo>
                    <a:pt x="8780" y="97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7" name="Freihandform: Form 836">
              <a:extLst>
                <a:ext uri="{FF2B5EF4-FFF2-40B4-BE49-F238E27FC236}">
                  <a16:creationId xmlns:a16="http://schemas.microsoft.com/office/drawing/2014/main" id="{9F925A7B-E920-47CC-A584-F0EE6B88CEEB}"/>
                </a:ext>
              </a:extLst>
            </p:cNvPr>
            <p:cNvSpPr/>
            <p:nvPr/>
          </p:nvSpPr>
          <p:spPr>
            <a:xfrm>
              <a:off x="6905962" y="3207822"/>
              <a:ext cx="11950" cy="14389"/>
            </a:xfrm>
            <a:custGeom>
              <a:avLst/>
              <a:gdLst>
                <a:gd name="connsiteX0" fmla="*/ 6463 w 11950"/>
                <a:gd name="connsiteY0" fmla="*/ 6341 h 14389"/>
                <a:gd name="connsiteX1" fmla="*/ 7317 w 11950"/>
                <a:gd name="connsiteY1" fmla="*/ 14389 h 14389"/>
                <a:gd name="connsiteX2" fmla="*/ 11950 w 11950"/>
                <a:gd name="connsiteY2" fmla="*/ 14023 h 14389"/>
                <a:gd name="connsiteX3" fmla="*/ 10121 w 11950"/>
                <a:gd name="connsiteY3" fmla="*/ 8292 h 14389"/>
                <a:gd name="connsiteX4" fmla="*/ 4268 w 11950"/>
                <a:gd name="connsiteY4" fmla="*/ 0 h 14389"/>
                <a:gd name="connsiteX5" fmla="*/ 0 w 11950"/>
                <a:gd name="connsiteY5" fmla="*/ 0 h 14389"/>
                <a:gd name="connsiteX6" fmla="*/ 6463 w 11950"/>
                <a:gd name="connsiteY6" fmla="*/ 6341 h 1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50" h="14389">
                  <a:moveTo>
                    <a:pt x="6463" y="6341"/>
                  </a:moveTo>
                  <a:lnTo>
                    <a:pt x="7317" y="14389"/>
                  </a:lnTo>
                  <a:lnTo>
                    <a:pt x="11950" y="14023"/>
                  </a:lnTo>
                  <a:lnTo>
                    <a:pt x="10121" y="8292"/>
                  </a:lnTo>
                  <a:lnTo>
                    <a:pt x="4268" y="0"/>
                  </a:lnTo>
                  <a:lnTo>
                    <a:pt x="0" y="0"/>
                  </a:lnTo>
                  <a:lnTo>
                    <a:pt x="6463" y="6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8" name="Freihandform: Form 837">
              <a:extLst>
                <a:ext uri="{FF2B5EF4-FFF2-40B4-BE49-F238E27FC236}">
                  <a16:creationId xmlns:a16="http://schemas.microsoft.com/office/drawing/2014/main" id="{A0BAF8D0-F3C7-4B11-BFC1-CA98A2CA1735}"/>
                </a:ext>
              </a:extLst>
            </p:cNvPr>
            <p:cNvSpPr/>
            <p:nvPr/>
          </p:nvSpPr>
          <p:spPr>
            <a:xfrm>
              <a:off x="6941447" y="2603236"/>
              <a:ext cx="61336" cy="100358"/>
            </a:xfrm>
            <a:custGeom>
              <a:avLst/>
              <a:gdLst>
                <a:gd name="connsiteX0" fmla="*/ 55971 w 61336"/>
                <a:gd name="connsiteY0" fmla="*/ 78774 h 100358"/>
                <a:gd name="connsiteX1" fmla="*/ 61337 w 61336"/>
                <a:gd name="connsiteY1" fmla="*/ 64507 h 100358"/>
                <a:gd name="connsiteX2" fmla="*/ 55727 w 61336"/>
                <a:gd name="connsiteY2" fmla="*/ 40119 h 100358"/>
                <a:gd name="connsiteX3" fmla="*/ 55727 w 61336"/>
                <a:gd name="connsiteY3" fmla="*/ 26461 h 100358"/>
                <a:gd name="connsiteX4" fmla="*/ 45484 w 61336"/>
                <a:gd name="connsiteY4" fmla="*/ 6829 h 100358"/>
                <a:gd name="connsiteX5" fmla="*/ 42923 w 61336"/>
                <a:gd name="connsiteY5" fmla="*/ 0 h 100358"/>
                <a:gd name="connsiteX6" fmla="*/ 40485 w 61336"/>
                <a:gd name="connsiteY6" fmla="*/ 610 h 100358"/>
                <a:gd name="connsiteX7" fmla="*/ 28046 w 61336"/>
                <a:gd name="connsiteY7" fmla="*/ 3902 h 100358"/>
                <a:gd name="connsiteX8" fmla="*/ 14389 w 61336"/>
                <a:gd name="connsiteY8" fmla="*/ 7317 h 100358"/>
                <a:gd name="connsiteX9" fmla="*/ 2317 w 61336"/>
                <a:gd name="connsiteY9" fmla="*/ 20486 h 100358"/>
                <a:gd name="connsiteX10" fmla="*/ 8048 w 61336"/>
                <a:gd name="connsiteY10" fmla="*/ 24998 h 100358"/>
                <a:gd name="connsiteX11" fmla="*/ 6951 w 61336"/>
                <a:gd name="connsiteY11" fmla="*/ 37436 h 100358"/>
                <a:gd name="connsiteX12" fmla="*/ 1707 w 61336"/>
                <a:gd name="connsiteY12" fmla="*/ 41826 h 100358"/>
                <a:gd name="connsiteX13" fmla="*/ 4146 w 61336"/>
                <a:gd name="connsiteY13" fmla="*/ 49265 h 100358"/>
                <a:gd name="connsiteX14" fmla="*/ 7073 w 61336"/>
                <a:gd name="connsiteY14" fmla="*/ 66702 h 100358"/>
                <a:gd name="connsiteX15" fmla="*/ 5122 w 61336"/>
                <a:gd name="connsiteY15" fmla="*/ 75482 h 100358"/>
                <a:gd name="connsiteX16" fmla="*/ 4024 w 61336"/>
                <a:gd name="connsiteY16" fmla="*/ 86457 h 100358"/>
                <a:gd name="connsiteX17" fmla="*/ 0 w 61336"/>
                <a:gd name="connsiteY17" fmla="*/ 90481 h 100358"/>
                <a:gd name="connsiteX18" fmla="*/ 6097 w 61336"/>
                <a:gd name="connsiteY18" fmla="*/ 100358 h 100358"/>
                <a:gd name="connsiteX19" fmla="*/ 11828 w 61336"/>
                <a:gd name="connsiteY19" fmla="*/ 100358 h 100358"/>
                <a:gd name="connsiteX20" fmla="*/ 17438 w 61336"/>
                <a:gd name="connsiteY20" fmla="*/ 96700 h 100358"/>
                <a:gd name="connsiteX21" fmla="*/ 31095 w 61336"/>
                <a:gd name="connsiteY21" fmla="*/ 91944 h 100358"/>
                <a:gd name="connsiteX22" fmla="*/ 39021 w 61336"/>
                <a:gd name="connsiteY22" fmla="*/ 91090 h 100358"/>
                <a:gd name="connsiteX23" fmla="*/ 45362 w 61336"/>
                <a:gd name="connsiteY23" fmla="*/ 85481 h 100358"/>
                <a:gd name="connsiteX24" fmla="*/ 52801 w 61336"/>
                <a:gd name="connsiteY24" fmla="*/ 82798 h 100358"/>
                <a:gd name="connsiteX25" fmla="*/ 55971 w 61336"/>
                <a:gd name="connsiteY25" fmla="*/ 78774 h 10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1336" h="100358">
                  <a:moveTo>
                    <a:pt x="55971" y="78774"/>
                  </a:moveTo>
                  <a:lnTo>
                    <a:pt x="61337" y="64507"/>
                  </a:lnTo>
                  <a:lnTo>
                    <a:pt x="55727" y="40119"/>
                  </a:lnTo>
                  <a:lnTo>
                    <a:pt x="55727" y="26461"/>
                  </a:lnTo>
                  <a:lnTo>
                    <a:pt x="45484" y="6829"/>
                  </a:lnTo>
                  <a:lnTo>
                    <a:pt x="42923" y="0"/>
                  </a:lnTo>
                  <a:lnTo>
                    <a:pt x="40485" y="610"/>
                  </a:lnTo>
                  <a:lnTo>
                    <a:pt x="28046" y="3902"/>
                  </a:lnTo>
                  <a:lnTo>
                    <a:pt x="14389" y="7317"/>
                  </a:lnTo>
                  <a:lnTo>
                    <a:pt x="2317" y="20486"/>
                  </a:lnTo>
                  <a:lnTo>
                    <a:pt x="8048" y="24998"/>
                  </a:lnTo>
                  <a:lnTo>
                    <a:pt x="6951" y="37436"/>
                  </a:lnTo>
                  <a:lnTo>
                    <a:pt x="1707" y="41826"/>
                  </a:lnTo>
                  <a:lnTo>
                    <a:pt x="4146" y="49265"/>
                  </a:lnTo>
                  <a:lnTo>
                    <a:pt x="7073" y="66702"/>
                  </a:lnTo>
                  <a:lnTo>
                    <a:pt x="5122" y="75482"/>
                  </a:lnTo>
                  <a:lnTo>
                    <a:pt x="4024" y="86457"/>
                  </a:lnTo>
                  <a:lnTo>
                    <a:pt x="0" y="90481"/>
                  </a:lnTo>
                  <a:lnTo>
                    <a:pt x="6097" y="100358"/>
                  </a:lnTo>
                  <a:lnTo>
                    <a:pt x="11828" y="100358"/>
                  </a:lnTo>
                  <a:lnTo>
                    <a:pt x="17438" y="96700"/>
                  </a:lnTo>
                  <a:lnTo>
                    <a:pt x="31095" y="91944"/>
                  </a:lnTo>
                  <a:lnTo>
                    <a:pt x="39021" y="91090"/>
                  </a:lnTo>
                  <a:lnTo>
                    <a:pt x="45362" y="85481"/>
                  </a:lnTo>
                  <a:lnTo>
                    <a:pt x="52801" y="82798"/>
                  </a:lnTo>
                  <a:lnTo>
                    <a:pt x="55971" y="7877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39" name="Freihandform: Form 838">
              <a:extLst>
                <a:ext uri="{FF2B5EF4-FFF2-40B4-BE49-F238E27FC236}">
                  <a16:creationId xmlns:a16="http://schemas.microsoft.com/office/drawing/2014/main" id="{EA20FC9B-AA8A-4BF6-965F-EE54888F47E1}"/>
                </a:ext>
              </a:extLst>
            </p:cNvPr>
            <p:cNvSpPr/>
            <p:nvPr/>
          </p:nvSpPr>
          <p:spPr>
            <a:xfrm>
              <a:off x="6907791" y="3181361"/>
              <a:ext cx="17437" cy="20973"/>
            </a:xfrm>
            <a:custGeom>
              <a:avLst/>
              <a:gdLst>
                <a:gd name="connsiteX0" fmla="*/ 0 w 17437"/>
                <a:gd name="connsiteY0" fmla="*/ 1341 h 20973"/>
                <a:gd name="connsiteX1" fmla="*/ 0 w 17437"/>
                <a:gd name="connsiteY1" fmla="*/ 2561 h 20973"/>
                <a:gd name="connsiteX2" fmla="*/ 7195 w 17437"/>
                <a:gd name="connsiteY2" fmla="*/ 8902 h 20973"/>
                <a:gd name="connsiteX3" fmla="*/ 10853 w 17437"/>
                <a:gd name="connsiteY3" fmla="*/ 18047 h 20973"/>
                <a:gd name="connsiteX4" fmla="*/ 15974 w 17437"/>
                <a:gd name="connsiteY4" fmla="*/ 20974 h 20973"/>
                <a:gd name="connsiteX5" fmla="*/ 17438 w 17437"/>
                <a:gd name="connsiteY5" fmla="*/ 9755 h 20973"/>
                <a:gd name="connsiteX6" fmla="*/ 12560 w 17437"/>
                <a:gd name="connsiteY6" fmla="*/ 2439 h 20973"/>
                <a:gd name="connsiteX7" fmla="*/ 4512 w 17437"/>
                <a:gd name="connsiteY7" fmla="*/ 0 h 20973"/>
                <a:gd name="connsiteX8" fmla="*/ 0 w 17437"/>
                <a:gd name="connsiteY8" fmla="*/ 1341 h 2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37" h="20973">
                  <a:moveTo>
                    <a:pt x="0" y="1341"/>
                  </a:moveTo>
                  <a:lnTo>
                    <a:pt x="0" y="2561"/>
                  </a:lnTo>
                  <a:lnTo>
                    <a:pt x="7195" y="8902"/>
                  </a:lnTo>
                  <a:lnTo>
                    <a:pt x="10853" y="18047"/>
                  </a:lnTo>
                  <a:lnTo>
                    <a:pt x="15974" y="20974"/>
                  </a:lnTo>
                  <a:lnTo>
                    <a:pt x="17438" y="9755"/>
                  </a:lnTo>
                  <a:lnTo>
                    <a:pt x="12560" y="2439"/>
                  </a:lnTo>
                  <a:lnTo>
                    <a:pt x="4512" y="0"/>
                  </a:lnTo>
                  <a:lnTo>
                    <a:pt x="0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0" name="Freihandform: Form 839">
              <a:extLst>
                <a:ext uri="{FF2B5EF4-FFF2-40B4-BE49-F238E27FC236}">
                  <a16:creationId xmlns:a16="http://schemas.microsoft.com/office/drawing/2014/main" id="{7EC4185E-9D73-440D-95CB-57D16469EB8E}"/>
                </a:ext>
              </a:extLst>
            </p:cNvPr>
            <p:cNvSpPr/>
            <p:nvPr/>
          </p:nvSpPr>
          <p:spPr>
            <a:xfrm>
              <a:off x="6951812" y="3337080"/>
              <a:ext cx="3414" cy="5731"/>
            </a:xfrm>
            <a:custGeom>
              <a:avLst/>
              <a:gdLst>
                <a:gd name="connsiteX0" fmla="*/ 1341 w 3414"/>
                <a:gd name="connsiteY0" fmla="*/ 5122 h 5731"/>
                <a:gd name="connsiteX1" fmla="*/ 3414 w 3414"/>
                <a:gd name="connsiteY1" fmla="*/ 244 h 5731"/>
                <a:gd name="connsiteX2" fmla="*/ 3171 w 3414"/>
                <a:gd name="connsiteY2" fmla="*/ 0 h 5731"/>
                <a:gd name="connsiteX3" fmla="*/ 0 w 3414"/>
                <a:gd name="connsiteY3" fmla="*/ 5243 h 5731"/>
                <a:gd name="connsiteX4" fmla="*/ 488 w 3414"/>
                <a:gd name="connsiteY4" fmla="*/ 5731 h 5731"/>
                <a:gd name="connsiteX5" fmla="*/ 1341 w 3414"/>
                <a:gd name="connsiteY5" fmla="*/ 5122 h 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14" h="5731">
                  <a:moveTo>
                    <a:pt x="1341" y="5122"/>
                  </a:moveTo>
                  <a:lnTo>
                    <a:pt x="3414" y="244"/>
                  </a:lnTo>
                  <a:lnTo>
                    <a:pt x="3171" y="0"/>
                  </a:lnTo>
                  <a:lnTo>
                    <a:pt x="0" y="5243"/>
                  </a:lnTo>
                  <a:lnTo>
                    <a:pt x="488" y="5731"/>
                  </a:lnTo>
                  <a:lnTo>
                    <a:pt x="1341" y="5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1" name="Freihandform: Form 840">
              <a:extLst>
                <a:ext uri="{FF2B5EF4-FFF2-40B4-BE49-F238E27FC236}">
                  <a16:creationId xmlns:a16="http://schemas.microsoft.com/office/drawing/2014/main" id="{8CB08CB5-D581-4FE3-A6BB-734D646CB061}"/>
                </a:ext>
              </a:extLst>
            </p:cNvPr>
            <p:cNvSpPr/>
            <p:nvPr/>
          </p:nvSpPr>
          <p:spPr>
            <a:xfrm>
              <a:off x="6996686" y="2843948"/>
              <a:ext cx="10121" cy="5243"/>
            </a:xfrm>
            <a:custGeom>
              <a:avLst/>
              <a:gdLst>
                <a:gd name="connsiteX0" fmla="*/ 10121 w 10121"/>
                <a:gd name="connsiteY0" fmla="*/ 0 h 5243"/>
                <a:gd name="connsiteX1" fmla="*/ 5243 w 10121"/>
                <a:gd name="connsiteY1" fmla="*/ 0 h 5243"/>
                <a:gd name="connsiteX2" fmla="*/ 0 w 10121"/>
                <a:gd name="connsiteY2" fmla="*/ 5000 h 5243"/>
                <a:gd name="connsiteX3" fmla="*/ 0 w 10121"/>
                <a:gd name="connsiteY3" fmla="*/ 5244 h 5243"/>
                <a:gd name="connsiteX4" fmla="*/ 6219 w 10121"/>
                <a:gd name="connsiteY4" fmla="*/ 5244 h 5243"/>
                <a:gd name="connsiteX5" fmla="*/ 10121 w 10121"/>
                <a:gd name="connsiteY5" fmla="*/ 0 h 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21" h="5243">
                  <a:moveTo>
                    <a:pt x="10121" y="0"/>
                  </a:moveTo>
                  <a:lnTo>
                    <a:pt x="5243" y="0"/>
                  </a:lnTo>
                  <a:lnTo>
                    <a:pt x="0" y="5000"/>
                  </a:lnTo>
                  <a:lnTo>
                    <a:pt x="0" y="5244"/>
                  </a:lnTo>
                  <a:lnTo>
                    <a:pt x="6219" y="5244"/>
                  </a:lnTo>
                  <a:lnTo>
                    <a:pt x="10121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2" name="Freihandform: Form 841">
              <a:extLst>
                <a:ext uri="{FF2B5EF4-FFF2-40B4-BE49-F238E27FC236}">
                  <a16:creationId xmlns:a16="http://schemas.microsoft.com/office/drawing/2014/main" id="{155B2276-1478-4974-A66F-DB4FB8DEF094}"/>
                </a:ext>
              </a:extLst>
            </p:cNvPr>
            <p:cNvSpPr/>
            <p:nvPr/>
          </p:nvSpPr>
          <p:spPr>
            <a:xfrm>
              <a:off x="6994614" y="2858703"/>
              <a:ext cx="2926" cy="1585"/>
            </a:xfrm>
            <a:custGeom>
              <a:avLst/>
              <a:gdLst>
                <a:gd name="connsiteX0" fmla="*/ 2926 w 2926"/>
                <a:gd name="connsiteY0" fmla="*/ 975 h 1585"/>
                <a:gd name="connsiteX1" fmla="*/ 2683 w 2926"/>
                <a:gd name="connsiteY1" fmla="*/ 0 h 1585"/>
                <a:gd name="connsiteX2" fmla="*/ 487 w 2926"/>
                <a:gd name="connsiteY2" fmla="*/ 244 h 1585"/>
                <a:gd name="connsiteX3" fmla="*/ 0 w 2926"/>
                <a:gd name="connsiteY3" fmla="*/ 853 h 1585"/>
                <a:gd name="connsiteX4" fmla="*/ 975 w 2926"/>
                <a:gd name="connsiteY4" fmla="*/ 1585 h 1585"/>
                <a:gd name="connsiteX5" fmla="*/ 2926 w 2926"/>
                <a:gd name="connsiteY5" fmla="*/ 975 h 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6" h="1585">
                  <a:moveTo>
                    <a:pt x="2926" y="975"/>
                  </a:moveTo>
                  <a:lnTo>
                    <a:pt x="2683" y="0"/>
                  </a:lnTo>
                  <a:lnTo>
                    <a:pt x="487" y="244"/>
                  </a:lnTo>
                  <a:lnTo>
                    <a:pt x="0" y="853"/>
                  </a:lnTo>
                  <a:lnTo>
                    <a:pt x="975" y="1585"/>
                  </a:lnTo>
                  <a:lnTo>
                    <a:pt x="2926" y="9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3" name="Freihandform: Form 842">
              <a:extLst>
                <a:ext uri="{FF2B5EF4-FFF2-40B4-BE49-F238E27FC236}">
                  <a16:creationId xmlns:a16="http://schemas.microsoft.com/office/drawing/2014/main" id="{3D72D1A9-843D-4B3C-A0D2-0679A9110D47}"/>
                </a:ext>
              </a:extLst>
            </p:cNvPr>
            <p:cNvSpPr/>
            <p:nvPr/>
          </p:nvSpPr>
          <p:spPr>
            <a:xfrm>
              <a:off x="7023148" y="2801513"/>
              <a:ext cx="1585" cy="975"/>
            </a:xfrm>
            <a:custGeom>
              <a:avLst/>
              <a:gdLst>
                <a:gd name="connsiteX0" fmla="*/ 1585 w 1585"/>
                <a:gd name="connsiteY0" fmla="*/ 122 h 975"/>
                <a:gd name="connsiteX1" fmla="*/ 1219 w 1585"/>
                <a:gd name="connsiteY1" fmla="*/ 0 h 975"/>
                <a:gd name="connsiteX2" fmla="*/ 0 w 1585"/>
                <a:gd name="connsiteY2" fmla="*/ 732 h 975"/>
                <a:gd name="connsiteX3" fmla="*/ 0 w 1585"/>
                <a:gd name="connsiteY3" fmla="*/ 976 h 975"/>
                <a:gd name="connsiteX4" fmla="*/ 1463 w 1585"/>
                <a:gd name="connsiteY4" fmla="*/ 244 h 975"/>
                <a:gd name="connsiteX5" fmla="*/ 1585 w 1585"/>
                <a:gd name="connsiteY5" fmla="*/ 122 h 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5" h="975">
                  <a:moveTo>
                    <a:pt x="1585" y="122"/>
                  </a:moveTo>
                  <a:lnTo>
                    <a:pt x="1219" y="0"/>
                  </a:lnTo>
                  <a:lnTo>
                    <a:pt x="0" y="732"/>
                  </a:lnTo>
                  <a:lnTo>
                    <a:pt x="0" y="976"/>
                  </a:lnTo>
                  <a:lnTo>
                    <a:pt x="1463" y="244"/>
                  </a:lnTo>
                  <a:lnTo>
                    <a:pt x="1585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4" name="Freihandform: Form 843">
              <a:extLst>
                <a:ext uri="{FF2B5EF4-FFF2-40B4-BE49-F238E27FC236}">
                  <a16:creationId xmlns:a16="http://schemas.microsoft.com/office/drawing/2014/main" id="{BB0CEE9C-BF42-4D04-AA33-3B376449A3DB}"/>
                </a:ext>
              </a:extLst>
            </p:cNvPr>
            <p:cNvSpPr/>
            <p:nvPr/>
          </p:nvSpPr>
          <p:spPr>
            <a:xfrm>
              <a:off x="6858527" y="3145388"/>
              <a:ext cx="39508" cy="27192"/>
            </a:xfrm>
            <a:custGeom>
              <a:avLst/>
              <a:gdLst>
                <a:gd name="connsiteX0" fmla="*/ 10853 w 39508"/>
                <a:gd name="connsiteY0" fmla="*/ 7926 h 27192"/>
                <a:gd name="connsiteX1" fmla="*/ 22803 w 39508"/>
                <a:gd name="connsiteY1" fmla="*/ 18901 h 27192"/>
                <a:gd name="connsiteX2" fmla="*/ 38655 w 39508"/>
                <a:gd name="connsiteY2" fmla="*/ 27193 h 27192"/>
                <a:gd name="connsiteX3" fmla="*/ 39509 w 39508"/>
                <a:gd name="connsiteY3" fmla="*/ 25364 h 27192"/>
                <a:gd name="connsiteX4" fmla="*/ 34021 w 39508"/>
                <a:gd name="connsiteY4" fmla="*/ 23047 h 27192"/>
                <a:gd name="connsiteX5" fmla="*/ 30973 w 39508"/>
                <a:gd name="connsiteY5" fmla="*/ 10121 h 27192"/>
                <a:gd name="connsiteX6" fmla="*/ 25852 w 39508"/>
                <a:gd name="connsiteY6" fmla="*/ 3536 h 27192"/>
                <a:gd name="connsiteX7" fmla="*/ 18291 w 39508"/>
                <a:gd name="connsiteY7" fmla="*/ 8170 h 27192"/>
                <a:gd name="connsiteX8" fmla="*/ 11218 w 39508"/>
                <a:gd name="connsiteY8" fmla="*/ 0 h 27192"/>
                <a:gd name="connsiteX9" fmla="*/ 5365 w 39508"/>
                <a:gd name="connsiteY9" fmla="*/ 0 h 27192"/>
                <a:gd name="connsiteX10" fmla="*/ 0 w 39508"/>
                <a:gd name="connsiteY10" fmla="*/ 4756 h 27192"/>
                <a:gd name="connsiteX11" fmla="*/ 7195 w 39508"/>
                <a:gd name="connsiteY11" fmla="*/ 13292 h 27192"/>
                <a:gd name="connsiteX12" fmla="*/ 10853 w 39508"/>
                <a:gd name="connsiteY12" fmla="*/ 7926 h 2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508" h="27192">
                  <a:moveTo>
                    <a:pt x="10853" y="7926"/>
                  </a:moveTo>
                  <a:lnTo>
                    <a:pt x="22803" y="18901"/>
                  </a:lnTo>
                  <a:lnTo>
                    <a:pt x="38655" y="27193"/>
                  </a:lnTo>
                  <a:lnTo>
                    <a:pt x="39509" y="25364"/>
                  </a:lnTo>
                  <a:lnTo>
                    <a:pt x="34021" y="23047"/>
                  </a:lnTo>
                  <a:lnTo>
                    <a:pt x="30973" y="10121"/>
                  </a:lnTo>
                  <a:lnTo>
                    <a:pt x="25852" y="3536"/>
                  </a:lnTo>
                  <a:lnTo>
                    <a:pt x="18291" y="8170"/>
                  </a:lnTo>
                  <a:lnTo>
                    <a:pt x="11218" y="0"/>
                  </a:lnTo>
                  <a:lnTo>
                    <a:pt x="5365" y="0"/>
                  </a:lnTo>
                  <a:lnTo>
                    <a:pt x="0" y="4756"/>
                  </a:lnTo>
                  <a:lnTo>
                    <a:pt x="7195" y="13292"/>
                  </a:lnTo>
                  <a:lnTo>
                    <a:pt x="10853" y="7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5" name="Freihandform: Form 844">
              <a:extLst>
                <a:ext uri="{FF2B5EF4-FFF2-40B4-BE49-F238E27FC236}">
                  <a16:creationId xmlns:a16="http://schemas.microsoft.com/office/drawing/2014/main" id="{910A0A9D-6B5C-44BF-8D5F-219CD29404AE}"/>
                </a:ext>
              </a:extLst>
            </p:cNvPr>
            <p:cNvSpPr/>
            <p:nvPr/>
          </p:nvSpPr>
          <p:spPr>
            <a:xfrm>
              <a:off x="5330111" y="2589944"/>
              <a:ext cx="121" cy="12194"/>
            </a:xfrm>
            <a:custGeom>
              <a:avLst/>
              <a:gdLst>
                <a:gd name="connsiteX0" fmla="*/ 122 w 121"/>
                <a:gd name="connsiteY0" fmla="*/ 0 h 12194"/>
                <a:gd name="connsiteX1" fmla="*/ 0 w 121"/>
                <a:gd name="connsiteY1" fmla="*/ 0 h 12194"/>
                <a:gd name="connsiteX2" fmla="*/ 122 w 121"/>
                <a:gd name="connsiteY2" fmla="*/ 0 h 12194"/>
                <a:gd name="connsiteX3" fmla="*/ 122 w 121"/>
                <a:gd name="connsiteY3" fmla="*/ 0 h 1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" h="12194">
                  <a:moveTo>
                    <a:pt x="122" y="0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6" name="Freihandform: Form 845">
              <a:extLst>
                <a:ext uri="{FF2B5EF4-FFF2-40B4-BE49-F238E27FC236}">
                  <a16:creationId xmlns:a16="http://schemas.microsoft.com/office/drawing/2014/main" id="{BE001B0F-6348-447F-86B9-E9C045F2A14D}"/>
                </a:ext>
              </a:extLst>
            </p:cNvPr>
            <p:cNvSpPr/>
            <p:nvPr/>
          </p:nvSpPr>
          <p:spPr>
            <a:xfrm>
              <a:off x="5193048" y="2637135"/>
              <a:ext cx="183522" cy="194009"/>
            </a:xfrm>
            <a:custGeom>
              <a:avLst/>
              <a:gdLst>
                <a:gd name="connsiteX0" fmla="*/ 134136 w 183522"/>
                <a:gd name="connsiteY0" fmla="*/ 58532 h 194009"/>
                <a:gd name="connsiteX1" fmla="*/ 141696 w 183522"/>
                <a:gd name="connsiteY1" fmla="*/ 43777 h 194009"/>
                <a:gd name="connsiteX2" fmla="*/ 138526 w 183522"/>
                <a:gd name="connsiteY2" fmla="*/ 39021 h 194009"/>
                <a:gd name="connsiteX3" fmla="*/ 127063 w 183522"/>
                <a:gd name="connsiteY3" fmla="*/ 39021 h 194009"/>
                <a:gd name="connsiteX4" fmla="*/ 125234 w 183522"/>
                <a:gd name="connsiteY4" fmla="*/ 35973 h 194009"/>
                <a:gd name="connsiteX5" fmla="*/ 114381 w 183522"/>
                <a:gd name="connsiteY5" fmla="*/ 16828 h 194009"/>
                <a:gd name="connsiteX6" fmla="*/ 110357 w 183522"/>
                <a:gd name="connsiteY6" fmla="*/ 9755 h 194009"/>
                <a:gd name="connsiteX7" fmla="*/ 101699 w 183522"/>
                <a:gd name="connsiteY7" fmla="*/ 11706 h 194009"/>
                <a:gd name="connsiteX8" fmla="*/ 98041 w 183522"/>
                <a:gd name="connsiteY8" fmla="*/ 12560 h 194009"/>
                <a:gd name="connsiteX9" fmla="*/ 95602 w 183522"/>
                <a:gd name="connsiteY9" fmla="*/ 9512 h 194009"/>
                <a:gd name="connsiteX10" fmla="*/ 93529 w 183522"/>
                <a:gd name="connsiteY10" fmla="*/ 6951 h 194009"/>
                <a:gd name="connsiteX11" fmla="*/ 89749 w 183522"/>
                <a:gd name="connsiteY11" fmla="*/ 2317 h 194009"/>
                <a:gd name="connsiteX12" fmla="*/ 77799 w 183522"/>
                <a:gd name="connsiteY12" fmla="*/ 0 h 194009"/>
                <a:gd name="connsiteX13" fmla="*/ 66580 w 183522"/>
                <a:gd name="connsiteY13" fmla="*/ 7804 h 194009"/>
                <a:gd name="connsiteX14" fmla="*/ 64751 w 183522"/>
                <a:gd name="connsiteY14" fmla="*/ 9146 h 194009"/>
                <a:gd name="connsiteX15" fmla="*/ 63166 w 183522"/>
                <a:gd name="connsiteY15" fmla="*/ 10121 h 194009"/>
                <a:gd name="connsiteX16" fmla="*/ 44631 w 183522"/>
                <a:gd name="connsiteY16" fmla="*/ 23169 h 194009"/>
                <a:gd name="connsiteX17" fmla="*/ 44143 w 183522"/>
                <a:gd name="connsiteY17" fmla="*/ 23535 h 194009"/>
                <a:gd name="connsiteX18" fmla="*/ 45119 w 183522"/>
                <a:gd name="connsiteY18" fmla="*/ 25486 h 194009"/>
                <a:gd name="connsiteX19" fmla="*/ 51703 w 183522"/>
                <a:gd name="connsiteY19" fmla="*/ 38656 h 194009"/>
                <a:gd name="connsiteX20" fmla="*/ 52801 w 183522"/>
                <a:gd name="connsiteY20" fmla="*/ 40851 h 194009"/>
                <a:gd name="connsiteX21" fmla="*/ 51947 w 183522"/>
                <a:gd name="connsiteY21" fmla="*/ 43167 h 194009"/>
                <a:gd name="connsiteX22" fmla="*/ 44996 w 183522"/>
                <a:gd name="connsiteY22" fmla="*/ 65239 h 194009"/>
                <a:gd name="connsiteX23" fmla="*/ 44265 w 183522"/>
                <a:gd name="connsiteY23" fmla="*/ 67312 h 194009"/>
                <a:gd name="connsiteX24" fmla="*/ 42436 w 183522"/>
                <a:gd name="connsiteY24" fmla="*/ 68531 h 194009"/>
                <a:gd name="connsiteX25" fmla="*/ 7926 w 183522"/>
                <a:gd name="connsiteY25" fmla="*/ 91334 h 194009"/>
                <a:gd name="connsiteX26" fmla="*/ 2561 w 183522"/>
                <a:gd name="connsiteY26" fmla="*/ 94871 h 194009"/>
                <a:gd name="connsiteX27" fmla="*/ 0 w 183522"/>
                <a:gd name="connsiteY27" fmla="*/ 100846 h 194009"/>
                <a:gd name="connsiteX28" fmla="*/ 9877 w 183522"/>
                <a:gd name="connsiteY28" fmla="*/ 117064 h 194009"/>
                <a:gd name="connsiteX29" fmla="*/ 9999 w 183522"/>
                <a:gd name="connsiteY29" fmla="*/ 117186 h 194009"/>
                <a:gd name="connsiteX30" fmla="*/ 35241 w 183522"/>
                <a:gd name="connsiteY30" fmla="*/ 124746 h 194009"/>
                <a:gd name="connsiteX31" fmla="*/ 35851 w 183522"/>
                <a:gd name="connsiteY31" fmla="*/ 124868 h 194009"/>
                <a:gd name="connsiteX32" fmla="*/ 36582 w 183522"/>
                <a:gd name="connsiteY32" fmla="*/ 125356 h 194009"/>
                <a:gd name="connsiteX33" fmla="*/ 67556 w 183522"/>
                <a:gd name="connsiteY33" fmla="*/ 143647 h 194009"/>
                <a:gd name="connsiteX34" fmla="*/ 77189 w 183522"/>
                <a:gd name="connsiteY34" fmla="*/ 149622 h 194009"/>
                <a:gd name="connsiteX35" fmla="*/ 89261 w 183522"/>
                <a:gd name="connsiteY35" fmla="*/ 157183 h 194009"/>
                <a:gd name="connsiteX36" fmla="*/ 92188 w 183522"/>
                <a:gd name="connsiteY36" fmla="*/ 159012 h 194009"/>
                <a:gd name="connsiteX37" fmla="*/ 92188 w 183522"/>
                <a:gd name="connsiteY37" fmla="*/ 179864 h 194009"/>
                <a:gd name="connsiteX38" fmla="*/ 122917 w 183522"/>
                <a:gd name="connsiteY38" fmla="*/ 194009 h 194009"/>
                <a:gd name="connsiteX39" fmla="*/ 149013 w 183522"/>
                <a:gd name="connsiteY39" fmla="*/ 190961 h 194009"/>
                <a:gd name="connsiteX40" fmla="*/ 154012 w 183522"/>
                <a:gd name="connsiteY40" fmla="*/ 190351 h 194009"/>
                <a:gd name="connsiteX41" fmla="*/ 153403 w 183522"/>
                <a:gd name="connsiteY41" fmla="*/ 188522 h 194009"/>
                <a:gd name="connsiteX42" fmla="*/ 152793 w 183522"/>
                <a:gd name="connsiteY42" fmla="*/ 186083 h 194009"/>
                <a:gd name="connsiteX43" fmla="*/ 151817 w 183522"/>
                <a:gd name="connsiteY43" fmla="*/ 182912 h 194009"/>
                <a:gd name="connsiteX44" fmla="*/ 153890 w 183522"/>
                <a:gd name="connsiteY44" fmla="*/ 180474 h 194009"/>
                <a:gd name="connsiteX45" fmla="*/ 154500 w 183522"/>
                <a:gd name="connsiteY45" fmla="*/ 179864 h 194009"/>
                <a:gd name="connsiteX46" fmla="*/ 159378 w 183522"/>
                <a:gd name="connsiteY46" fmla="*/ 173889 h 194009"/>
                <a:gd name="connsiteX47" fmla="*/ 161938 w 183522"/>
                <a:gd name="connsiteY47" fmla="*/ 170840 h 194009"/>
                <a:gd name="connsiteX48" fmla="*/ 165841 w 183522"/>
                <a:gd name="connsiteY48" fmla="*/ 171938 h 194009"/>
                <a:gd name="connsiteX49" fmla="*/ 166694 w 183522"/>
                <a:gd name="connsiteY49" fmla="*/ 172182 h 194009"/>
                <a:gd name="connsiteX50" fmla="*/ 178157 w 183522"/>
                <a:gd name="connsiteY50" fmla="*/ 175596 h 194009"/>
                <a:gd name="connsiteX51" fmla="*/ 181083 w 183522"/>
                <a:gd name="connsiteY51" fmla="*/ 176572 h 194009"/>
                <a:gd name="connsiteX52" fmla="*/ 183522 w 183522"/>
                <a:gd name="connsiteY52" fmla="*/ 173889 h 194009"/>
                <a:gd name="connsiteX53" fmla="*/ 183400 w 183522"/>
                <a:gd name="connsiteY53" fmla="*/ 173889 h 194009"/>
                <a:gd name="connsiteX54" fmla="*/ 176937 w 183522"/>
                <a:gd name="connsiteY54" fmla="*/ 165841 h 194009"/>
                <a:gd name="connsiteX55" fmla="*/ 173523 w 183522"/>
                <a:gd name="connsiteY55" fmla="*/ 161451 h 194009"/>
                <a:gd name="connsiteX56" fmla="*/ 172060 w 183522"/>
                <a:gd name="connsiteY56" fmla="*/ 159622 h 194009"/>
                <a:gd name="connsiteX57" fmla="*/ 172181 w 183522"/>
                <a:gd name="connsiteY57" fmla="*/ 157305 h 194009"/>
                <a:gd name="connsiteX58" fmla="*/ 173523 w 183522"/>
                <a:gd name="connsiteY58" fmla="*/ 135355 h 194009"/>
                <a:gd name="connsiteX59" fmla="*/ 162914 w 183522"/>
                <a:gd name="connsiteY59" fmla="*/ 119503 h 194009"/>
                <a:gd name="connsiteX60" fmla="*/ 160963 w 183522"/>
                <a:gd name="connsiteY60" fmla="*/ 116576 h 194009"/>
                <a:gd name="connsiteX61" fmla="*/ 147915 w 183522"/>
                <a:gd name="connsiteY61" fmla="*/ 114259 h 194009"/>
                <a:gd name="connsiteX62" fmla="*/ 145476 w 183522"/>
                <a:gd name="connsiteY62" fmla="*/ 113772 h 194009"/>
                <a:gd name="connsiteX63" fmla="*/ 144135 w 183522"/>
                <a:gd name="connsiteY63" fmla="*/ 111943 h 194009"/>
                <a:gd name="connsiteX64" fmla="*/ 132429 w 183522"/>
                <a:gd name="connsiteY64" fmla="*/ 96334 h 194009"/>
                <a:gd name="connsiteX65" fmla="*/ 124136 w 183522"/>
                <a:gd name="connsiteY65" fmla="*/ 85237 h 194009"/>
                <a:gd name="connsiteX66" fmla="*/ 121820 w 183522"/>
                <a:gd name="connsiteY66" fmla="*/ 82189 h 194009"/>
                <a:gd name="connsiteX67" fmla="*/ 123527 w 183522"/>
                <a:gd name="connsiteY67" fmla="*/ 78774 h 194009"/>
                <a:gd name="connsiteX68" fmla="*/ 134136 w 183522"/>
                <a:gd name="connsiteY68" fmla="*/ 58532 h 19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83522" h="194009">
                  <a:moveTo>
                    <a:pt x="134136" y="58532"/>
                  </a:moveTo>
                  <a:lnTo>
                    <a:pt x="141696" y="43777"/>
                  </a:lnTo>
                  <a:lnTo>
                    <a:pt x="138526" y="39021"/>
                  </a:lnTo>
                  <a:lnTo>
                    <a:pt x="127063" y="39021"/>
                  </a:lnTo>
                  <a:lnTo>
                    <a:pt x="125234" y="35973"/>
                  </a:lnTo>
                  <a:lnTo>
                    <a:pt x="114381" y="16828"/>
                  </a:lnTo>
                  <a:lnTo>
                    <a:pt x="110357" y="9755"/>
                  </a:lnTo>
                  <a:lnTo>
                    <a:pt x="101699" y="11706"/>
                  </a:lnTo>
                  <a:lnTo>
                    <a:pt x="98041" y="12560"/>
                  </a:lnTo>
                  <a:lnTo>
                    <a:pt x="95602" y="9512"/>
                  </a:lnTo>
                  <a:lnTo>
                    <a:pt x="93529" y="6951"/>
                  </a:lnTo>
                  <a:lnTo>
                    <a:pt x="89749" y="2317"/>
                  </a:lnTo>
                  <a:lnTo>
                    <a:pt x="77799" y="0"/>
                  </a:lnTo>
                  <a:lnTo>
                    <a:pt x="66580" y="7804"/>
                  </a:lnTo>
                  <a:lnTo>
                    <a:pt x="64751" y="9146"/>
                  </a:lnTo>
                  <a:lnTo>
                    <a:pt x="63166" y="10121"/>
                  </a:lnTo>
                  <a:lnTo>
                    <a:pt x="44631" y="23169"/>
                  </a:lnTo>
                  <a:lnTo>
                    <a:pt x="44143" y="23535"/>
                  </a:lnTo>
                  <a:lnTo>
                    <a:pt x="45119" y="25486"/>
                  </a:lnTo>
                  <a:lnTo>
                    <a:pt x="51703" y="38656"/>
                  </a:lnTo>
                  <a:lnTo>
                    <a:pt x="52801" y="40851"/>
                  </a:lnTo>
                  <a:lnTo>
                    <a:pt x="51947" y="43167"/>
                  </a:lnTo>
                  <a:lnTo>
                    <a:pt x="44996" y="65239"/>
                  </a:lnTo>
                  <a:lnTo>
                    <a:pt x="44265" y="67312"/>
                  </a:lnTo>
                  <a:lnTo>
                    <a:pt x="42436" y="68531"/>
                  </a:lnTo>
                  <a:lnTo>
                    <a:pt x="7926" y="91334"/>
                  </a:lnTo>
                  <a:lnTo>
                    <a:pt x="2561" y="94871"/>
                  </a:lnTo>
                  <a:lnTo>
                    <a:pt x="0" y="100846"/>
                  </a:lnTo>
                  <a:lnTo>
                    <a:pt x="9877" y="117064"/>
                  </a:lnTo>
                  <a:lnTo>
                    <a:pt x="9999" y="117186"/>
                  </a:lnTo>
                  <a:lnTo>
                    <a:pt x="35241" y="124746"/>
                  </a:lnTo>
                  <a:lnTo>
                    <a:pt x="35851" y="124868"/>
                  </a:lnTo>
                  <a:lnTo>
                    <a:pt x="36582" y="125356"/>
                  </a:lnTo>
                  <a:lnTo>
                    <a:pt x="67556" y="143647"/>
                  </a:lnTo>
                  <a:lnTo>
                    <a:pt x="77189" y="149622"/>
                  </a:lnTo>
                  <a:lnTo>
                    <a:pt x="89261" y="157183"/>
                  </a:lnTo>
                  <a:lnTo>
                    <a:pt x="92188" y="159012"/>
                  </a:lnTo>
                  <a:lnTo>
                    <a:pt x="92188" y="179864"/>
                  </a:lnTo>
                  <a:lnTo>
                    <a:pt x="122917" y="194009"/>
                  </a:lnTo>
                  <a:lnTo>
                    <a:pt x="149013" y="190961"/>
                  </a:lnTo>
                  <a:lnTo>
                    <a:pt x="154012" y="190351"/>
                  </a:lnTo>
                  <a:lnTo>
                    <a:pt x="153403" y="188522"/>
                  </a:lnTo>
                  <a:lnTo>
                    <a:pt x="152793" y="186083"/>
                  </a:lnTo>
                  <a:lnTo>
                    <a:pt x="151817" y="182912"/>
                  </a:lnTo>
                  <a:lnTo>
                    <a:pt x="153890" y="180474"/>
                  </a:lnTo>
                  <a:lnTo>
                    <a:pt x="154500" y="179864"/>
                  </a:lnTo>
                  <a:lnTo>
                    <a:pt x="159378" y="173889"/>
                  </a:lnTo>
                  <a:lnTo>
                    <a:pt x="161938" y="170840"/>
                  </a:lnTo>
                  <a:lnTo>
                    <a:pt x="165841" y="171938"/>
                  </a:lnTo>
                  <a:lnTo>
                    <a:pt x="166694" y="172182"/>
                  </a:lnTo>
                  <a:lnTo>
                    <a:pt x="178157" y="175596"/>
                  </a:lnTo>
                  <a:lnTo>
                    <a:pt x="181083" y="176572"/>
                  </a:lnTo>
                  <a:lnTo>
                    <a:pt x="183522" y="173889"/>
                  </a:lnTo>
                  <a:lnTo>
                    <a:pt x="183400" y="173889"/>
                  </a:lnTo>
                  <a:lnTo>
                    <a:pt x="176937" y="165841"/>
                  </a:lnTo>
                  <a:lnTo>
                    <a:pt x="173523" y="161451"/>
                  </a:lnTo>
                  <a:lnTo>
                    <a:pt x="172060" y="159622"/>
                  </a:lnTo>
                  <a:lnTo>
                    <a:pt x="172181" y="157305"/>
                  </a:lnTo>
                  <a:lnTo>
                    <a:pt x="173523" y="135355"/>
                  </a:lnTo>
                  <a:lnTo>
                    <a:pt x="162914" y="119503"/>
                  </a:lnTo>
                  <a:lnTo>
                    <a:pt x="160963" y="116576"/>
                  </a:lnTo>
                  <a:lnTo>
                    <a:pt x="147915" y="114259"/>
                  </a:lnTo>
                  <a:lnTo>
                    <a:pt x="145476" y="113772"/>
                  </a:lnTo>
                  <a:lnTo>
                    <a:pt x="144135" y="111943"/>
                  </a:lnTo>
                  <a:lnTo>
                    <a:pt x="132429" y="96334"/>
                  </a:lnTo>
                  <a:lnTo>
                    <a:pt x="124136" y="85237"/>
                  </a:lnTo>
                  <a:lnTo>
                    <a:pt x="121820" y="82189"/>
                  </a:lnTo>
                  <a:lnTo>
                    <a:pt x="123527" y="78774"/>
                  </a:lnTo>
                  <a:lnTo>
                    <a:pt x="134136" y="585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7" name="Freihandform: Form 846">
              <a:extLst>
                <a:ext uri="{FF2B5EF4-FFF2-40B4-BE49-F238E27FC236}">
                  <a16:creationId xmlns:a16="http://schemas.microsoft.com/office/drawing/2014/main" id="{C6C9C059-7314-4D50-B7D2-6BA2DBFB203C}"/>
                </a:ext>
              </a:extLst>
            </p:cNvPr>
            <p:cNvSpPr/>
            <p:nvPr/>
          </p:nvSpPr>
          <p:spPr>
            <a:xfrm>
              <a:off x="5353767" y="2817121"/>
              <a:ext cx="15364" cy="18291"/>
            </a:xfrm>
            <a:custGeom>
              <a:avLst/>
              <a:gdLst>
                <a:gd name="connsiteX0" fmla="*/ 14267 w 15364"/>
                <a:gd name="connsiteY0" fmla="*/ 3049 h 18291"/>
                <a:gd name="connsiteX1" fmla="*/ 4024 w 15364"/>
                <a:gd name="connsiteY1" fmla="*/ 0 h 18291"/>
                <a:gd name="connsiteX2" fmla="*/ 0 w 15364"/>
                <a:gd name="connsiteY2" fmla="*/ 4878 h 18291"/>
                <a:gd name="connsiteX3" fmla="*/ 366 w 15364"/>
                <a:gd name="connsiteY3" fmla="*/ 6219 h 18291"/>
                <a:gd name="connsiteX4" fmla="*/ 1585 w 15364"/>
                <a:gd name="connsiteY4" fmla="*/ 10365 h 18291"/>
                <a:gd name="connsiteX5" fmla="*/ 1829 w 15364"/>
                <a:gd name="connsiteY5" fmla="*/ 11584 h 18291"/>
                <a:gd name="connsiteX6" fmla="*/ 1951 w 15364"/>
                <a:gd name="connsiteY6" fmla="*/ 11706 h 18291"/>
                <a:gd name="connsiteX7" fmla="*/ 9756 w 15364"/>
                <a:gd name="connsiteY7" fmla="*/ 18291 h 18291"/>
                <a:gd name="connsiteX8" fmla="*/ 15365 w 15364"/>
                <a:gd name="connsiteY8" fmla="*/ 18291 h 18291"/>
                <a:gd name="connsiteX9" fmla="*/ 14389 w 15364"/>
                <a:gd name="connsiteY9" fmla="*/ 17072 h 18291"/>
                <a:gd name="connsiteX10" fmla="*/ 11463 w 15364"/>
                <a:gd name="connsiteY10" fmla="*/ 13170 h 18291"/>
                <a:gd name="connsiteX11" fmla="*/ 11463 w 15364"/>
                <a:gd name="connsiteY11" fmla="*/ 5853 h 18291"/>
                <a:gd name="connsiteX12" fmla="*/ 14267 w 15364"/>
                <a:gd name="connsiteY12" fmla="*/ 3049 h 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364" h="18291">
                  <a:moveTo>
                    <a:pt x="14267" y="3049"/>
                  </a:moveTo>
                  <a:lnTo>
                    <a:pt x="4024" y="0"/>
                  </a:lnTo>
                  <a:lnTo>
                    <a:pt x="0" y="4878"/>
                  </a:lnTo>
                  <a:lnTo>
                    <a:pt x="366" y="6219"/>
                  </a:lnTo>
                  <a:lnTo>
                    <a:pt x="1585" y="10365"/>
                  </a:lnTo>
                  <a:lnTo>
                    <a:pt x="1829" y="11584"/>
                  </a:lnTo>
                  <a:lnTo>
                    <a:pt x="1951" y="11706"/>
                  </a:lnTo>
                  <a:lnTo>
                    <a:pt x="9756" y="18291"/>
                  </a:lnTo>
                  <a:lnTo>
                    <a:pt x="15365" y="18291"/>
                  </a:lnTo>
                  <a:lnTo>
                    <a:pt x="14389" y="17072"/>
                  </a:lnTo>
                  <a:lnTo>
                    <a:pt x="11463" y="13170"/>
                  </a:lnTo>
                  <a:lnTo>
                    <a:pt x="11463" y="5853"/>
                  </a:lnTo>
                  <a:lnTo>
                    <a:pt x="14267" y="304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8" name="Freihandform: Form 847">
              <a:extLst>
                <a:ext uri="{FF2B5EF4-FFF2-40B4-BE49-F238E27FC236}">
                  <a16:creationId xmlns:a16="http://schemas.microsoft.com/office/drawing/2014/main" id="{1E67BF9F-0A90-4BE4-B0B8-C788F281B490}"/>
                </a:ext>
              </a:extLst>
            </p:cNvPr>
            <p:cNvSpPr/>
            <p:nvPr/>
          </p:nvSpPr>
          <p:spPr>
            <a:xfrm>
              <a:off x="5217558" y="2483855"/>
              <a:ext cx="127550" cy="58044"/>
            </a:xfrm>
            <a:custGeom>
              <a:avLst/>
              <a:gdLst>
                <a:gd name="connsiteX0" fmla="*/ 57191 w 127550"/>
                <a:gd name="connsiteY0" fmla="*/ 41216 h 58044"/>
                <a:gd name="connsiteX1" fmla="*/ 57679 w 127550"/>
                <a:gd name="connsiteY1" fmla="*/ 41826 h 58044"/>
                <a:gd name="connsiteX2" fmla="*/ 62800 w 127550"/>
                <a:gd name="connsiteY2" fmla="*/ 43655 h 58044"/>
                <a:gd name="connsiteX3" fmla="*/ 80603 w 127550"/>
                <a:gd name="connsiteY3" fmla="*/ 49874 h 58044"/>
                <a:gd name="connsiteX4" fmla="*/ 96822 w 127550"/>
                <a:gd name="connsiteY4" fmla="*/ 55361 h 58044"/>
                <a:gd name="connsiteX5" fmla="*/ 101090 w 127550"/>
                <a:gd name="connsiteY5" fmla="*/ 56703 h 58044"/>
                <a:gd name="connsiteX6" fmla="*/ 101333 w 127550"/>
                <a:gd name="connsiteY6" fmla="*/ 56825 h 58044"/>
                <a:gd name="connsiteX7" fmla="*/ 104748 w 127550"/>
                <a:gd name="connsiteY7" fmla="*/ 56947 h 58044"/>
                <a:gd name="connsiteX8" fmla="*/ 127307 w 127550"/>
                <a:gd name="connsiteY8" fmla="*/ 58044 h 58044"/>
                <a:gd name="connsiteX9" fmla="*/ 127551 w 127550"/>
                <a:gd name="connsiteY9" fmla="*/ 56825 h 58044"/>
                <a:gd name="connsiteX10" fmla="*/ 123527 w 127550"/>
                <a:gd name="connsiteY10" fmla="*/ 47923 h 58044"/>
                <a:gd name="connsiteX11" fmla="*/ 121332 w 127550"/>
                <a:gd name="connsiteY11" fmla="*/ 43045 h 58044"/>
                <a:gd name="connsiteX12" fmla="*/ 112918 w 127550"/>
                <a:gd name="connsiteY12" fmla="*/ 33534 h 58044"/>
                <a:gd name="connsiteX13" fmla="*/ 108040 w 127550"/>
                <a:gd name="connsiteY13" fmla="*/ 33534 h 58044"/>
                <a:gd name="connsiteX14" fmla="*/ 106577 w 127550"/>
                <a:gd name="connsiteY14" fmla="*/ 32680 h 58044"/>
                <a:gd name="connsiteX15" fmla="*/ 90603 w 127550"/>
                <a:gd name="connsiteY15" fmla="*/ 23535 h 58044"/>
                <a:gd name="connsiteX16" fmla="*/ 80482 w 127550"/>
                <a:gd name="connsiteY16" fmla="*/ 17560 h 58044"/>
                <a:gd name="connsiteX17" fmla="*/ 59020 w 127550"/>
                <a:gd name="connsiteY17" fmla="*/ 7438 h 58044"/>
                <a:gd name="connsiteX18" fmla="*/ 54874 w 127550"/>
                <a:gd name="connsiteY18" fmla="*/ 5487 h 58044"/>
                <a:gd name="connsiteX19" fmla="*/ 46826 w 127550"/>
                <a:gd name="connsiteY19" fmla="*/ 7804 h 58044"/>
                <a:gd name="connsiteX20" fmla="*/ 45484 w 127550"/>
                <a:gd name="connsiteY20" fmla="*/ 8048 h 58044"/>
                <a:gd name="connsiteX21" fmla="*/ 44265 w 127550"/>
                <a:gd name="connsiteY21" fmla="*/ 7926 h 58044"/>
                <a:gd name="connsiteX22" fmla="*/ 35485 w 127550"/>
                <a:gd name="connsiteY22" fmla="*/ 6707 h 58044"/>
                <a:gd name="connsiteX23" fmla="*/ 14999 w 127550"/>
                <a:gd name="connsiteY23" fmla="*/ 3780 h 58044"/>
                <a:gd name="connsiteX24" fmla="*/ 14633 w 127550"/>
                <a:gd name="connsiteY24" fmla="*/ 3658 h 58044"/>
                <a:gd name="connsiteX25" fmla="*/ 14389 w 127550"/>
                <a:gd name="connsiteY25" fmla="*/ 3658 h 58044"/>
                <a:gd name="connsiteX26" fmla="*/ 488 w 127550"/>
                <a:gd name="connsiteY26" fmla="*/ 122 h 58044"/>
                <a:gd name="connsiteX27" fmla="*/ 0 w 127550"/>
                <a:gd name="connsiteY27" fmla="*/ 0 h 58044"/>
                <a:gd name="connsiteX28" fmla="*/ 5121 w 127550"/>
                <a:gd name="connsiteY28" fmla="*/ 4390 h 58044"/>
                <a:gd name="connsiteX29" fmla="*/ 15609 w 127550"/>
                <a:gd name="connsiteY29" fmla="*/ 6341 h 58044"/>
                <a:gd name="connsiteX30" fmla="*/ 22193 w 127550"/>
                <a:gd name="connsiteY30" fmla="*/ 13901 h 58044"/>
                <a:gd name="connsiteX31" fmla="*/ 24023 w 127550"/>
                <a:gd name="connsiteY31" fmla="*/ 22681 h 58044"/>
                <a:gd name="connsiteX32" fmla="*/ 29998 w 127550"/>
                <a:gd name="connsiteY32" fmla="*/ 33412 h 58044"/>
                <a:gd name="connsiteX33" fmla="*/ 29266 w 127550"/>
                <a:gd name="connsiteY33" fmla="*/ 37558 h 58044"/>
                <a:gd name="connsiteX34" fmla="*/ 29876 w 127550"/>
                <a:gd name="connsiteY34" fmla="*/ 37680 h 58044"/>
                <a:gd name="connsiteX35" fmla="*/ 41338 w 127550"/>
                <a:gd name="connsiteY35" fmla="*/ 41094 h 58044"/>
                <a:gd name="connsiteX36" fmla="*/ 47435 w 127550"/>
                <a:gd name="connsiteY36" fmla="*/ 41094 h 58044"/>
                <a:gd name="connsiteX37" fmla="*/ 44631 w 127550"/>
                <a:gd name="connsiteY37" fmla="*/ 37192 h 58044"/>
                <a:gd name="connsiteX38" fmla="*/ 55849 w 127550"/>
                <a:gd name="connsiteY38" fmla="*/ 41216 h 58044"/>
                <a:gd name="connsiteX39" fmla="*/ 57191 w 127550"/>
                <a:gd name="connsiteY39" fmla="*/ 41216 h 5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27550" h="58044">
                  <a:moveTo>
                    <a:pt x="57191" y="41216"/>
                  </a:moveTo>
                  <a:lnTo>
                    <a:pt x="57679" y="41826"/>
                  </a:lnTo>
                  <a:lnTo>
                    <a:pt x="62800" y="43655"/>
                  </a:lnTo>
                  <a:lnTo>
                    <a:pt x="80603" y="49874"/>
                  </a:lnTo>
                  <a:lnTo>
                    <a:pt x="96822" y="55361"/>
                  </a:lnTo>
                  <a:lnTo>
                    <a:pt x="101090" y="56703"/>
                  </a:lnTo>
                  <a:lnTo>
                    <a:pt x="101333" y="56825"/>
                  </a:lnTo>
                  <a:lnTo>
                    <a:pt x="104748" y="56947"/>
                  </a:lnTo>
                  <a:lnTo>
                    <a:pt x="127307" y="58044"/>
                  </a:lnTo>
                  <a:lnTo>
                    <a:pt x="127551" y="56825"/>
                  </a:lnTo>
                  <a:lnTo>
                    <a:pt x="123527" y="47923"/>
                  </a:lnTo>
                  <a:lnTo>
                    <a:pt x="121332" y="43045"/>
                  </a:lnTo>
                  <a:lnTo>
                    <a:pt x="112918" y="33534"/>
                  </a:lnTo>
                  <a:lnTo>
                    <a:pt x="108040" y="33534"/>
                  </a:lnTo>
                  <a:lnTo>
                    <a:pt x="106577" y="32680"/>
                  </a:lnTo>
                  <a:lnTo>
                    <a:pt x="90603" y="23535"/>
                  </a:lnTo>
                  <a:lnTo>
                    <a:pt x="80482" y="17560"/>
                  </a:lnTo>
                  <a:lnTo>
                    <a:pt x="59020" y="7438"/>
                  </a:lnTo>
                  <a:lnTo>
                    <a:pt x="54874" y="5487"/>
                  </a:lnTo>
                  <a:lnTo>
                    <a:pt x="46826" y="7804"/>
                  </a:lnTo>
                  <a:lnTo>
                    <a:pt x="45484" y="8048"/>
                  </a:lnTo>
                  <a:lnTo>
                    <a:pt x="44265" y="7926"/>
                  </a:lnTo>
                  <a:lnTo>
                    <a:pt x="35485" y="6707"/>
                  </a:lnTo>
                  <a:lnTo>
                    <a:pt x="14999" y="3780"/>
                  </a:lnTo>
                  <a:lnTo>
                    <a:pt x="14633" y="3658"/>
                  </a:lnTo>
                  <a:lnTo>
                    <a:pt x="14389" y="3658"/>
                  </a:lnTo>
                  <a:lnTo>
                    <a:pt x="488" y="122"/>
                  </a:lnTo>
                  <a:lnTo>
                    <a:pt x="0" y="0"/>
                  </a:lnTo>
                  <a:lnTo>
                    <a:pt x="5121" y="4390"/>
                  </a:lnTo>
                  <a:lnTo>
                    <a:pt x="15609" y="6341"/>
                  </a:lnTo>
                  <a:lnTo>
                    <a:pt x="22193" y="13901"/>
                  </a:lnTo>
                  <a:lnTo>
                    <a:pt x="24023" y="22681"/>
                  </a:lnTo>
                  <a:lnTo>
                    <a:pt x="29998" y="33412"/>
                  </a:lnTo>
                  <a:lnTo>
                    <a:pt x="29266" y="37558"/>
                  </a:lnTo>
                  <a:lnTo>
                    <a:pt x="29876" y="37680"/>
                  </a:lnTo>
                  <a:lnTo>
                    <a:pt x="41338" y="41094"/>
                  </a:lnTo>
                  <a:lnTo>
                    <a:pt x="47435" y="41094"/>
                  </a:lnTo>
                  <a:lnTo>
                    <a:pt x="44631" y="37192"/>
                  </a:lnTo>
                  <a:lnTo>
                    <a:pt x="55849" y="41216"/>
                  </a:lnTo>
                  <a:lnTo>
                    <a:pt x="57191" y="4121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49" name="Freihandform: Form 848">
              <a:extLst>
                <a:ext uri="{FF2B5EF4-FFF2-40B4-BE49-F238E27FC236}">
                  <a16:creationId xmlns:a16="http://schemas.microsoft.com/office/drawing/2014/main" id="{5EDD6352-5900-47F1-8E60-CEB2B96492FE}"/>
                </a:ext>
              </a:extLst>
            </p:cNvPr>
            <p:cNvSpPr/>
            <p:nvPr/>
          </p:nvSpPr>
          <p:spPr>
            <a:xfrm>
              <a:off x="5134028" y="2641038"/>
              <a:ext cx="115966" cy="112552"/>
            </a:xfrm>
            <a:custGeom>
              <a:avLst/>
              <a:gdLst>
                <a:gd name="connsiteX0" fmla="*/ 11340 w 115966"/>
                <a:gd name="connsiteY0" fmla="*/ 74872 h 112552"/>
                <a:gd name="connsiteX1" fmla="*/ 11463 w 115966"/>
                <a:gd name="connsiteY1" fmla="*/ 80603 h 112552"/>
                <a:gd name="connsiteX2" fmla="*/ 11585 w 115966"/>
                <a:gd name="connsiteY2" fmla="*/ 82555 h 112552"/>
                <a:gd name="connsiteX3" fmla="*/ 10365 w 115966"/>
                <a:gd name="connsiteY3" fmla="*/ 84262 h 112552"/>
                <a:gd name="connsiteX4" fmla="*/ 7073 w 115966"/>
                <a:gd name="connsiteY4" fmla="*/ 89017 h 112552"/>
                <a:gd name="connsiteX5" fmla="*/ 6707 w 115966"/>
                <a:gd name="connsiteY5" fmla="*/ 89627 h 112552"/>
                <a:gd name="connsiteX6" fmla="*/ 6219 w 115966"/>
                <a:gd name="connsiteY6" fmla="*/ 91212 h 112552"/>
                <a:gd name="connsiteX7" fmla="*/ 0 w 115966"/>
                <a:gd name="connsiteY7" fmla="*/ 111942 h 112552"/>
                <a:gd name="connsiteX8" fmla="*/ 10487 w 115966"/>
                <a:gd name="connsiteY8" fmla="*/ 112552 h 112552"/>
                <a:gd name="connsiteX9" fmla="*/ 18657 w 115966"/>
                <a:gd name="connsiteY9" fmla="*/ 107309 h 112552"/>
                <a:gd name="connsiteX10" fmla="*/ 33168 w 115966"/>
                <a:gd name="connsiteY10" fmla="*/ 97919 h 112552"/>
                <a:gd name="connsiteX11" fmla="*/ 34144 w 115966"/>
                <a:gd name="connsiteY11" fmla="*/ 97309 h 112552"/>
                <a:gd name="connsiteX12" fmla="*/ 35241 w 115966"/>
                <a:gd name="connsiteY12" fmla="*/ 97066 h 112552"/>
                <a:gd name="connsiteX13" fmla="*/ 50850 w 115966"/>
                <a:gd name="connsiteY13" fmla="*/ 94017 h 112552"/>
                <a:gd name="connsiteX14" fmla="*/ 51703 w 115966"/>
                <a:gd name="connsiteY14" fmla="*/ 93773 h 112552"/>
                <a:gd name="connsiteX15" fmla="*/ 54386 w 115966"/>
                <a:gd name="connsiteY15" fmla="*/ 87310 h 112552"/>
                <a:gd name="connsiteX16" fmla="*/ 55117 w 115966"/>
                <a:gd name="connsiteY16" fmla="*/ 85603 h 112552"/>
                <a:gd name="connsiteX17" fmla="*/ 56703 w 115966"/>
                <a:gd name="connsiteY17" fmla="*/ 84628 h 112552"/>
                <a:gd name="connsiteX18" fmla="*/ 63654 w 115966"/>
                <a:gd name="connsiteY18" fmla="*/ 79994 h 112552"/>
                <a:gd name="connsiteX19" fmla="*/ 96578 w 115966"/>
                <a:gd name="connsiteY19" fmla="*/ 58288 h 112552"/>
                <a:gd name="connsiteX20" fmla="*/ 103163 w 115966"/>
                <a:gd name="connsiteY20" fmla="*/ 37680 h 112552"/>
                <a:gd name="connsiteX21" fmla="*/ 95236 w 115966"/>
                <a:gd name="connsiteY21" fmla="*/ 21827 h 112552"/>
                <a:gd name="connsiteX22" fmla="*/ 92919 w 115966"/>
                <a:gd name="connsiteY22" fmla="*/ 17072 h 112552"/>
                <a:gd name="connsiteX23" fmla="*/ 97187 w 115966"/>
                <a:gd name="connsiteY23" fmla="*/ 14145 h 112552"/>
                <a:gd name="connsiteX24" fmla="*/ 115967 w 115966"/>
                <a:gd name="connsiteY24" fmla="*/ 854 h 112552"/>
                <a:gd name="connsiteX25" fmla="*/ 115235 w 115966"/>
                <a:gd name="connsiteY25" fmla="*/ 0 h 112552"/>
                <a:gd name="connsiteX26" fmla="*/ 100114 w 115966"/>
                <a:gd name="connsiteY26" fmla="*/ 2317 h 112552"/>
                <a:gd name="connsiteX27" fmla="*/ 94505 w 115966"/>
                <a:gd name="connsiteY27" fmla="*/ 4268 h 112552"/>
                <a:gd name="connsiteX28" fmla="*/ 75848 w 115966"/>
                <a:gd name="connsiteY28" fmla="*/ 10731 h 112552"/>
                <a:gd name="connsiteX29" fmla="*/ 75360 w 115966"/>
                <a:gd name="connsiteY29" fmla="*/ 10975 h 112552"/>
                <a:gd name="connsiteX30" fmla="*/ 74872 w 115966"/>
                <a:gd name="connsiteY30" fmla="*/ 10975 h 112552"/>
                <a:gd name="connsiteX31" fmla="*/ 58288 w 115966"/>
                <a:gd name="connsiteY31" fmla="*/ 13657 h 112552"/>
                <a:gd name="connsiteX32" fmla="*/ 51825 w 115966"/>
                <a:gd name="connsiteY32" fmla="*/ 14633 h 112552"/>
                <a:gd name="connsiteX33" fmla="*/ 50606 w 115966"/>
                <a:gd name="connsiteY33" fmla="*/ 14877 h 112552"/>
                <a:gd name="connsiteX34" fmla="*/ 49265 w 115966"/>
                <a:gd name="connsiteY34" fmla="*/ 14511 h 112552"/>
                <a:gd name="connsiteX35" fmla="*/ 40241 w 115966"/>
                <a:gd name="connsiteY35" fmla="*/ 12072 h 112552"/>
                <a:gd name="connsiteX36" fmla="*/ 27193 w 115966"/>
                <a:gd name="connsiteY36" fmla="*/ 14999 h 112552"/>
                <a:gd name="connsiteX37" fmla="*/ 14755 w 115966"/>
                <a:gd name="connsiteY37" fmla="*/ 17804 h 112552"/>
                <a:gd name="connsiteX38" fmla="*/ 14267 w 115966"/>
                <a:gd name="connsiteY38" fmla="*/ 23291 h 112552"/>
                <a:gd name="connsiteX39" fmla="*/ 14145 w 115966"/>
                <a:gd name="connsiteY39" fmla="*/ 24632 h 112552"/>
                <a:gd name="connsiteX40" fmla="*/ 14389 w 115966"/>
                <a:gd name="connsiteY40" fmla="*/ 24876 h 112552"/>
                <a:gd name="connsiteX41" fmla="*/ 18413 w 115966"/>
                <a:gd name="connsiteY41" fmla="*/ 29144 h 112552"/>
                <a:gd name="connsiteX42" fmla="*/ 20364 w 115966"/>
                <a:gd name="connsiteY42" fmla="*/ 31217 h 112552"/>
                <a:gd name="connsiteX43" fmla="*/ 19999 w 115966"/>
                <a:gd name="connsiteY43" fmla="*/ 34144 h 112552"/>
                <a:gd name="connsiteX44" fmla="*/ 17925 w 115966"/>
                <a:gd name="connsiteY44" fmla="*/ 51094 h 112552"/>
                <a:gd name="connsiteX45" fmla="*/ 18413 w 115966"/>
                <a:gd name="connsiteY45" fmla="*/ 63288 h 112552"/>
                <a:gd name="connsiteX46" fmla="*/ 18535 w 115966"/>
                <a:gd name="connsiteY46" fmla="*/ 65117 h 112552"/>
                <a:gd name="connsiteX47" fmla="*/ 18657 w 115966"/>
                <a:gd name="connsiteY47" fmla="*/ 67922 h 112552"/>
                <a:gd name="connsiteX48" fmla="*/ 16584 w 115966"/>
                <a:gd name="connsiteY48" fmla="*/ 69873 h 112552"/>
                <a:gd name="connsiteX49" fmla="*/ 11340 w 115966"/>
                <a:gd name="connsiteY49" fmla="*/ 74872 h 11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15966" h="112552">
                  <a:moveTo>
                    <a:pt x="11340" y="74872"/>
                  </a:moveTo>
                  <a:lnTo>
                    <a:pt x="11463" y="80603"/>
                  </a:lnTo>
                  <a:lnTo>
                    <a:pt x="11585" y="82555"/>
                  </a:lnTo>
                  <a:lnTo>
                    <a:pt x="10365" y="84262"/>
                  </a:lnTo>
                  <a:lnTo>
                    <a:pt x="7073" y="89017"/>
                  </a:lnTo>
                  <a:lnTo>
                    <a:pt x="6707" y="89627"/>
                  </a:lnTo>
                  <a:lnTo>
                    <a:pt x="6219" y="91212"/>
                  </a:lnTo>
                  <a:lnTo>
                    <a:pt x="0" y="111942"/>
                  </a:lnTo>
                  <a:lnTo>
                    <a:pt x="10487" y="112552"/>
                  </a:lnTo>
                  <a:lnTo>
                    <a:pt x="18657" y="107309"/>
                  </a:lnTo>
                  <a:lnTo>
                    <a:pt x="33168" y="97919"/>
                  </a:lnTo>
                  <a:lnTo>
                    <a:pt x="34144" y="97309"/>
                  </a:lnTo>
                  <a:lnTo>
                    <a:pt x="35241" y="97066"/>
                  </a:lnTo>
                  <a:lnTo>
                    <a:pt x="50850" y="94017"/>
                  </a:lnTo>
                  <a:lnTo>
                    <a:pt x="51703" y="93773"/>
                  </a:lnTo>
                  <a:lnTo>
                    <a:pt x="54386" y="87310"/>
                  </a:lnTo>
                  <a:lnTo>
                    <a:pt x="55117" y="85603"/>
                  </a:lnTo>
                  <a:lnTo>
                    <a:pt x="56703" y="84628"/>
                  </a:lnTo>
                  <a:lnTo>
                    <a:pt x="63654" y="79994"/>
                  </a:lnTo>
                  <a:lnTo>
                    <a:pt x="96578" y="58288"/>
                  </a:lnTo>
                  <a:lnTo>
                    <a:pt x="103163" y="37680"/>
                  </a:lnTo>
                  <a:lnTo>
                    <a:pt x="95236" y="21827"/>
                  </a:lnTo>
                  <a:lnTo>
                    <a:pt x="92919" y="17072"/>
                  </a:lnTo>
                  <a:lnTo>
                    <a:pt x="97187" y="14145"/>
                  </a:lnTo>
                  <a:lnTo>
                    <a:pt x="115967" y="854"/>
                  </a:lnTo>
                  <a:lnTo>
                    <a:pt x="115235" y="0"/>
                  </a:lnTo>
                  <a:lnTo>
                    <a:pt x="100114" y="2317"/>
                  </a:lnTo>
                  <a:lnTo>
                    <a:pt x="94505" y="4268"/>
                  </a:lnTo>
                  <a:lnTo>
                    <a:pt x="75848" y="10731"/>
                  </a:lnTo>
                  <a:lnTo>
                    <a:pt x="75360" y="10975"/>
                  </a:lnTo>
                  <a:lnTo>
                    <a:pt x="74872" y="10975"/>
                  </a:lnTo>
                  <a:lnTo>
                    <a:pt x="58288" y="13657"/>
                  </a:lnTo>
                  <a:lnTo>
                    <a:pt x="51825" y="14633"/>
                  </a:lnTo>
                  <a:lnTo>
                    <a:pt x="50606" y="14877"/>
                  </a:lnTo>
                  <a:lnTo>
                    <a:pt x="49265" y="14511"/>
                  </a:lnTo>
                  <a:lnTo>
                    <a:pt x="40241" y="12072"/>
                  </a:lnTo>
                  <a:lnTo>
                    <a:pt x="27193" y="14999"/>
                  </a:lnTo>
                  <a:lnTo>
                    <a:pt x="14755" y="17804"/>
                  </a:lnTo>
                  <a:lnTo>
                    <a:pt x="14267" y="23291"/>
                  </a:lnTo>
                  <a:lnTo>
                    <a:pt x="14145" y="24632"/>
                  </a:lnTo>
                  <a:lnTo>
                    <a:pt x="14389" y="24876"/>
                  </a:lnTo>
                  <a:lnTo>
                    <a:pt x="18413" y="29144"/>
                  </a:lnTo>
                  <a:lnTo>
                    <a:pt x="20364" y="31217"/>
                  </a:lnTo>
                  <a:lnTo>
                    <a:pt x="19999" y="34144"/>
                  </a:lnTo>
                  <a:lnTo>
                    <a:pt x="17925" y="51094"/>
                  </a:lnTo>
                  <a:lnTo>
                    <a:pt x="18413" y="63288"/>
                  </a:lnTo>
                  <a:lnTo>
                    <a:pt x="18535" y="65117"/>
                  </a:lnTo>
                  <a:lnTo>
                    <a:pt x="18657" y="67922"/>
                  </a:lnTo>
                  <a:lnTo>
                    <a:pt x="16584" y="69873"/>
                  </a:lnTo>
                  <a:lnTo>
                    <a:pt x="11340" y="7487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0" name="Freihandform: Form 849">
              <a:extLst>
                <a:ext uri="{FF2B5EF4-FFF2-40B4-BE49-F238E27FC236}">
                  <a16:creationId xmlns:a16="http://schemas.microsoft.com/office/drawing/2014/main" id="{E50D8BF9-6D5A-4EED-921A-113A47B60780}"/>
                </a:ext>
              </a:extLst>
            </p:cNvPr>
            <p:cNvSpPr/>
            <p:nvPr/>
          </p:nvSpPr>
          <p:spPr>
            <a:xfrm>
              <a:off x="5123297" y="2738957"/>
              <a:ext cx="6341" cy="15730"/>
            </a:xfrm>
            <a:custGeom>
              <a:avLst/>
              <a:gdLst>
                <a:gd name="connsiteX0" fmla="*/ 0 w 6341"/>
                <a:gd name="connsiteY0" fmla="*/ 14877 h 15730"/>
                <a:gd name="connsiteX1" fmla="*/ 1951 w 6341"/>
                <a:gd name="connsiteY1" fmla="*/ 15731 h 15730"/>
                <a:gd name="connsiteX2" fmla="*/ 2439 w 6341"/>
                <a:gd name="connsiteY2" fmla="*/ 14023 h 15730"/>
                <a:gd name="connsiteX3" fmla="*/ 6341 w 6341"/>
                <a:gd name="connsiteY3" fmla="*/ 854 h 15730"/>
                <a:gd name="connsiteX4" fmla="*/ 3902 w 6341"/>
                <a:gd name="connsiteY4" fmla="*/ 0 h 15730"/>
                <a:gd name="connsiteX5" fmla="*/ 0 w 6341"/>
                <a:gd name="connsiteY5" fmla="*/ 14877 h 1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1" h="15730">
                  <a:moveTo>
                    <a:pt x="0" y="14877"/>
                  </a:moveTo>
                  <a:lnTo>
                    <a:pt x="1951" y="15731"/>
                  </a:lnTo>
                  <a:lnTo>
                    <a:pt x="2439" y="14023"/>
                  </a:lnTo>
                  <a:lnTo>
                    <a:pt x="6341" y="854"/>
                  </a:lnTo>
                  <a:lnTo>
                    <a:pt x="3902" y="0"/>
                  </a:lnTo>
                  <a:lnTo>
                    <a:pt x="0" y="1487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1" name="Freihandform: Form 850">
              <a:extLst>
                <a:ext uri="{FF2B5EF4-FFF2-40B4-BE49-F238E27FC236}">
                  <a16:creationId xmlns:a16="http://schemas.microsoft.com/office/drawing/2014/main" id="{6FAFC981-BC35-4813-B5F8-0FB98F1403C8}"/>
                </a:ext>
              </a:extLst>
            </p:cNvPr>
            <p:cNvSpPr/>
            <p:nvPr/>
          </p:nvSpPr>
          <p:spPr>
            <a:xfrm>
              <a:off x="5113420" y="2742737"/>
              <a:ext cx="81944" cy="84749"/>
            </a:xfrm>
            <a:custGeom>
              <a:avLst/>
              <a:gdLst>
                <a:gd name="connsiteX0" fmla="*/ 66336 w 81944"/>
                <a:gd name="connsiteY0" fmla="*/ 20608 h 84749"/>
                <a:gd name="connsiteX1" fmla="*/ 76214 w 81944"/>
                <a:gd name="connsiteY1" fmla="*/ 20486 h 84749"/>
                <a:gd name="connsiteX2" fmla="*/ 81945 w 81944"/>
                <a:gd name="connsiteY2" fmla="*/ 14389 h 84749"/>
                <a:gd name="connsiteX3" fmla="*/ 73165 w 81944"/>
                <a:gd name="connsiteY3" fmla="*/ 0 h 84749"/>
                <a:gd name="connsiteX4" fmla="*/ 57801 w 81944"/>
                <a:gd name="connsiteY4" fmla="*/ 3171 h 84749"/>
                <a:gd name="connsiteX5" fmla="*/ 44631 w 81944"/>
                <a:gd name="connsiteY5" fmla="*/ 11584 h 84749"/>
                <a:gd name="connsiteX6" fmla="*/ 34875 w 81944"/>
                <a:gd name="connsiteY6" fmla="*/ 17925 h 84749"/>
                <a:gd name="connsiteX7" fmla="*/ 33168 w 81944"/>
                <a:gd name="connsiteY7" fmla="*/ 19023 h 84749"/>
                <a:gd name="connsiteX8" fmla="*/ 31217 w 81944"/>
                <a:gd name="connsiteY8" fmla="*/ 18901 h 84749"/>
                <a:gd name="connsiteX9" fmla="*/ 18535 w 81944"/>
                <a:gd name="connsiteY9" fmla="*/ 18047 h 84749"/>
                <a:gd name="connsiteX10" fmla="*/ 17560 w 81944"/>
                <a:gd name="connsiteY10" fmla="*/ 21584 h 84749"/>
                <a:gd name="connsiteX11" fmla="*/ 14511 w 81944"/>
                <a:gd name="connsiteY11" fmla="*/ 32437 h 84749"/>
                <a:gd name="connsiteX12" fmla="*/ 12804 w 81944"/>
                <a:gd name="connsiteY12" fmla="*/ 38899 h 84749"/>
                <a:gd name="connsiteX13" fmla="*/ 12438 w 81944"/>
                <a:gd name="connsiteY13" fmla="*/ 40241 h 84749"/>
                <a:gd name="connsiteX14" fmla="*/ 11463 w 81944"/>
                <a:gd name="connsiteY14" fmla="*/ 43655 h 84749"/>
                <a:gd name="connsiteX15" fmla="*/ 11340 w 81944"/>
                <a:gd name="connsiteY15" fmla="*/ 44387 h 84749"/>
                <a:gd name="connsiteX16" fmla="*/ 9146 w 81944"/>
                <a:gd name="connsiteY16" fmla="*/ 59752 h 84749"/>
                <a:gd name="connsiteX17" fmla="*/ 9024 w 81944"/>
                <a:gd name="connsiteY17" fmla="*/ 60361 h 84749"/>
                <a:gd name="connsiteX18" fmla="*/ 8780 w 81944"/>
                <a:gd name="connsiteY18" fmla="*/ 60971 h 84749"/>
                <a:gd name="connsiteX19" fmla="*/ 4512 w 81944"/>
                <a:gd name="connsiteY19" fmla="*/ 72555 h 84749"/>
                <a:gd name="connsiteX20" fmla="*/ 2073 w 81944"/>
                <a:gd name="connsiteY20" fmla="*/ 79262 h 84749"/>
                <a:gd name="connsiteX21" fmla="*/ 0 w 81944"/>
                <a:gd name="connsiteY21" fmla="*/ 84749 h 84749"/>
                <a:gd name="connsiteX22" fmla="*/ 19633 w 81944"/>
                <a:gd name="connsiteY22" fmla="*/ 81701 h 84749"/>
                <a:gd name="connsiteX23" fmla="*/ 22681 w 81944"/>
                <a:gd name="connsiteY23" fmla="*/ 78165 h 84749"/>
                <a:gd name="connsiteX24" fmla="*/ 30973 w 81944"/>
                <a:gd name="connsiteY24" fmla="*/ 68775 h 84749"/>
                <a:gd name="connsiteX25" fmla="*/ 32559 w 81944"/>
                <a:gd name="connsiteY25" fmla="*/ 66946 h 84749"/>
                <a:gd name="connsiteX26" fmla="*/ 34875 w 81944"/>
                <a:gd name="connsiteY26" fmla="*/ 66702 h 84749"/>
                <a:gd name="connsiteX27" fmla="*/ 46338 w 81944"/>
                <a:gd name="connsiteY27" fmla="*/ 65483 h 84749"/>
                <a:gd name="connsiteX28" fmla="*/ 49874 w 81944"/>
                <a:gd name="connsiteY28" fmla="*/ 65117 h 84749"/>
                <a:gd name="connsiteX29" fmla="*/ 51703 w 81944"/>
                <a:gd name="connsiteY29" fmla="*/ 62556 h 84749"/>
                <a:gd name="connsiteX30" fmla="*/ 39021 w 81944"/>
                <a:gd name="connsiteY30" fmla="*/ 29144 h 84749"/>
                <a:gd name="connsiteX31" fmla="*/ 35851 w 81944"/>
                <a:gd name="connsiteY31" fmla="*/ 20974 h 84749"/>
                <a:gd name="connsiteX32" fmla="*/ 44631 w 81944"/>
                <a:gd name="connsiteY32" fmla="*/ 20852 h 84749"/>
                <a:gd name="connsiteX33" fmla="*/ 66336 w 81944"/>
                <a:gd name="connsiteY33" fmla="*/ 20608 h 8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1944" h="84749">
                  <a:moveTo>
                    <a:pt x="66336" y="20608"/>
                  </a:moveTo>
                  <a:lnTo>
                    <a:pt x="76214" y="20486"/>
                  </a:lnTo>
                  <a:lnTo>
                    <a:pt x="81945" y="14389"/>
                  </a:lnTo>
                  <a:lnTo>
                    <a:pt x="73165" y="0"/>
                  </a:lnTo>
                  <a:lnTo>
                    <a:pt x="57801" y="3171"/>
                  </a:lnTo>
                  <a:lnTo>
                    <a:pt x="44631" y="11584"/>
                  </a:lnTo>
                  <a:lnTo>
                    <a:pt x="34875" y="17925"/>
                  </a:lnTo>
                  <a:lnTo>
                    <a:pt x="33168" y="19023"/>
                  </a:lnTo>
                  <a:lnTo>
                    <a:pt x="31217" y="18901"/>
                  </a:lnTo>
                  <a:lnTo>
                    <a:pt x="18535" y="18047"/>
                  </a:lnTo>
                  <a:lnTo>
                    <a:pt x="17560" y="21584"/>
                  </a:lnTo>
                  <a:lnTo>
                    <a:pt x="14511" y="32437"/>
                  </a:lnTo>
                  <a:lnTo>
                    <a:pt x="12804" y="38899"/>
                  </a:lnTo>
                  <a:lnTo>
                    <a:pt x="12438" y="40241"/>
                  </a:lnTo>
                  <a:lnTo>
                    <a:pt x="11463" y="43655"/>
                  </a:lnTo>
                  <a:lnTo>
                    <a:pt x="11340" y="44387"/>
                  </a:lnTo>
                  <a:lnTo>
                    <a:pt x="9146" y="59752"/>
                  </a:lnTo>
                  <a:lnTo>
                    <a:pt x="9024" y="60361"/>
                  </a:lnTo>
                  <a:lnTo>
                    <a:pt x="8780" y="60971"/>
                  </a:lnTo>
                  <a:lnTo>
                    <a:pt x="4512" y="72555"/>
                  </a:lnTo>
                  <a:lnTo>
                    <a:pt x="2073" y="79262"/>
                  </a:lnTo>
                  <a:lnTo>
                    <a:pt x="0" y="84749"/>
                  </a:lnTo>
                  <a:lnTo>
                    <a:pt x="19633" y="81701"/>
                  </a:lnTo>
                  <a:lnTo>
                    <a:pt x="22681" y="78165"/>
                  </a:lnTo>
                  <a:lnTo>
                    <a:pt x="30973" y="68775"/>
                  </a:lnTo>
                  <a:lnTo>
                    <a:pt x="32559" y="66946"/>
                  </a:lnTo>
                  <a:lnTo>
                    <a:pt x="34875" y="66702"/>
                  </a:lnTo>
                  <a:lnTo>
                    <a:pt x="46338" y="65483"/>
                  </a:lnTo>
                  <a:lnTo>
                    <a:pt x="49874" y="65117"/>
                  </a:lnTo>
                  <a:lnTo>
                    <a:pt x="51703" y="62556"/>
                  </a:lnTo>
                  <a:lnTo>
                    <a:pt x="39021" y="29144"/>
                  </a:lnTo>
                  <a:lnTo>
                    <a:pt x="35851" y="20974"/>
                  </a:lnTo>
                  <a:lnTo>
                    <a:pt x="44631" y="20852"/>
                  </a:lnTo>
                  <a:lnTo>
                    <a:pt x="66336" y="2060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2" name="Freihandform: Form 851">
              <a:extLst>
                <a:ext uri="{FF2B5EF4-FFF2-40B4-BE49-F238E27FC236}">
                  <a16:creationId xmlns:a16="http://schemas.microsoft.com/office/drawing/2014/main" id="{EFC2468F-47AF-4527-84DB-876CAA67F359}"/>
                </a:ext>
              </a:extLst>
            </p:cNvPr>
            <p:cNvSpPr/>
            <p:nvPr/>
          </p:nvSpPr>
          <p:spPr>
            <a:xfrm>
              <a:off x="5129273" y="2672742"/>
              <a:ext cx="16705" cy="51825"/>
            </a:xfrm>
            <a:custGeom>
              <a:avLst/>
              <a:gdLst>
                <a:gd name="connsiteX0" fmla="*/ 8536 w 16705"/>
                <a:gd name="connsiteY0" fmla="*/ 5609 h 51825"/>
                <a:gd name="connsiteX1" fmla="*/ 2561 w 16705"/>
                <a:gd name="connsiteY1" fmla="*/ 11219 h 51825"/>
                <a:gd name="connsiteX2" fmla="*/ 0 w 16705"/>
                <a:gd name="connsiteY2" fmla="*/ 46094 h 51825"/>
                <a:gd name="connsiteX3" fmla="*/ 6097 w 16705"/>
                <a:gd name="connsiteY3" fmla="*/ 34875 h 51825"/>
                <a:gd name="connsiteX4" fmla="*/ 1829 w 16705"/>
                <a:gd name="connsiteY4" fmla="*/ 51093 h 51825"/>
                <a:gd name="connsiteX5" fmla="*/ 4390 w 16705"/>
                <a:gd name="connsiteY5" fmla="*/ 51459 h 51825"/>
                <a:gd name="connsiteX6" fmla="*/ 5975 w 16705"/>
                <a:gd name="connsiteY6" fmla="*/ 51825 h 51825"/>
                <a:gd name="connsiteX7" fmla="*/ 8292 w 16705"/>
                <a:gd name="connsiteY7" fmla="*/ 48533 h 51825"/>
                <a:gd name="connsiteX8" fmla="*/ 8048 w 16705"/>
                <a:gd name="connsiteY8" fmla="*/ 42558 h 51825"/>
                <a:gd name="connsiteX9" fmla="*/ 8048 w 16705"/>
                <a:gd name="connsiteY9" fmla="*/ 39875 h 51825"/>
                <a:gd name="connsiteX10" fmla="*/ 9999 w 16705"/>
                <a:gd name="connsiteY10" fmla="*/ 37924 h 51825"/>
                <a:gd name="connsiteX11" fmla="*/ 15243 w 16705"/>
                <a:gd name="connsiteY11" fmla="*/ 32924 h 51825"/>
                <a:gd name="connsiteX12" fmla="*/ 15243 w 16705"/>
                <a:gd name="connsiteY12" fmla="*/ 32314 h 51825"/>
                <a:gd name="connsiteX13" fmla="*/ 14633 w 16705"/>
                <a:gd name="connsiteY13" fmla="*/ 19633 h 51825"/>
                <a:gd name="connsiteX14" fmla="*/ 14633 w 16705"/>
                <a:gd name="connsiteY14" fmla="*/ 19145 h 51825"/>
                <a:gd name="connsiteX15" fmla="*/ 14755 w 16705"/>
                <a:gd name="connsiteY15" fmla="*/ 18657 h 51825"/>
                <a:gd name="connsiteX16" fmla="*/ 16706 w 16705"/>
                <a:gd name="connsiteY16" fmla="*/ 2317 h 51825"/>
                <a:gd name="connsiteX17" fmla="*/ 14633 w 16705"/>
                <a:gd name="connsiteY17" fmla="*/ 0 h 51825"/>
                <a:gd name="connsiteX18" fmla="*/ 8536 w 16705"/>
                <a:gd name="connsiteY18" fmla="*/ 5609 h 5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705" h="51825">
                  <a:moveTo>
                    <a:pt x="8536" y="5609"/>
                  </a:moveTo>
                  <a:lnTo>
                    <a:pt x="2561" y="11219"/>
                  </a:lnTo>
                  <a:lnTo>
                    <a:pt x="0" y="46094"/>
                  </a:lnTo>
                  <a:lnTo>
                    <a:pt x="6097" y="34875"/>
                  </a:lnTo>
                  <a:lnTo>
                    <a:pt x="1829" y="51093"/>
                  </a:lnTo>
                  <a:lnTo>
                    <a:pt x="4390" y="51459"/>
                  </a:lnTo>
                  <a:lnTo>
                    <a:pt x="5975" y="51825"/>
                  </a:lnTo>
                  <a:lnTo>
                    <a:pt x="8292" y="48533"/>
                  </a:lnTo>
                  <a:lnTo>
                    <a:pt x="8048" y="42558"/>
                  </a:lnTo>
                  <a:lnTo>
                    <a:pt x="8048" y="39875"/>
                  </a:lnTo>
                  <a:lnTo>
                    <a:pt x="9999" y="37924"/>
                  </a:lnTo>
                  <a:lnTo>
                    <a:pt x="15243" y="32924"/>
                  </a:lnTo>
                  <a:lnTo>
                    <a:pt x="15243" y="32314"/>
                  </a:lnTo>
                  <a:lnTo>
                    <a:pt x="14633" y="19633"/>
                  </a:lnTo>
                  <a:lnTo>
                    <a:pt x="14633" y="19145"/>
                  </a:lnTo>
                  <a:lnTo>
                    <a:pt x="14755" y="18657"/>
                  </a:lnTo>
                  <a:lnTo>
                    <a:pt x="16706" y="2317"/>
                  </a:lnTo>
                  <a:lnTo>
                    <a:pt x="14633" y="0"/>
                  </a:lnTo>
                  <a:lnTo>
                    <a:pt x="8536" y="56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3" name="Freihandform: Form 852">
              <a:extLst>
                <a:ext uri="{FF2B5EF4-FFF2-40B4-BE49-F238E27FC236}">
                  <a16:creationId xmlns:a16="http://schemas.microsoft.com/office/drawing/2014/main" id="{2E9FEDAC-F6D6-4B79-8762-996E3D1DCE62}"/>
                </a:ext>
              </a:extLst>
            </p:cNvPr>
            <p:cNvSpPr/>
            <p:nvPr/>
          </p:nvSpPr>
          <p:spPr>
            <a:xfrm>
              <a:off x="5625819" y="2606528"/>
              <a:ext cx="276929" cy="211934"/>
            </a:xfrm>
            <a:custGeom>
              <a:avLst/>
              <a:gdLst>
                <a:gd name="connsiteX0" fmla="*/ 258272 w 276929"/>
                <a:gd name="connsiteY0" fmla="*/ 39509 h 211934"/>
                <a:gd name="connsiteX1" fmla="*/ 259979 w 276929"/>
                <a:gd name="connsiteY1" fmla="*/ 38290 h 211934"/>
                <a:gd name="connsiteX2" fmla="*/ 262052 w 276929"/>
                <a:gd name="connsiteY2" fmla="*/ 38290 h 211934"/>
                <a:gd name="connsiteX3" fmla="*/ 266808 w 276929"/>
                <a:gd name="connsiteY3" fmla="*/ 38412 h 211934"/>
                <a:gd name="connsiteX4" fmla="*/ 266930 w 276929"/>
                <a:gd name="connsiteY4" fmla="*/ 37436 h 211934"/>
                <a:gd name="connsiteX5" fmla="*/ 267906 w 276929"/>
                <a:gd name="connsiteY5" fmla="*/ 29876 h 211934"/>
                <a:gd name="connsiteX6" fmla="*/ 275100 w 276929"/>
                <a:gd name="connsiteY6" fmla="*/ 32558 h 211934"/>
                <a:gd name="connsiteX7" fmla="*/ 276929 w 276929"/>
                <a:gd name="connsiteY7" fmla="*/ 33290 h 211934"/>
                <a:gd name="connsiteX8" fmla="*/ 275222 w 276929"/>
                <a:gd name="connsiteY8" fmla="*/ 30364 h 211934"/>
                <a:gd name="connsiteX9" fmla="*/ 275222 w 276929"/>
                <a:gd name="connsiteY9" fmla="*/ 30364 h 211934"/>
                <a:gd name="connsiteX10" fmla="*/ 274247 w 276929"/>
                <a:gd name="connsiteY10" fmla="*/ 29876 h 211934"/>
                <a:gd name="connsiteX11" fmla="*/ 269979 w 276929"/>
                <a:gd name="connsiteY11" fmla="*/ 27559 h 211934"/>
                <a:gd name="connsiteX12" fmla="*/ 260955 w 276929"/>
                <a:gd name="connsiteY12" fmla="*/ 27559 h 211934"/>
                <a:gd name="connsiteX13" fmla="*/ 243639 w 276929"/>
                <a:gd name="connsiteY13" fmla="*/ 41460 h 211934"/>
                <a:gd name="connsiteX14" fmla="*/ 242298 w 276929"/>
                <a:gd name="connsiteY14" fmla="*/ 42558 h 211934"/>
                <a:gd name="connsiteX15" fmla="*/ 240347 w 276929"/>
                <a:gd name="connsiteY15" fmla="*/ 42680 h 211934"/>
                <a:gd name="connsiteX16" fmla="*/ 236810 w 276929"/>
                <a:gd name="connsiteY16" fmla="*/ 43045 h 211934"/>
                <a:gd name="connsiteX17" fmla="*/ 220104 w 276929"/>
                <a:gd name="connsiteY17" fmla="*/ 44387 h 211934"/>
                <a:gd name="connsiteX18" fmla="*/ 212300 w 276929"/>
                <a:gd name="connsiteY18" fmla="*/ 44996 h 211934"/>
                <a:gd name="connsiteX19" fmla="*/ 213520 w 276929"/>
                <a:gd name="connsiteY19" fmla="*/ 37314 h 211934"/>
                <a:gd name="connsiteX20" fmla="*/ 215836 w 276929"/>
                <a:gd name="connsiteY20" fmla="*/ 22681 h 211934"/>
                <a:gd name="connsiteX21" fmla="*/ 213276 w 276929"/>
                <a:gd name="connsiteY21" fmla="*/ 4756 h 211934"/>
                <a:gd name="connsiteX22" fmla="*/ 208032 w 276929"/>
                <a:gd name="connsiteY22" fmla="*/ 0 h 211934"/>
                <a:gd name="connsiteX23" fmla="*/ 206569 w 276929"/>
                <a:gd name="connsiteY23" fmla="*/ 1707 h 211934"/>
                <a:gd name="connsiteX24" fmla="*/ 199496 w 276929"/>
                <a:gd name="connsiteY24" fmla="*/ 9755 h 211934"/>
                <a:gd name="connsiteX25" fmla="*/ 194253 w 276929"/>
                <a:gd name="connsiteY25" fmla="*/ 17925 h 211934"/>
                <a:gd name="connsiteX26" fmla="*/ 191448 w 276929"/>
                <a:gd name="connsiteY26" fmla="*/ 22315 h 211934"/>
                <a:gd name="connsiteX27" fmla="*/ 190473 w 276929"/>
                <a:gd name="connsiteY27" fmla="*/ 23901 h 211934"/>
                <a:gd name="connsiteX28" fmla="*/ 188644 w 276929"/>
                <a:gd name="connsiteY28" fmla="*/ 24632 h 211934"/>
                <a:gd name="connsiteX29" fmla="*/ 160475 w 276929"/>
                <a:gd name="connsiteY29" fmla="*/ 36461 h 211934"/>
                <a:gd name="connsiteX30" fmla="*/ 159012 w 276929"/>
                <a:gd name="connsiteY30" fmla="*/ 37192 h 211934"/>
                <a:gd name="connsiteX31" fmla="*/ 157305 w 276929"/>
                <a:gd name="connsiteY31" fmla="*/ 36948 h 211934"/>
                <a:gd name="connsiteX32" fmla="*/ 148037 w 276929"/>
                <a:gd name="connsiteY32" fmla="*/ 35607 h 211934"/>
                <a:gd name="connsiteX33" fmla="*/ 147915 w 276929"/>
                <a:gd name="connsiteY33" fmla="*/ 35973 h 211934"/>
                <a:gd name="connsiteX34" fmla="*/ 143525 w 276929"/>
                <a:gd name="connsiteY34" fmla="*/ 35119 h 211934"/>
                <a:gd name="connsiteX35" fmla="*/ 140111 w 276929"/>
                <a:gd name="connsiteY35" fmla="*/ 34631 h 211934"/>
                <a:gd name="connsiteX36" fmla="*/ 140111 w 276929"/>
                <a:gd name="connsiteY36" fmla="*/ 34388 h 211934"/>
                <a:gd name="connsiteX37" fmla="*/ 115113 w 276929"/>
                <a:gd name="connsiteY37" fmla="*/ 29510 h 211934"/>
                <a:gd name="connsiteX38" fmla="*/ 114747 w 276929"/>
                <a:gd name="connsiteY38" fmla="*/ 29510 h 211934"/>
                <a:gd name="connsiteX39" fmla="*/ 111698 w 276929"/>
                <a:gd name="connsiteY39" fmla="*/ 29754 h 211934"/>
                <a:gd name="connsiteX40" fmla="*/ 104626 w 276929"/>
                <a:gd name="connsiteY40" fmla="*/ 30241 h 211934"/>
                <a:gd name="connsiteX41" fmla="*/ 93529 w 276929"/>
                <a:gd name="connsiteY41" fmla="*/ 31095 h 211934"/>
                <a:gd name="connsiteX42" fmla="*/ 91456 w 276929"/>
                <a:gd name="connsiteY42" fmla="*/ 36095 h 211934"/>
                <a:gd name="connsiteX43" fmla="*/ 86212 w 276929"/>
                <a:gd name="connsiteY43" fmla="*/ 48167 h 211934"/>
                <a:gd name="connsiteX44" fmla="*/ 85481 w 276929"/>
                <a:gd name="connsiteY44" fmla="*/ 49996 h 211934"/>
                <a:gd name="connsiteX45" fmla="*/ 83774 w 276929"/>
                <a:gd name="connsiteY45" fmla="*/ 50972 h 211934"/>
                <a:gd name="connsiteX46" fmla="*/ 78774 w 276929"/>
                <a:gd name="connsiteY46" fmla="*/ 54020 h 211934"/>
                <a:gd name="connsiteX47" fmla="*/ 47313 w 276929"/>
                <a:gd name="connsiteY47" fmla="*/ 72555 h 211934"/>
                <a:gd name="connsiteX48" fmla="*/ 44509 w 276929"/>
                <a:gd name="connsiteY48" fmla="*/ 81091 h 211934"/>
                <a:gd name="connsiteX49" fmla="*/ 41826 w 276929"/>
                <a:gd name="connsiteY49" fmla="*/ 89139 h 211934"/>
                <a:gd name="connsiteX50" fmla="*/ 34997 w 276929"/>
                <a:gd name="connsiteY50" fmla="*/ 84140 h 211934"/>
                <a:gd name="connsiteX51" fmla="*/ 32314 w 276929"/>
                <a:gd name="connsiteY51" fmla="*/ 82067 h 211934"/>
                <a:gd name="connsiteX52" fmla="*/ 26705 w 276929"/>
                <a:gd name="connsiteY52" fmla="*/ 77799 h 211934"/>
                <a:gd name="connsiteX53" fmla="*/ 15364 w 276929"/>
                <a:gd name="connsiteY53" fmla="*/ 74994 h 211934"/>
                <a:gd name="connsiteX54" fmla="*/ 15364 w 276929"/>
                <a:gd name="connsiteY54" fmla="*/ 89627 h 211934"/>
                <a:gd name="connsiteX55" fmla="*/ 14267 w 276929"/>
                <a:gd name="connsiteY55" fmla="*/ 91212 h 211934"/>
                <a:gd name="connsiteX56" fmla="*/ 0 w 276929"/>
                <a:gd name="connsiteY56" fmla="*/ 110601 h 211934"/>
                <a:gd name="connsiteX57" fmla="*/ 5365 w 276929"/>
                <a:gd name="connsiteY57" fmla="*/ 141208 h 211934"/>
                <a:gd name="connsiteX58" fmla="*/ 5487 w 276929"/>
                <a:gd name="connsiteY58" fmla="*/ 142062 h 211934"/>
                <a:gd name="connsiteX59" fmla="*/ 5487 w 276929"/>
                <a:gd name="connsiteY59" fmla="*/ 142794 h 211934"/>
                <a:gd name="connsiteX60" fmla="*/ 4146 w 276929"/>
                <a:gd name="connsiteY60" fmla="*/ 158402 h 211934"/>
                <a:gd name="connsiteX61" fmla="*/ 7072 w 276929"/>
                <a:gd name="connsiteY61" fmla="*/ 164255 h 211934"/>
                <a:gd name="connsiteX62" fmla="*/ 9877 w 276929"/>
                <a:gd name="connsiteY62" fmla="*/ 161938 h 211934"/>
                <a:gd name="connsiteX63" fmla="*/ 15121 w 276929"/>
                <a:gd name="connsiteY63" fmla="*/ 157549 h 211934"/>
                <a:gd name="connsiteX64" fmla="*/ 18901 w 276929"/>
                <a:gd name="connsiteY64" fmla="*/ 163158 h 211934"/>
                <a:gd name="connsiteX65" fmla="*/ 25242 w 276929"/>
                <a:gd name="connsiteY65" fmla="*/ 172791 h 211934"/>
                <a:gd name="connsiteX66" fmla="*/ 27559 w 276929"/>
                <a:gd name="connsiteY66" fmla="*/ 176206 h 211934"/>
                <a:gd name="connsiteX67" fmla="*/ 25242 w 276929"/>
                <a:gd name="connsiteY67" fmla="*/ 179620 h 211934"/>
                <a:gd name="connsiteX68" fmla="*/ 14999 w 276929"/>
                <a:gd name="connsiteY68" fmla="*/ 194985 h 211934"/>
                <a:gd name="connsiteX69" fmla="*/ 10365 w 276929"/>
                <a:gd name="connsiteY69" fmla="*/ 205228 h 211934"/>
                <a:gd name="connsiteX70" fmla="*/ 30363 w 276929"/>
                <a:gd name="connsiteY70" fmla="*/ 206325 h 211934"/>
                <a:gd name="connsiteX71" fmla="*/ 40119 w 276929"/>
                <a:gd name="connsiteY71" fmla="*/ 207667 h 211934"/>
                <a:gd name="connsiteX72" fmla="*/ 82066 w 276929"/>
                <a:gd name="connsiteY72" fmla="*/ 211935 h 211934"/>
                <a:gd name="connsiteX73" fmla="*/ 106699 w 276929"/>
                <a:gd name="connsiteY73" fmla="*/ 205715 h 211934"/>
                <a:gd name="connsiteX74" fmla="*/ 106699 w 276929"/>
                <a:gd name="connsiteY74" fmla="*/ 188522 h 211934"/>
                <a:gd name="connsiteX75" fmla="*/ 106821 w 276929"/>
                <a:gd name="connsiteY75" fmla="*/ 188034 h 211934"/>
                <a:gd name="connsiteX76" fmla="*/ 109382 w 276929"/>
                <a:gd name="connsiteY76" fmla="*/ 175474 h 211934"/>
                <a:gd name="connsiteX77" fmla="*/ 110113 w 276929"/>
                <a:gd name="connsiteY77" fmla="*/ 171328 h 211934"/>
                <a:gd name="connsiteX78" fmla="*/ 114259 w 276929"/>
                <a:gd name="connsiteY78" fmla="*/ 170596 h 211934"/>
                <a:gd name="connsiteX79" fmla="*/ 128892 w 276929"/>
                <a:gd name="connsiteY79" fmla="*/ 168158 h 211934"/>
                <a:gd name="connsiteX80" fmla="*/ 141452 w 276929"/>
                <a:gd name="connsiteY80" fmla="*/ 158158 h 211934"/>
                <a:gd name="connsiteX81" fmla="*/ 143647 w 276929"/>
                <a:gd name="connsiteY81" fmla="*/ 156329 h 211934"/>
                <a:gd name="connsiteX82" fmla="*/ 146330 w 276929"/>
                <a:gd name="connsiteY82" fmla="*/ 156817 h 211934"/>
                <a:gd name="connsiteX83" fmla="*/ 164865 w 276929"/>
                <a:gd name="connsiteY83" fmla="*/ 160109 h 211934"/>
                <a:gd name="connsiteX84" fmla="*/ 164865 w 276929"/>
                <a:gd name="connsiteY84" fmla="*/ 142550 h 211934"/>
                <a:gd name="connsiteX85" fmla="*/ 165597 w 276929"/>
                <a:gd name="connsiteY85" fmla="*/ 141208 h 211934"/>
                <a:gd name="connsiteX86" fmla="*/ 177059 w 276929"/>
                <a:gd name="connsiteY86" fmla="*/ 121088 h 211934"/>
                <a:gd name="connsiteX87" fmla="*/ 183156 w 276929"/>
                <a:gd name="connsiteY87" fmla="*/ 110357 h 211934"/>
                <a:gd name="connsiteX88" fmla="*/ 185229 w 276929"/>
                <a:gd name="connsiteY88" fmla="*/ 106577 h 211934"/>
                <a:gd name="connsiteX89" fmla="*/ 189375 w 276929"/>
                <a:gd name="connsiteY89" fmla="*/ 107309 h 211934"/>
                <a:gd name="connsiteX90" fmla="*/ 190839 w 276929"/>
                <a:gd name="connsiteY90" fmla="*/ 107553 h 211934"/>
                <a:gd name="connsiteX91" fmla="*/ 202179 w 276929"/>
                <a:gd name="connsiteY91" fmla="*/ 109504 h 211934"/>
                <a:gd name="connsiteX92" fmla="*/ 206691 w 276929"/>
                <a:gd name="connsiteY92" fmla="*/ 101699 h 211934"/>
                <a:gd name="connsiteX93" fmla="*/ 218275 w 276929"/>
                <a:gd name="connsiteY93" fmla="*/ 81335 h 211934"/>
                <a:gd name="connsiteX94" fmla="*/ 219129 w 276929"/>
                <a:gd name="connsiteY94" fmla="*/ 79994 h 211934"/>
                <a:gd name="connsiteX95" fmla="*/ 220470 w 276929"/>
                <a:gd name="connsiteY95" fmla="*/ 79140 h 211934"/>
                <a:gd name="connsiteX96" fmla="*/ 244615 w 276929"/>
                <a:gd name="connsiteY96" fmla="*/ 64263 h 211934"/>
                <a:gd name="connsiteX97" fmla="*/ 244615 w 276929"/>
                <a:gd name="connsiteY97" fmla="*/ 63897 h 211934"/>
                <a:gd name="connsiteX98" fmla="*/ 243517 w 276929"/>
                <a:gd name="connsiteY98" fmla="*/ 55849 h 211934"/>
                <a:gd name="connsiteX99" fmla="*/ 243273 w 276929"/>
                <a:gd name="connsiteY99" fmla="*/ 54996 h 211934"/>
                <a:gd name="connsiteX100" fmla="*/ 243395 w 276929"/>
                <a:gd name="connsiteY100" fmla="*/ 54752 h 211934"/>
                <a:gd name="connsiteX101" fmla="*/ 243395 w 276929"/>
                <a:gd name="connsiteY101" fmla="*/ 54752 h 211934"/>
                <a:gd name="connsiteX102" fmla="*/ 242907 w 276929"/>
                <a:gd name="connsiteY102" fmla="*/ 51215 h 211934"/>
                <a:gd name="connsiteX103" fmla="*/ 245712 w 276929"/>
                <a:gd name="connsiteY103" fmla="*/ 49021 h 211934"/>
                <a:gd name="connsiteX104" fmla="*/ 258272 w 276929"/>
                <a:gd name="connsiteY104" fmla="*/ 39509 h 21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276929" h="211934">
                  <a:moveTo>
                    <a:pt x="258272" y="39509"/>
                  </a:moveTo>
                  <a:lnTo>
                    <a:pt x="259979" y="38290"/>
                  </a:lnTo>
                  <a:lnTo>
                    <a:pt x="262052" y="38290"/>
                  </a:lnTo>
                  <a:lnTo>
                    <a:pt x="266808" y="38412"/>
                  </a:lnTo>
                  <a:lnTo>
                    <a:pt x="266930" y="37436"/>
                  </a:lnTo>
                  <a:lnTo>
                    <a:pt x="267906" y="29876"/>
                  </a:lnTo>
                  <a:lnTo>
                    <a:pt x="275100" y="32558"/>
                  </a:lnTo>
                  <a:lnTo>
                    <a:pt x="276929" y="33290"/>
                  </a:lnTo>
                  <a:lnTo>
                    <a:pt x="275222" y="30364"/>
                  </a:lnTo>
                  <a:lnTo>
                    <a:pt x="275222" y="30364"/>
                  </a:lnTo>
                  <a:lnTo>
                    <a:pt x="274247" y="29876"/>
                  </a:lnTo>
                  <a:lnTo>
                    <a:pt x="269979" y="27559"/>
                  </a:lnTo>
                  <a:lnTo>
                    <a:pt x="260955" y="27559"/>
                  </a:lnTo>
                  <a:lnTo>
                    <a:pt x="243639" y="41460"/>
                  </a:lnTo>
                  <a:lnTo>
                    <a:pt x="242298" y="42558"/>
                  </a:lnTo>
                  <a:lnTo>
                    <a:pt x="240347" y="42680"/>
                  </a:lnTo>
                  <a:lnTo>
                    <a:pt x="236810" y="43045"/>
                  </a:lnTo>
                  <a:lnTo>
                    <a:pt x="220104" y="44387"/>
                  </a:lnTo>
                  <a:lnTo>
                    <a:pt x="212300" y="44996"/>
                  </a:lnTo>
                  <a:lnTo>
                    <a:pt x="213520" y="37314"/>
                  </a:lnTo>
                  <a:lnTo>
                    <a:pt x="215836" y="22681"/>
                  </a:lnTo>
                  <a:lnTo>
                    <a:pt x="213276" y="4756"/>
                  </a:lnTo>
                  <a:lnTo>
                    <a:pt x="208032" y="0"/>
                  </a:lnTo>
                  <a:lnTo>
                    <a:pt x="206569" y="1707"/>
                  </a:lnTo>
                  <a:lnTo>
                    <a:pt x="199496" y="9755"/>
                  </a:lnTo>
                  <a:lnTo>
                    <a:pt x="194253" y="17925"/>
                  </a:lnTo>
                  <a:lnTo>
                    <a:pt x="191448" y="22315"/>
                  </a:lnTo>
                  <a:lnTo>
                    <a:pt x="190473" y="23901"/>
                  </a:lnTo>
                  <a:lnTo>
                    <a:pt x="188644" y="24632"/>
                  </a:lnTo>
                  <a:lnTo>
                    <a:pt x="160475" y="36461"/>
                  </a:lnTo>
                  <a:lnTo>
                    <a:pt x="159012" y="37192"/>
                  </a:lnTo>
                  <a:lnTo>
                    <a:pt x="157305" y="36948"/>
                  </a:lnTo>
                  <a:lnTo>
                    <a:pt x="148037" y="35607"/>
                  </a:lnTo>
                  <a:lnTo>
                    <a:pt x="147915" y="35973"/>
                  </a:lnTo>
                  <a:lnTo>
                    <a:pt x="143525" y="35119"/>
                  </a:lnTo>
                  <a:lnTo>
                    <a:pt x="140111" y="34631"/>
                  </a:lnTo>
                  <a:lnTo>
                    <a:pt x="140111" y="34388"/>
                  </a:lnTo>
                  <a:lnTo>
                    <a:pt x="115113" y="29510"/>
                  </a:lnTo>
                  <a:lnTo>
                    <a:pt x="114747" y="29510"/>
                  </a:lnTo>
                  <a:lnTo>
                    <a:pt x="111698" y="29754"/>
                  </a:lnTo>
                  <a:lnTo>
                    <a:pt x="104626" y="30241"/>
                  </a:lnTo>
                  <a:lnTo>
                    <a:pt x="93529" y="31095"/>
                  </a:lnTo>
                  <a:lnTo>
                    <a:pt x="91456" y="36095"/>
                  </a:lnTo>
                  <a:lnTo>
                    <a:pt x="86212" y="48167"/>
                  </a:lnTo>
                  <a:lnTo>
                    <a:pt x="85481" y="49996"/>
                  </a:lnTo>
                  <a:lnTo>
                    <a:pt x="83774" y="50972"/>
                  </a:lnTo>
                  <a:lnTo>
                    <a:pt x="78774" y="54020"/>
                  </a:lnTo>
                  <a:lnTo>
                    <a:pt x="47313" y="72555"/>
                  </a:lnTo>
                  <a:lnTo>
                    <a:pt x="44509" y="81091"/>
                  </a:lnTo>
                  <a:lnTo>
                    <a:pt x="41826" y="89139"/>
                  </a:lnTo>
                  <a:lnTo>
                    <a:pt x="34997" y="84140"/>
                  </a:lnTo>
                  <a:lnTo>
                    <a:pt x="32314" y="82067"/>
                  </a:lnTo>
                  <a:lnTo>
                    <a:pt x="26705" y="77799"/>
                  </a:lnTo>
                  <a:lnTo>
                    <a:pt x="15364" y="74994"/>
                  </a:lnTo>
                  <a:lnTo>
                    <a:pt x="15364" y="89627"/>
                  </a:lnTo>
                  <a:lnTo>
                    <a:pt x="14267" y="91212"/>
                  </a:lnTo>
                  <a:lnTo>
                    <a:pt x="0" y="110601"/>
                  </a:lnTo>
                  <a:lnTo>
                    <a:pt x="5365" y="141208"/>
                  </a:lnTo>
                  <a:lnTo>
                    <a:pt x="5487" y="142062"/>
                  </a:lnTo>
                  <a:lnTo>
                    <a:pt x="5487" y="142794"/>
                  </a:lnTo>
                  <a:lnTo>
                    <a:pt x="4146" y="158402"/>
                  </a:lnTo>
                  <a:lnTo>
                    <a:pt x="7072" y="164255"/>
                  </a:lnTo>
                  <a:lnTo>
                    <a:pt x="9877" y="161938"/>
                  </a:lnTo>
                  <a:lnTo>
                    <a:pt x="15121" y="157549"/>
                  </a:lnTo>
                  <a:lnTo>
                    <a:pt x="18901" y="163158"/>
                  </a:lnTo>
                  <a:lnTo>
                    <a:pt x="25242" y="172791"/>
                  </a:lnTo>
                  <a:lnTo>
                    <a:pt x="27559" y="176206"/>
                  </a:lnTo>
                  <a:lnTo>
                    <a:pt x="25242" y="179620"/>
                  </a:lnTo>
                  <a:lnTo>
                    <a:pt x="14999" y="194985"/>
                  </a:lnTo>
                  <a:lnTo>
                    <a:pt x="10365" y="205228"/>
                  </a:lnTo>
                  <a:lnTo>
                    <a:pt x="30363" y="206325"/>
                  </a:lnTo>
                  <a:lnTo>
                    <a:pt x="40119" y="207667"/>
                  </a:lnTo>
                  <a:lnTo>
                    <a:pt x="82066" y="211935"/>
                  </a:lnTo>
                  <a:lnTo>
                    <a:pt x="106699" y="205715"/>
                  </a:lnTo>
                  <a:lnTo>
                    <a:pt x="106699" y="188522"/>
                  </a:lnTo>
                  <a:lnTo>
                    <a:pt x="106821" y="188034"/>
                  </a:lnTo>
                  <a:lnTo>
                    <a:pt x="109382" y="175474"/>
                  </a:lnTo>
                  <a:lnTo>
                    <a:pt x="110113" y="171328"/>
                  </a:lnTo>
                  <a:lnTo>
                    <a:pt x="114259" y="170596"/>
                  </a:lnTo>
                  <a:lnTo>
                    <a:pt x="128892" y="168158"/>
                  </a:lnTo>
                  <a:lnTo>
                    <a:pt x="141452" y="158158"/>
                  </a:lnTo>
                  <a:lnTo>
                    <a:pt x="143647" y="156329"/>
                  </a:lnTo>
                  <a:lnTo>
                    <a:pt x="146330" y="156817"/>
                  </a:lnTo>
                  <a:lnTo>
                    <a:pt x="164865" y="160109"/>
                  </a:lnTo>
                  <a:lnTo>
                    <a:pt x="164865" y="142550"/>
                  </a:lnTo>
                  <a:lnTo>
                    <a:pt x="165597" y="141208"/>
                  </a:lnTo>
                  <a:lnTo>
                    <a:pt x="177059" y="121088"/>
                  </a:lnTo>
                  <a:lnTo>
                    <a:pt x="183156" y="110357"/>
                  </a:lnTo>
                  <a:lnTo>
                    <a:pt x="185229" y="106577"/>
                  </a:lnTo>
                  <a:lnTo>
                    <a:pt x="189375" y="107309"/>
                  </a:lnTo>
                  <a:lnTo>
                    <a:pt x="190839" y="107553"/>
                  </a:lnTo>
                  <a:lnTo>
                    <a:pt x="202179" y="109504"/>
                  </a:lnTo>
                  <a:lnTo>
                    <a:pt x="206691" y="101699"/>
                  </a:lnTo>
                  <a:lnTo>
                    <a:pt x="218275" y="81335"/>
                  </a:lnTo>
                  <a:lnTo>
                    <a:pt x="219129" y="79994"/>
                  </a:lnTo>
                  <a:lnTo>
                    <a:pt x="220470" y="79140"/>
                  </a:lnTo>
                  <a:lnTo>
                    <a:pt x="244615" y="64263"/>
                  </a:lnTo>
                  <a:lnTo>
                    <a:pt x="244615" y="63897"/>
                  </a:lnTo>
                  <a:lnTo>
                    <a:pt x="243517" y="55849"/>
                  </a:lnTo>
                  <a:lnTo>
                    <a:pt x="243273" y="54996"/>
                  </a:lnTo>
                  <a:lnTo>
                    <a:pt x="243395" y="54752"/>
                  </a:lnTo>
                  <a:lnTo>
                    <a:pt x="243395" y="54752"/>
                  </a:lnTo>
                  <a:lnTo>
                    <a:pt x="242907" y="51215"/>
                  </a:lnTo>
                  <a:lnTo>
                    <a:pt x="245712" y="49021"/>
                  </a:lnTo>
                  <a:lnTo>
                    <a:pt x="258272" y="3950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4" name="Freihandform: Form 853">
              <a:extLst>
                <a:ext uri="{FF2B5EF4-FFF2-40B4-BE49-F238E27FC236}">
                  <a16:creationId xmlns:a16="http://schemas.microsoft.com/office/drawing/2014/main" id="{C25B7D98-1CA7-4371-9FB8-8564D7E58F43}"/>
                </a:ext>
              </a:extLst>
            </p:cNvPr>
            <p:cNvSpPr/>
            <p:nvPr/>
          </p:nvSpPr>
          <p:spPr>
            <a:xfrm>
              <a:off x="5120005" y="2761638"/>
              <a:ext cx="3292" cy="6341"/>
            </a:xfrm>
            <a:custGeom>
              <a:avLst/>
              <a:gdLst>
                <a:gd name="connsiteX0" fmla="*/ 3292 w 3292"/>
                <a:gd name="connsiteY0" fmla="*/ 854 h 6341"/>
                <a:gd name="connsiteX1" fmla="*/ 1341 w 3292"/>
                <a:gd name="connsiteY1" fmla="*/ 0 h 6341"/>
                <a:gd name="connsiteX2" fmla="*/ 0 w 3292"/>
                <a:gd name="connsiteY2" fmla="*/ 4878 h 6341"/>
                <a:gd name="connsiteX3" fmla="*/ 975 w 3292"/>
                <a:gd name="connsiteY3" fmla="*/ 6341 h 6341"/>
                <a:gd name="connsiteX4" fmla="*/ 1951 w 3292"/>
                <a:gd name="connsiteY4" fmla="*/ 5487 h 6341"/>
                <a:gd name="connsiteX5" fmla="*/ 3292 w 3292"/>
                <a:gd name="connsiteY5" fmla="*/ 854 h 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92" h="6341">
                  <a:moveTo>
                    <a:pt x="3292" y="854"/>
                  </a:moveTo>
                  <a:lnTo>
                    <a:pt x="1341" y="0"/>
                  </a:lnTo>
                  <a:lnTo>
                    <a:pt x="0" y="4878"/>
                  </a:lnTo>
                  <a:lnTo>
                    <a:pt x="975" y="6341"/>
                  </a:lnTo>
                  <a:lnTo>
                    <a:pt x="1951" y="5487"/>
                  </a:lnTo>
                  <a:lnTo>
                    <a:pt x="3292" y="85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5" name="Freihandform: Form 854">
              <a:extLst>
                <a:ext uri="{FF2B5EF4-FFF2-40B4-BE49-F238E27FC236}">
                  <a16:creationId xmlns:a16="http://schemas.microsoft.com/office/drawing/2014/main" id="{B1AACBCA-BAF9-41E2-8339-DF7C27A6D697}"/>
                </a:ext>
              </a:extLst>
            </p:cNvPr>
            <p:cNvSpPr/>
            <p:nvPr/>
          </p:nvSpPr>
          <p:spPr>
            <a:xfrm>
              <a:off x="5355596" y="2115347"/>
              <a:ext cx="798351" cy="419235"/>
            </a:xfrm>
            <a:custGeom>
              <a:avLst/>
              <a:gdLst>
                <a:gd name="connsiteX0" fmla="*/ 279002 w 798351"/>
                <a:gd name="connsiteY0" fmla="*/ 149013 h 419235"/>
                <a:gd name="connsiteX1" fmla="*/ 273027 w 798351"/>
                <a:gd name="connsiteY1" fmla="*/ 153403 h 419235"/>
                <a:gd name="connsiteX2" fmla="*/ 267784 w 798351"/>
                <a:gd name="connsiteY2" fmla="*/ 157061 h 419235"/>
                <a:gd name="connsiteX3" fmla="*/ 264369 w 798351"/>
                <a:gd name="connsiteY3" fmla="*/ 151817 h 419235"/>
                <a:gd name="connsiteX4" fmla="*/ 258638 w 798351"/>
                <a:gd name="connsiteY4" fmla="*/ 143159 h 419235"/>
                <a:gd name="connsiteX5" fmla="*/ 258638 w 798351"/>
                <a:gd name="connsiteY5" fmla="*/ 143159 h 419235"/>
                <a:gd name="connsiteX6" fmla="*/ 257906 w 798351"/>
                <a:gd name="connsiteY6" fmla="*/ 149500 h 419235"/>
                <a:gd name="connsiteX7" fmla="*/ 257053 w 798351"/>
                <a:gd name="connsiteY7" fmla="*/ 156085 h 419235"/>
                <a:gd name="connsiteX8" fmla="*/ 250590 w 798351"/>
                <a:gd name="connsiteY8" fmla="*/ 154744 h 419235"/>
                <a:gd name="connsiteX9" fmla="*/ 226202 w 798351"/>
                <a:gd name="connsiteY9" fmla="*/ 149622 h 419235"/>
                <a:gd name="connsiteX10" fmla="*/ 224616 w 798351"/>
                <a:gd name="connsiteY10" fmla="*/ 149622 h 419235"/>
                <a:gd name="connsiteX11" fmla="*/ 223397 w 798351"/>
                <a:gd name="connsiteY11" fmla="*/ 148647 h 419235"/>
                <a:gd name="connsiteX12" fmla="*/ 223397 w 798351"/>
                <a:gd name="connsiteY12" fmla="*/ 148647 h 419235"/>
                <a:gd name="connsiteX13" fmla="*/ 215593 w 798351"/>
                <a:gd name="connsiteY13" fmla="*/ 141940 h 419235"/>
                <a:gd name="connsiteX14" fmla="*/ 183156 w 798351"/>
                <a:gd name="connsiteY14" fmla="*/ 141940 h 419235"/>
                <a:gd name="connsiteX15" fmla="*/ 179254 w 798351"/>
                <a:gd name="connsiteY15" fmla="*/ 145964 h 419235"/>
                <a:gd name="connsiteX16" fmla="*/ 173645 w 798351"/>
                <a:gd name="connsiteY16" fmla="*/ 151451 h 419235"/>
                <a:gd name="connsiteX17" fmla="*/ 171816 w 798351"/>
                <a:gd name="connsiteY17" fmla="*/ 153281 h 419235"/>
                <a:gd name="connsiteX18" fmla="*/ 161451 w 798351"/>
                <a:gd name="connsiteY18" fmla="*/ 153281 h 419235"/>
                <a:gd name="connsiteX19" fmla="*/ 159743 w 798351"/>
                <a:gd name="connsiteY19" fmla="*/ 151451 h 419235"/>
                <a:gd name="connsiteX20" fmla="*/ 155110 w 798351"/>
                <a:gd name="connsiteY20" fmla="*/ 146940 h 419235"/>
                <a:gd name="connsiteX21" fmla="*/ 153159 w 798351"/>
                <a:gd name="connsiteY21" fmla="*/ 144989 h 419235"/>
                <a:gd name="connsiteX22" fmla="*/ 144988 w 798351"/>
                <a:gd name="connsiteY22" fmla="*/ 145964 h 419235"/>
                <a:gd name="connsiteX23" fmla="*/ 141452 w 798351"/>
                <a:gd name="connsiteY23" fmla="*/ 145964 h 419235"/>
                <a:gd name="connsiteX24" fmla="*/ 139257 w 798351"/>
                <a:gd name="connsiteY24" fmla="*/ 143038 h 419235"/>
                <a:gd name="connsiteX25" fmla="*/ 137672 w 798351"/>
                <a:gd name="connsiteY25" fmla="*/ 140843 h 419235"/>
                <a:gd name="connsiteX26" fmla="*/ 129990 w 798351"/>
                <a:gd name="connsiteY26" fmla="*/ 130234 h 419235"/>
                <a:gd name="connsiteX27" fmla="*/ 114625 w 798351"/>
                <a:gd name="connsiteY27" fmla="*/ 131453 h 419235"/>
                <a:gd name="connsiteX28" fmla="*/ 112186 w 798351"/>
                <a:gd name="connsiteY28" fmla="*/ 131453 h 419235"/>
                <a:gd name="connsiteX29" fmla="*/ 110235 w 798351"/>
                <a:gd name="connsiteY29" fmla="*/ 129868 h 419235"/>
                <a:gd name="connsiteX30" fmla="*/ 103528 w 798351"/>
                <a:gd name="connsiteY30" fmla="*/ 124259 h 419235"/>
                <a:gd name="connsiteX31" fmla="*/ 83286 w 798351"/>
                <a:gd name="connsiteY31" fmla="*/ 124259 h 419235"/>
                <a:gd name="connsiteX32" fmla="*/ 81457 w 798351"/>
                <a:gd name="connsiteY32" fmla="*/ 122186 h 419235"/>
                <a:gd name="connsiteX33" fmla="*/ 74506 w 798351"/>
                <a:gd name="connsiteY33" fmla="*/ 114137 h 419235"/>
                <a:gd name="connsiteX34" fmla="*/ 69141 w 798351"/>
                <a:gd name="connsiteY34" fmla="*/ 117674 h 419235"/>
                <a:gd name="connsiteX35" fmla="*/ 36582 w 798351"/>
                <a:gd name="connsiteY35" fmla="*/ 139379 h 419235"/>
                <a:gd name="connsiteX36" fmla="*/ 36582 w 798351"/>
                <a:gd name="connsiteY36" fmla="*/ 162060 h 419235"/>
                <a:gd name="connsiteX37" fmla="*/ 31217 w 798351"/>
                <a:gd name="connsiteY37" fmla="*/ 162060 h 419235"/>
                <a:gd name="connsiteX38" fmla="*/ 21584 w 798351"/>
                <a:gd name="connsiteY38" fmla="*/ 163158 h 419235"/>
                <a:gd name="connsiteX39" fmla="*/ 18047 w 798351"/>
                <a:gd name="connsiteY39" fmla="*/ 163158 h 419235"/>
                <a:gd name="connsiteX40" fmla="*/ 15974 w 798351"/>
                <a:gd name="connsiteY40" fmla="*/ 160231 h 419235"/>
                <a:gd name="connsiteX41" fmla="*/ 12316 w 798351"/>
                <a:gd name="connsiteY41" fmla="*/ 155232 h 419235"/>
                <a:gd name="connsiteX42" fmla="*/ 11097 w 798351"/>
                <a:gd name="connsiteY42" fmla="*/ 153525 h 419235"/>
                <a:gd name="connsiteX43" fmla="*/ 5243 w 798351"/>
                <a:gd name="connsiteY43" fmla="*/ 154988 h 419235"/>
                <a:gd name="connsiteX44" fmla="*/ 0 w 798351"/>
                <a:gd name="connsiteY44" fmla="*/ 229494 h 419235"/>
                <a:gd name="connsiteX45" fmla="*/ 22803 w 798351"/>
                <a:gd name="connsiteY45" fmla="*/ 234250 h 419235"/>
                <a:gd name="connsiteX46" fmla="*/ 24876 w 798351"/>
                <a:gd name="connsiteY46" fmla="*/ 234250 h 419235"/>
                <a:gd name="connsiteX47" fmla="*/ 26217 w 798351"/>
                <a:gd name="connsiteY47" fmla="*/ 235835 h 419235"/>
                <a:gd name="connsiteX48" fmla="*/ 33656 w 798351"/>
                <a:gd name="connsiteY48" fmla="*/ 244981 h 419235"/>
                <a:gd name="connsiteX49" fmla="*/ 37924 w 798351"/>
                <a:gd name="connsiteY49" fmla="*/ 250102 h 419235"/>
                <a:gd name="connsiteX50" fmla="*/ 39753 w 798351"/>
                <a:gd name="connsiteY50" fmla="*/ 252419 h 419235"/>
                <a:gd name="connsiteX51" fmla="*/ 39143 w 798351"/>
                <a:gd name="connsiteY51" fmla="*/ 255224 h 419235"/>
                <a:gd name="connsiteX52" fmla="*/ 35729 w 798351"/>
                <a:gd name="connsiteY52" fmla="*/ 271198 h 419235"/>
                <a:gd name="connsiteX53" fmla="*/ 39631 w 798351"/>
                <a:gd name="connsiteY53" fmla="*/ 273393 h 419235"/>
                <a:gd name="connsiteX54" fmla="*/ 44387 w 798351"/>
                <a:gd name="connsiteY54" fmla="*/ 276076 h 419235"/>
                <a:gd name="connsiteX55" fmla="*/ 44387 w 798351"/>
                <a:gd name="connsiteY55" fmla="*/ 276076 h 419235"/>
                <a:gd name="connsiteX56" fmla="*/ 65848 w 798351"/>
                <a:gd name="connsiteY56" fmla="*/ 268515 h 419235"/>
                <a:gd name="connsiteX57" fmla="*/ 66458 w 798351"/>
                <a:gd name="connsiteY57" fmla="*/ 268516 h 419235"/>
                <a:gd name="connsiteX58" fmla="*/ 68287 w 798351"/>
                <a:gd name="connsiteY58" fmla="*/ 268516 h 419235"/>
                <a:gd name="connsiteX59" fmla="*/ 69384 w 798351"/>
                <a:gd name="connsiteY59" fmla="*/ 268516 h 419235"/>
                <a:gd name="connsiteX60" fmla="*/ 69385 w 798351"/>
                <a:gd name="connsiteY60" fmla="*/ 268516 h 419235"/>
                <a:gd name="connsiteX61" fmla="*/ 70482 w 798351"/>
                <a:gd name="connsiteY61" fmla="*/ 266443 h 419235"/>
                <a:gd name="connsiteX62" fmla="*/ 71580 w 798351"/>
                <a:gd name="connsiteY62" fmla="*/ 264369 h 419235"/>
                <a:gd name="connsiteX63" fmla="*/ 71580 w 798351"/>
                <a:gd name="connsiteY63" fmla="*/ 263638 h 419235"/>
                <a:gd name="connsiteX64" fmla="*/ 72677 w 798351"/>
                <a:gd name="connsiteY64" fmla="*/ 262175 h 419235"/>
                <a:gd name="connsiteX65" fmla="*/ 72677 w 798351"/>
                <a:gd name="connsiteY65" fmla="*/ 261565 h 419235"/>
                <a:gd name="connsiteX66" fmla="*/ 73897 w 798351"/>
                <a:gd name="connsiteY66" fmla="*/ 260345 h 419235"/>
                <a:gd name="connsiteX67" fmla="*/ 74628 w 798351"/>
                <a:gd name="connsiteY67" fmla="*/ 259614 h 419235"/>
                <a:gd name="connsiteX68" fmla="*/ 76335 w 798351"/>
                <a:gd name="connsiteY68" fmla="*/ 258516 h 419235"/>
                <a:gd name="connsiteX69" fmla="*/ 77067 w 798351"/>
                <a:gd name="connsiteY69" fmla="*/ 258516 h 419235"/>
                <a:gd name="connsiteX70" fmla="*/ 80237 w 798351"/>
                <a:gd name="connsiteY70" fmla="*/ 257297 h 419235"/>
                <a:gd name="connsiteX71" fmla="*/ 80847 w 798351"/>
                <a:gd name="connsiteY71" fmla="*/ 257297 h 419235"/>
                <a:gd name="connsiteX72" fmla="*/ 84262 w 798351"/>
                <a:gd name="connsiteY72" fmla="*/ 257297 h 419235"/>
                <a:gd name="connsiteX73" fmla="*/ 88651 w 798351"/>
                <a:gd name="connsiteY73" fmla="*/ 257297 h 419235"/>
                <a:gd name="connsiteX74" fmla="*/ 96700 w 798351"/>
                <a:gd name="connsiteY74" fmla="*/ 257297 h 419235"/>
                <a:gd name="connsiteX75" fmla="*/ 97919 w 798351"/>
                <a:gd name="connsiteY75" fmla="*/ 257297 h 419235"/>
                <a:gd name="connsiteX76" fmla="*/ 97919 w 798351"/>
                <a:gd name="connsiteY76" fmla="*/ 258516 h 419235"/>
                <a:gd name="connsiteX77" fmla="*/ 99260 w 798351"/>
                <a:gd name="connsiteY77" fmla="*/ 260711 h 419235"/>
                <a:gd name="connsiteX78" fmla="*/ 99260 w 798351"/>
                <a:gd name="connsiteY78" fmla="*/ 260711 h 419235"/>
                <a:gd name="connsiteX79" fmla="*/ 100601 w 798351"/>
                <a:gd name="connsiteY79" fmla="*/ 261443 h 419235"/>
                <a:gd name="connsiteX80" fmla="*/ 101455 w 798351"/>
                <a:gd name="connsiteY80" fmla="*/ 261443 h 419235"/>
                <a:gd name="connsiteX81" fmla="*/ 103285 w 798351"/>
                <a:gd name="connsiteY81" fmla="*/ 261443 h 419235"/>
                <a:gd name="connsiteX82" fmla="*/ 110235 w 798351"/>
                <a:gd name="connsiteY82" fmla="*/ 261443 h 419235"/>
                <a:gd name="connsiteX83" fmla="*/ 113527 w 798351"/>
                <a:gd name="connsiteY83" fmla="*/ 261443 h 419235"/>
                <a:gd name="connsiteX84" fmla="*/ 113528 w 798351"/>
                <a:gd name="connsiteY84" fmla="*/ 261443 h 419235"/>
                <a:gd name="connsiteX85" fmla="*/ 116454 w 798351"/>
                <a:gd name="connsiteY85" fmla="*/ 262540 h 419235"/>
                <a:gd name="connsiteX86" fmla="*/ 117064 w 798351"/>
                <a:gd name="connsiteY86" fmla="*/ 262540 h 419235"/>
                <a:gd name="connsiteX87" fmla="*/ 119381 w 798351"/>
                <a:gd name="connsiteY87" fmla="*/ 264857 h 419235"/>
                <a:gd name="connsiteX88" fmla="*/ 119381 w 798351"/>
                <a:gd name="connsiteY88" fmla="*/ 264857 h 419235"/>
                <a:gd name="connsiteX89" fmla="*/ 120844 w 798351"/>
                <a:gd name="connsiteY89" fmla="*/ 269003 h 419235"/>
                <a:gd name="connsiteX90" fmla="*/ 122307 w 798351"/>
                <a:gd name="connsiteY90" fmla="*/ 272174 h 419235"/>
                <a:gd name="connsiteX91" fmla="*/ 122307 w 798351"/>
                <a:gd name="connsiteY91" fmla="*/ 278149 h 419235"/>
                <a:gd name="connsiteX92" fmla="*/ 121332 w 798351"/>
                <a:gd name="connsiteY92" fmla="*/ 280710 h 419235"/>
                <a:gd name="connsiteX93" fmla="*/ 119868 w 798351"/>
                <a:gd name="connsiteY93" fmla="*/ 286929 h 419235"/>
                <a:gd name="connsiteX94" fmla="*/ 119868 w 798351"/>
                <a:gd name="connsiteY94" fmla="*/ 287782 h 419235"/>
                <a:gd name="connsiteX95" fmla="*/ 119868 w 798351"/>
                <a:gd name="connsiteY95" fmla="*/ 290709 h 419235"/>
                <a:gd name="connsiteX96" fmla="*/ 119868 w 798351"/>
                <a:gd name="connsiteY96" fmla="*/ 294001 h 419235"/>
                <a:gd name="connsiteX97" fmla="*/ 119868 w 798351"/>
                <a:gd name="connsiteY97" fmla="*/ 301684 h 419235"/>
                <a:gd name="connsiteX98" fmla="*/ 115479 w 798351"/>
                <a:gd name="connsiteY98" fmla="*/ 307903 h 419235"/>
                <a:gd name="connsiteX99" fmla="*/ 115479 w 798351"/>
                <a:gd name="connsiteY99" fmla="*/ 307903 h 419235"/>
                <a:gd name="connsiteX100" fmla="*/ 115479 w 798351"/>
                <a:gd name="connsiteY100" fmla="*/ 307903 h 419235"/>
                <a:gd name="connsiteX101" fmla="*/ 84384 w 798351"/>
                <a:gd name="connsiteY101" fmla="*/ 314122 h 419235"/>
                <a:gd name="connsiteX102" fmla="*/ 83164 w 798351"/>
                <a:gd name="connsiteY102" fmla="*/ 321438 h 419235"/>
                <a:gd name="connsiteX103" fmla="*/ 84750 w 798351"/>
                <a:gd name="connsiteY103" fmla="*/ 323023 h 419235"/>
                <a:gd name="connsiteX104" fmla="*/ 85603 w 798351"/>
                <a:gd name="connsiteY104" fmla="*/ 324974 h 419235"/>
                <a:gd name="connsiteX105" fmla="*/ 85603 w 798351"/>
                <a:gd name="connsiteY105" fmla="*/ 327413 h 419235"/>
                <a:gd name="connsiteX106" fmla="*/ 84750 w 798351"/>
                <a:gd name="connsiteY106" fmla="*/ 329730 h 419235"/>
                <a:gd name="connsiteX107" fmla="*/ 84749 w 798351"/>
                <a:gd name="connsiteY107" fmla="*/ 329730 h 419235"/>
                <a:gd name="connsiteX108" fmla="*/ 84749 w 798351"/>
                <a:gd name="connsiteY108" fmla="*/ 329730 h 419235"/>
                <a:gd name="connsiteX109" fmla="*/ 81457 w 798351"/>
                <a:gd name="connsiteY109" fmla="*/ 331194 h 419235"/>
                <a:gd name="connsiteX110" fmla="*/ 79994 w 798351"/>
                <a:gd name="connsiteY110" fmla="*/ 331194 h 419235"/>
                <a:gd name="connsiteX111" fmla="*/ 77920 w 798351"/>
                <a:gd name="connsiteY111" fmla="*/ 331194 h 419235"/>
                <a:gd name="connsiteX112" fmla="*/ 77920 w 798351"/>
                <a:gd name="connsiteY112" fmla="*/ 331194 h 419235"/>
                <a:gd name="connsiteX113" fmla="*/ 75238 w 798351"/>
                <a:gd name="connsiteY113" fmla="*/ 329974 h 419235"/>
                <a:gd name="connsiteX114" fmla="*/ 74628 w 798351"/>
                <a:gd name="connsiteY114" fmla="*/ 329974 h 419235"/>
                <a:gd name="connsiteX115" fmla="*/ 72433 w 798351"/>
                <a:gd name="connsiteY115" fmla="*/ 328511 h 419235"/>
                <a:gd name="connsiteX116" fmla="*/ 67190 w 798351"/>
                <a:gd name="connsiteY116" fmla="*/ 325462 h 419235"/>
                <a:gd name="connsiteX117" fmla="*/ 75238 w 798351"/>
                <a:gd name="connsiteY117" fmla="*/ 339242 h 419235"/>
                <a:gd name="connsiteX118" fmla="*/ 81944 w 798351"/>
                <a:gd name="connsiteY118" fmla="*/ 347290 h 419235"/>
                <a:gd name="connsiteX119" fmla="*/ 81945 w 798351"/>
                <a:gd name="connsiteY119" fmla="*/ 347290 h 419235"/>
                <a:gd name="connsiteX120" fmla="*/ 83896 w 798351"/>
                <a:gd name="connsiteY120" fmla="*/ 353875 h 419235"/>
                <a:gd name="connsiteX121" fmla="*/ 84993 w 798351"/>
                <a:gd name="connsiteY121" fmla="*/ 357533 h 419235"/>
                <a:gd name="connsiteX122" fmla="*/ 90481 w 798351"/>
                <a:gd name="connsiteY122" fmla="*/ 366678 h 419235"/>
                <a:gd name="connsiteX123" fmla="*/ 93773 w 798351"/>
                <a:gd name="connsiteY123" fmla="*/ 366678 h 419235"/>
                <a:gd name="connsiteX124" fmla="*/ 95236 w 798351"/>
                <a:gd name="connsiteY124" fmla="*/ 366679 h 419235"/>
                <a:gd name="connsiteX125" fmla="*/ 97431 w 798351"/>
                <a:gd name="connsiteY125" fmla="*/ 366679 h 419235"/>
                <a:gd name="connsiteX126" fmla="*/ 98407 w 798351"/>
                <a:gd name="connsiteY126" fmla="*/ 366679 h 419235"/>
                <a:gd name="connsiteX127" fmla="*/ 100358 w 798351"/>
                <a:gd name="connsiteY127" fmla="*/ 367776 h 419235"/>
                <a:gd name="connsiteX128" fmla="*/ 101211 w 798351"/>
                <a:gd name="connsiteY128" fmla="*/ 367776 h 419235"/>
                <a:gd name="connsiteX129" fmla="*/ 103528 w 798351"/>
                <a:gd name="connsiteY129" fmla="*/ 369483 h 419235"/>
                <a:gd name="connsiteX130" fmla="*/ 110723 w 798351"/>
                <a:gd name="connsiteY130" fmla="*/ 373141 h 419235"/>
                <a:gd name="connsiteX131" fmla="*/ 112674 w 798351"/>
                <a:gd name="connsiteY131" fmla="*/ 373141 h 419235"/>
                <a:gd name="connsiteX132" fmla="*/ 112674 w 798351"/>
                <a:gd name="connsiteY132" fmla="*/ 374361 h 419235"/>
                <a:gd name="connsiteX133" fmla="*/ 113649 w 798351"/>
                <a:gd name="connsiteY133" fmla="*/ 379482 h 419235"/>
                <a:gd name="connsiteX134" fmla="*/ 113649 w 798351"/>
                <a:gd name="connsiteY134" fmla="*/ 383385 h 419235"/>
                <a:gd name="connsiteX135" fmla="*/ 113649 w 798351"/>
                <a:gd name="connsiteY135" fmla="*/ 383385 h 419235"/>
                <a:gd name="connsiteX136" fmla="*/ 114747 w 798351"/>
                <a:gd name="connsiteY136" fmla="*/ 382531 h 419235"/>
                <a:gd name="connsiteX137" fmla="*/ 115845 w 798351"/>
                <a:gd name="connsiteY137" fmla="*/ 381433 h 419235"/>
                <a:gd name="connsiteX138" fmla="*/ 117430 w 798351"/>
                <a:gd name="connsiteY138" fmla="*/ 381433 h 419235"/>
                <a:gd name="connsiteX139" fmla="*/ 123039 w 798351"/>
                <a:gd name="connsiteY139" fmla="*/ 380336 h 419235"/>
                <a:gd name="connsiteX140" fmla="*/ 125722 w 798351"/>
                <a:gd name="connsiteY140" fmla="*/ 380336 h 419235"/>
                <a:gd name="connsiteX141" fmla="*/ 127673 w 798351"/>
                <a:gd name="connsiteY141" fmla="*/ 380336 h 419235"/>
                <a:gd name="connsiteX142" fmla="*/ 129502 w 798351"/>
                <a:gd name="connsiteY142" fmla="*/ 381189 h 419235"/>
                <a:gd name="connsiteX143" fmla="*/ 134136 w 798351"/>
                <a:gd name="connsiteY143" fmla="*/ 383263 h 419235"/>
                <a:gd name="connsiteX144" fmla="*/ 140842 w 798351"/>
                <a:gd name="connsiteY144" fmla="*/ 386433 h 419235"/>
                <a:gd name="connsiteX145" fmla="*/ 141818 w 798351"/>
                <a:gd name="connsiteY145" fmla="*/ 386433 h 419235"/>
                <a:gd name="connsiteX146" fmla="*/ 142550 w 798351"/>
                <a:gd name="connsiteY146" fmla="*/ 387165 h 419235"/>
                <a:gd name="connsiteX147" fmla="*/ 153280 w 798351"/>
                <a:gd name="connsiteY147" fmla="*/ 397774 h 419235"/>
                <a:gd name="connsiteX148" fmla="*/ 166450 w 798351"/>
                <a:gd name="connsiteY148" fmla="*/ 396554 h 419235"/>
                <a:gd name="connsiteX149" fmla="*/ 164377 w 798351"/>
                <a:gd name="connsiteY149" fmla="*/ 355460 h 419235"/>
                <a:gd name="connsiteX150" fmla="*/ 162914 w 798351"/>
                <a:gd name="connsiteY150" fmla="*/ 327901 h 419235"/>
                <a:gd name="connsiteX151" fmla="*/ 162914 w 798351"/>
                <a:gd name="connsiteY151" fmla="*/ 324121 h 419235"/>
                <a:gd name="connsiteX152" fmla="*/ 166328 w 798351"/>
                <a:gd name="connsiteY152" fmla="*/ 322292 h 419235"/>
                <a:gd name="connsiteX153" fmla="*/ 221446 w 798351"/>
                <a:gd name="connsiteY153" fmla="*/ 292782 h 419235"/>
                <a:gd name="connsiteX154" fmla="*/ 224738 w 798351"/>
                <a:gd name="connsiteY154" fmla="*/ 291075 h 419235"/>
                <a:gd name="connsiteX155" fmla="*/ 227787 w 798351"/>
                <a:gd name="connsiteY155" fmla="*/ 293148 h 419235"/>
                <a:gd name="connsiteX156" fmla="*/ 258760 w 798351"/>
                <a:gd name="connsiteY156" fmla="*/ 314122 h 419235"/>
                <a:gd name="connsiteX157" fmla="*/ 281807 w 798351"/>
                <a:gd name="connsiteY157" fmla="*/ 329730 h 419235"/>
                <a:gd name="connsiteX158" fmla="*/ 281807 w 798351"/>
                <a:gd name="connsiteY158" fmla="*/ 329730 h 419235"/>
                <a:gd name="connsiteX159" fmla="*/ 282417 w 798351"/>
                <a:gd name="connsiteY159" fmla="*/ 330462 h 419235"/>
                <a:gd name="connsiteX160" fmla="*/ 285221 w 798351"/>
                <a:gd name="connsiteY160" fmla="*/ 333876 h 419235"/>
                <a:gd name="connsiteX161" fmla="*/ 295708 w 798351"/>
                <a:gd name="connsiteY161" fmla="*/ 346070 h 419235"/>
                <a:gd name="connsiteX162" fmla="*/ 306439 w 798351"/>
                <a:gd name="connsiteY162" fmla="*/ 344485 h 419235"/>
                <a:gd name="connsiteX163" fmla="*/ 307781 w 798351"/>
                <a:gd name="connsiteY163" fmla="*/ 344485 h 419235"/>
                <a:gd name="connsiteX164" fmla="*/ 327047 w 798351"/>
                <a:gd name="connsiteY164" fmla="*/ 346314 h 419235"/>
                <a:gd name="connsiteX165" fmla="*/ 328998 w 798351"/>
                <a:gd name="connsiteY165" fmla="*/ 346314 h 419235"/>
                <a:gd name="connsiteX166" fmla="*/ 335339 w 798351"/>
                <a:gd name="connsiteY166" fmla="*/ 345583 h 419235"/>
                <a:gd name="connsiteX167" fmla="*/ 337412 w 798351"/>
                <a:gd name="connsiteY167" fmla="*/ 345583 h 419235"/>
                <a:gd name="connsiteX168" fmla="*/ 339241 w 798351"/>
                <a:gd name="connsiteY168" fmla="*/ 346680 h 419235"/>
                <a:gd name="connsiteX169" fmla="*/ 354240 w 798351"/>
                <a:gd name="connsiteY169" fmla="*/ 356313 h 419235"/>
                <a:gd name="connsiteX170" fmla="*/ 355703 w 798351"/>
                <a:gd name="connsiteY170" fmla="*/ 357289 h 419235"/>
                <a:gd name="connsiteX171" fmla="*/ 356435 w 798351"/>
                <a:gd name="connsiteY171" fmla="*/ 358996 h 419235"/>
                <a:gd name="connsiteX172" fmla="*/ 364117 w 798351"/>
                <a:gd name="connsiteY172" fmla="*/ 375946 h 419235"/>
                <a:gd name="connsiteX173" fmla="*/ 371190 w 798351"/>
                <a:gd name="connsiteY173" fmla="*/ 373873 h 419235"/>
                <a:gd name="connsiteX174" fmla="*/ 376677 w 798351"/>
                <a:gd name="connsiteY174" fmla="*/ 372166 h 419235"/>
                <a:gd name="connsiteX175" fmla="*/ 378751 w 798351"/>
                <a:gd name="connsiteY175" fmla="*/ 377409 h 419235"/>
                <a:gd name="connsiteX176" fmla="*/ 380214 w 798351"/>
                <a:gd name="connsiteY176" fmla="*/ 381433 h 419235"/>
                <a:gd name="connsiteX177" fmla="*/ 390335 w 798351"/>
                <a:gd name="connsiteY177" fmla="*/ 407407 h 419235"/>
                <a:gd name="connsiteX178" fmla="*/ 393993 w 798351"/>
                <a:gd name="connsiteY178" fmla="*/ 407407 h 419235"/>
                <a:gd name="connsiteX179" fmla="*/ 394847 w 798351"/>
                <a:gd name="connsiteY179" fmla="*/ 407407 h 419235"/>
                <a:gd name="connsiteX180" fmla="*/ 397042 w 798351"/>
                <a:gd name="connsiteY180" fmla="*/ 407407 h 419235"/>
                <a:gd name="connsiteX181" fmla="*/ 398505 w 798351"/>
                <a:gd name="connsiteY181" fmla="*/ 408992 h 419235"/>
                <a:gd name="connsiteX182" fmla="*/ 408017 w 798351"/>
                <a:gd name="connsiteY182" fmla="*/ 419235 h 419235"/>
                <a:gd name="connsiteX183" fmla="*/ 410577 w 798351"/>
                <a:gd name="connsiteY183" fmla="*/ 419235 h 419235"/>
                <a:gd name="connsiteX184" fmla="*/ 412406 w 798351"/>
                <a:gd name="connsiteY184" fmla="*/ 419235 h 419235"/>
                <a:gd name="connsiteX185" fmla="*/ 420699 w 798351"/>
                <a:gd name="connsiteY185" fmla="*/ 412650 h 419235"/>
                <a:gd name="connsiteX186" fmla="*/ 421552 w 798351"/>
                <a:gd name="connsiteY186" fmla="*/ 412650 h 419235"/>
                <a:gd name="connsiteX187" fmla="*/ 422528 w 798351"/>
                <a:gd name="connsiteY187" fmla="*/ 412650 h 419235"/>
                <a:gd name="connsiteX188" fmla="*/ 429722 w 798351"/>
                <a:gd name="connsiteY188" fmla="*/ 410212 h 419235"/>
                <a:gd name="connsiteX189" fmla="*/ 430942 w 798351"/>
                <a:gd name="connsiteY189" fmla="*/ 404968 h 419235"/>
                <a:gd name="connsiteX190" fmla="*/ 431673 w 798351"/>
                <a:gd name="connsiteY190" fmla="*/ 401920 h 419235"/>
                <a:gd name="connsiteX191" fmla="*/ 431673 w 798351"/>
                <a:gd name="connsiteY191" fmla="*/ 400334 h 419235"/>
                <a:gd name="connsiteX192" fmla="*/ 432893 w 798351"/>
                <a:gd name="connsiteY192" fmla="*/ 399115 h 419235"/>
                <a:gd name="connsiteX193" fmla="*/ 445087 w 798351"/>
                <a:gd name="connsiteY193" fmla="*/ 386921 h 419235"/>
                <a:gd name="connsiteX194" fmla="*/ 446428 w 798351"/>
                <a:gd name="connsiteY194" fmla="*/ 385701 h 419235"/>
                <a:gd name="connsiteX195" fmla="*/ 448135 w 798351"/>
                <a:gd name="connsiteY195" fmla="*/ 385701 h 419235"/>
                <a:gd name="connsiteX196" fmla="*/ 454476 w 798351"/>
                <a:gd name="connsiteY196" fmla="*/ 384360 h 419235"/>
                <a:gd name="connsiteX197" fmla="*/ 468865 w 798351"/>
                <a:gd name="connsiteY197" fmla="*/ 381068 h 419235"/>
                <a:gd name="connsiteX198" fmla="*/ 471670 w 798351"/>
                <a:gd name="connsiteY198" fmla="*/ 381068 h 419235"/>
                <a:gd name="connsiteX199" fmla="*/ 477767 w 798351"/>
                <a:gd name="connsiteY199" fmla="*/ 373507 h 419235"/>
                <a:gd name="connsiteX200" fmla="*/ 479596 w 798351"/>
                <a:gd name="connsiteY200" fmla="*/ 371190 h 419235"/>
                <a:gd name="connsiteX201" fmla="*/ 497156 w 798351"/>
                <a:gd name="connsiteY201" fmla="*/ 371190 h 419235"/>
                <a:gd name="connsiteX202" fmla="*/ 498863 w 798351"/>
                <a:gd name="connsiteY202" fmla="*/ 372776 h 419235"/>
                <a:gd name="connsiteX203" fmla="*/ 506423 w 798351"/>
                <a:gd name="connsiteY203" fmla="*/ 379604 h 419235"/>
                <a:gd name="connsiteX204" fmla="*/ 522276 w 798351"/>
                <a:gd name="connsiteY204" fmla="*/ 377531 h 419235"/>
                <a:gd name="connsiteX205" fmla="*/ 519959 w 798351"/>
                <a:gd name="connsiteY205" fmla="*/ 371678 h 419235"/>
                <a:gd name="connsiteX206" fmla="*/ 518130 w 798351"/>
                <a:gd name="connsiteY206" fmla="*/ 366922 h 419235"/>
                <a:gd name="connsiteX207" fmla="*/ 522642 w 798351"/>
                <a:gd name="connsiteY207" fmla="*/ 364240 h 419235"/>
                <a:gd name="connsiteX208" fmla="*/ 540933 w 798351"/>
                <a:gd name="connsiteY208" fmla="*/ 353387 h 419235"/>
                <a:gd name="connsiteX209" fmla="*/ 543616 w 798351"/>
                <a:gd name="connsiteY209" fmla="*/ 351802 h 419235"/>
                <a:gd name="connsiteX210" fmla="*/ 546542 w 798351"/>
                <a:gd name="connsiteY210" fmla="*/ 353143 h 419235"/>
                <a:gd name="connsiteX211" fmla="*/ 553249 w 798351"/>
                <a:gd name="connsiteY211" fmla="*/ 356192 h 419235"/>
                <a:gd name="connsiteX212" fmla="*/ 555444 w 798351"/>
                <a:gd name="connsiteY212" fmla="*/ 357167 h 419235"/>
                <a:gd name="connsiteX213" fmla="*/ 556907 w 798351"/>
                <a:gd name="connsiteY213" fmla="*/ 357899 h 419235"/>
                <a:gd name="connsiteX214" fmla="*/ 557883 w 798351"/>
                <a:gd name="connsiteY214" fmla="*/ 359240 h 419235"/>
                <a:gd name="connsiteX215" fmla="*/ 558858 w 798351"/>
                <a:gd name="connsiteY215" fmla="*/ 360703 h 419235"/>
                <a:gd name="connsiteX216" fmla="*/ 564346 w 798351"/>
                <a:gd name="connsiteY216" fmla="*/ 368630 h 419235"/>
                <a:gd name="connsiteX217" fmla="*/ 589344 w 798351"/>
                <a:gd name="connsiteY217" fmla="*/ 360216 h 419235"/>
                <a:gd name="connsiteX218" fmla="*/ 590807 w 798351"/>
                <a:gd name="connsiteY218" fmla="*/ 360216 h 419235"/>
                <a:gd name="connsiteX219" fmla="*/ 592392 w 798351"/>
                <a:gd name="connsiteY219" fmla="*/ 360216 h 419235"/>
                <a:gd name="connsiteX220" fmla="*/ 608854 w 798351"/>
                <a:gd name="connsiteY220" fmla="*/ 363020 h 419235"/>
                <a:gd name="connsiteX221" fmla="*/ 624829 w 798351"/>
                <a:gd name="connsiteY221" fmla="*/ 365703 h 419235"/>
                <a:gd name="connsiteX222" fmla="*/ 625438 w 798351"/>
                <a:gd name="connsiteY222" fmla="*/ 365703 h 419235"/>
                <a:gd name="connsiteX223" fmla="*/ 637632 w 798351"/>
                <a:gd name="connsiteY223" fmla="*/ 369361 h 419235"/>
                <a:gd name="connsiteX224" fmla="*/ 651046 w 798351"/>
                <a:gd name="connsiteY224" fmla="*/ 373141 h 419235"/>
                <a:gd name="connsiteX225" fmla="*/ 652266 w 798351"/>
                <a:gd name="connsiteY225" fmla="*/ 373141 h 419235"/>
                <a:gd name="connsiteX226" fmla="*/ 653241 w 798351"/>
                <a:gd name="connsiteY226" fmla="*/ 373873 h 419235"/>
                <a:gd name="connsiteX227" fmla="*/ 658485 w 798351"/>
                <a:gd name="connsiteY227" fmla="*/ 378141 h 419235"/>
                <a:gd name="connsiteX228" fmla="*/ 659216 w 798351"/>
                <a:gd name="connsiteY228" fmla="*/ 375824 h 419235"/>
                <a:gd name="connsiteX229" fmla="*/ 663119 w 798351"/>
                <a:gd name="connsiteY229" fmla="*/ 364849 h 419235"/>
                <a:gd name="connsiteX230" fmla="*/ 659460 w 798351"/>
                <a:gd name="connsiteY230" fmla="*/ 353631 h 419235"/>
                <a:gd name="connsiteX231" fmla="*/ 659460 w 798351"/>
                <a:gd name="connsiteY231" fmla="*/ 352899 h 419235"/>
                <a:gd name="connsiteX232" fmla="*/ 659460 w 798351"/>
                <a:gd name="connsiteY232" fmla="*/ 352167 h 419235"/>
                <a:gd name="connsiteX233" fmla="*/ 658241 w 798351"/>
                <a:gd name="connsiteY233" fmla="*/ 332535 h 419235"/>
                <a:gd name="connsiteX234" fmla="*/ 648485 w 798351"/>
                <a:gd name="connsiteY234" fmla="*/ 321804 h 419235"/>
                <a:gd name="connsiteX235" fmla="*/ 642388 w 798351"/>
                <a:gd name="connsiteY235" fmla="*/ 314975 h 419235"/>
                <a:gd name="connsiteX236" fmla="*/ 650924 w 798351"/>
                <a:gd name="connsiteY236" fmla="*/ 311927 h 419235"/>
                <a:gd name="connsiteX237" fmla="*/ 686287 w 798351"/>
                <a:gd name="connsiteY237" fmla="*/ 299733 h 419235"/>
                <a:gd name="connsiteX238" fmla="*/ 690433 w 798351"/>
                <a:gd name="connsiteY238" fmla="*/ 298147 h 419235"/>
                <a:gd name="connsiteX239" fmla="*/ 693116 w 798351"/>
                <a:gd name="connsiteY239" fmla="*/ 301684 h 419235"/>
                <a:gd name="connsiteX240" fmla="*/ 699213 w 798351"/>
                <a:gd name="connsiteY240" fmla="*/ 309488 h 419235"/>
                <a:gd name="connsiteX241" fmla="*/ 703603 w 798351"/>
                <a:gd name="connsiteY241" fmla="*/ 304854 h 419235"/>
                <a:gd name="connsiteX242" fmla="*/ 702628 w 798351"/>
                <a:gd name="connsiteY242" fmla="*/ 298391 h 419235"/>
                <a:gd name="connsiteX243" fmla="*/ 702628 w 798351"/>
                <a:gd name="connsiteY243" fmla="*/ 295586 h 419235"/>
                <a:gd name="connsiteX244" fmla="*/ 702628 w 798351"/>
                <a:gd name="connsiteY244" fmla="*/ 293879 h 419235"/>
                <a:gd name="connsiteX245" fmla="*/ 703359 w 798351"/>
                <a:gd name="connsiteY245" fmla="*/ 292294 h 419235"/>
                <a:gd name="connsiteX246" fmla="*/ 707993 w 798351"/>
                <a:gd name="connsiteY246" fmla="*/ 281319 h 419235"/>
                <a:gd name="connsiteX247" fmla="*/ 718236 w 798351"/>
                <a:gd name="connsiteY247" fmla="*/ 256931 h 419235"/>
                <a:gd name="connsiteX248" fmla="*/ 719699 w 798351"/>
                <a:gd name="connsiteY248" fmla="*/ 253517 h 419235"/>
                <a:gd name="connsiteX249" fmla="*/ 723479 w 798351"/>
                <a:gd name="connsiteY249" fmla="*/ 253517 h 419235"/>
                <a:gd name="connsiteX250" fmla="*/ 745673 w 798351"/>
                <a:gd name="connsiteY250" fmla="*/ 252175 h 419235"/>
                <a:gd name="connsiteX251" fmla="*/ 747258 w 798351"/>
                <a:gd name="connsiteY251" fmla="*/ 252175 h 419235"/>
                <a:gd name="connsiteX252" fmla="*/ 748599 w 798351"/>
                <a:gd name="connsiteY252" fmla="*/ 252175 h 419235"/>
                <a:gd name="connsiteX253" fmla="*/ 760794 w 798351"/>
                <a:gd name="connsiteY253" fmla="*/ 257907 h 419235"/>
                <a:gd name="connsiteX254" fmla="*/ 768598 w 798351"/>
                <a:gd name="connsiteY254" fmla="*/ 250102 h 419235"/>
                <a:gd name="connsiteX255" fmla="*/ 762501 w 798351"/>
                <a:gd name="connsiteY255" fmla="*/ 226690 h 419235"/>
                <a:gd name="connsiteX256" fmla="*/ 761525 w 798351"/>
                <a:gd name="connsiteY256" fmla="*/ 222909 h 419235"/>
                <a:gd name="connsiteX257" fmla="*/ 764574 w 798351"/>
                <a:gd name="connsiteY257" fmla="*/ 220349 h 419235"/>
                <a:gd name="connsiteX258" fmla="*/ 775548 w 798351"/>
                <a:gd name="connsiteY258" fmla="*/ 211569 h 419235"/>
                <a:gd name="connsiteX259" fmla="*/ 798352 w 798351"/>
                <a:gd name="connsiteY259" fmla="*/ 193156 h 419235"/>
                <a:gd name="connsiteX260" fmla="*/ 796766 w 798351"/>
                <a:gd name="connsiteY260" fmla="*/ 187912 h 419235"/>
                <a:gd name="connsiteX261" fmla="*/ 773232 w 798351"/>
                <a:gd name="connsiteY261" fmla="*/ 181205 h 419235"/>
                <a:gd name="connsiteX262" fmla="*/ 759818 w 798351"/>
                <a:gd name="connsiteY262" fmla="*/ 177303 h 419235"/>
                <a:gd name="connsiteX263" fmla="*/ 757989 w 798351"/>
                <a:gd name="connsiteY263" fmla="*/ 177303 h 419235"/>
                <a:gd name="connsiteX264" fmla="*/ 756891 w 798351"/>
                <a:gd name="connsiteY264" fmla="*/ 175840 h 419235"/>
                <a:gd name="connsiteX265" fmla="*/ 754087 w 798351"/>
                <a:gd name="connsiteY265" fmla="*/ 172669 h 419235"/>
                <a:gd name="connsiteX266" fmla="*/ 727260 w 798351"/>
                <a:gd name="connsiteY266" fmla="*/ 140965 h 419235"/>
                <a:gd name="connsiteX267" fmla="*/ 652997 w 798351"/>
                <a:gd name="connsiteY267" fmla="*/ 140965 h 419235"/>
                <a:gd name="connsiteX268" fmla="*/ 651290 w 798351"/>
                <a:gd name="connsiteY268" fmla="*/ 137794 h 419235"/>
                <a:gd name="connsiteX269" fmla="*/ 633852 w 798351"/>
                <a:gd name="connsiteY269" fmla="*/ 107065 h 419235"/>
                <a:gd name="connsiteX270" fmla="*/ 633852 w 798351"/>
                <a:gd name="connsiteY270" fmla="*/ 107065 h 419235"/>
                <a:gd name="connsiteX271" fmla="*/ 633852 w 798351"/>
                <a:gd name="connsiteY271" fmla="*/ 107065 h 419235"/>
                <a:gd name="connsiteX272" fmla="*/ 633852 w 798351"/>
                <a:gd name="connsiteY272" fmla="*/ 107065 h 419235"/>
                <a:gd name="connsiteX273" fmla="*/ 633852 w 798351"/>
                <a:gd name="connsiteY273" fmla="*/ 105845 h 419235"/>
                <a:gd name="connsiteX274" fmla="*/ 625072 w 798351"/>
                <a:gd name="connsiteY274" fmla="*/ 84262 h 419235"/>
                <a:gd name="connsiteX275" fmla="*/ 623365 w 798351"/>
                <a:gd name="connsiteY275" fmla="*/ 83286 h 419235"/>
                <a:gd name="connsiteX276" fmla="*/ 597026 w 798351"/>
                <a:gd name="connsiteY276" fmla="*/ 66946 h 419235"/>
                <a:gd name="connsiteX277" fmla="*/ 595075 w 798351"/>
                <a:gd name="connsiteY277" fmla="*/ 65727 h 419235"/>
                <a:gd name="connsiteX278" fmla="*/ 594343 w 798351"/>
                <a:gd name="connsiteY278" fmla="*/ 63654 h 419235"/>
                <a:gd name="connsiteX279" fmla="*/ 588002 w 798351"/>
                <a:gd name="connsiteY279" fmla="*/ 44387 h 419235"/>
                <a:gd name="connsiteX280" fmla="*/ 588002 w 798351"/>
                <a:gd name="connsiteY280" fmla="*/ 43533 h 419235"/>
                <a:gd name="connsiteX281" fmla="*/ 588002 w 798351"/>
                <a:gd name="connsiteY281" fmla="*/ 42558 h 419235"/>
                <a:gd name="connsiteX282" fmla="*/ 588002 w 798351"/>
                <a:gd name="connsiteY282" fmla="*/ 31827 h 419235"/>
                <a:gd name="connsiteX283" fmla="*/ 581295 w 798351"/>
                <a:gd name="connsiteY283" fmla="*/ 31095 h 419235"/>
                <a:gd name="connsiteX284" fmla="*/ 568004 w 798351"/>
                <a:gd name="connsiteY284" fmla="*/ 29510 h 419235"/>
                <a:gd name="connsiteX285" fmla="*/ 560078 w 798351"/>
                <a:gd name="connsiteY285" fmla="*/ 38655 h 419235"/>
                <a:gd name="connsiteX286" fmla="*/ 554834 w 798351"/>
                <a:gd name="connsiteY286" fmla="*/ 50118 h 419235"/>
                <a:gd name="connsiteX287" fmla="*/ 553615 w 798351"/>
                <a:gd name="connsiteY287" fmla="*/ 53045 h 419235"/>
                <a:gd name="connsiteX288" fmla="*/ 550444 w 798351"/>
                <a:gd name="connsiteY288" fmla="*/ 53045 h 419235"/>
                <a:gd name="connsiteX289" fmla="*/ 529470 w 798351"/>
                <a:gd name="connsiteY289" fmla="*/ 56825 h 419235"/>
                <a:gd name="connsiteX290" fmla="*/ 523373 w 798351"/>
                <a:gd name="connsiteY290" fmla="*/ 57800 h 419235"/>
                <a:gd name="connsiteX291" fmla="*/ 522398 w 798351"/>
                <a:gd name="connsiteY291" fmla="*/ 51825 h 419235"/>
                <a:gd name="connsiteX292" fmla="*/ 520325 w 798351"/>
                <a:gd name="connsiteY292" fmla="*/ 39631 h 419235"/>
                <a:gd name="connsiteX293" fmla="*/ 503985 w 798351"/>
                <a:gd name="connsiteY293" fmla="*/ 32802 h 419235"/>
                <a:gd name="connsiteX294" fmla="*/ 496668 w 798351"/>
                <a:gd name="connsiteY294" fmla="*/ 29754 h 419235"/>
                <a:gd name="connsiteX295" fmla="*/ 484474 w 798351"/>
                <a:gd name="connsiteY295" fmla="*/ 33046 h 419235"/>
                <a:gd name="connsiteX296" fmla="*/ 478987 w 798351"/>
                <a:gd name="connsiteY296" fmla="*/ 34631 h 419235"/>
                <a:gd name="connsiteX297" fmla="*/ 477158 w 798351"/>
                <a:gd name="connsiteY297" fmla="*/ 29144 h 419235"/>
                <a:gd name="connsiteX298" fmla="*/ 477158 w 798351"/>
                <a:gd name="connsiteY298" fmla="*/ 28047 h 419235"/>
                <a:gd name="connsiteX299" fmla="*/ 468499 w 798351"/>
                <a:gd name="connsiteY299" fmla="*/ 7438 h 419235"/>
                <a:gd name="connsiteX300" fmla="*/ 456305 w 798351"/>
                <a:gd name="connsiteY300" fmla="*/ 2805 h 419235"/>
                <a:gd name="connsiteX301" fmla="*/ 430088 w 798351"/>
                <a:gd name="connsiteY301" fmla="*/ 0 h 419235"/>
                <a:gd name="connsiteX302" fmla="*/ 405700 w 798351"/>
                <a:gd name="connsiteY302" fmla="*/ 2683 h 419235"/>
                <a:gd name="connsiteX303" fmla="*/ 385091 w 798351"/>
                <a:gd name="connsiteY303" fmla="*/ 19633 h 419235"/>
                <a:gd name="connsiteX304" fmla="*/ 384360 w 798351"/>
                <a:gd name="connsiteY304" fmla="*/ 19633 h 419235"/>
                <a:gd name="connsiteX305" fmla="*/ 383628 w 798351"/>
                <a:gd name="connsiteY305" fmla="*/ 19633 h 419235"/>
                <a:gd name="connsiteX306" fmla="*/ 330096 w 798351"/>
                <a:gd name="connsiteY306" fmla="*/ 42192 h 419235"/>
                <a:gd name="connsiteX307" fmla="*/ 329364 w 798351"/>
                <a:gd name="connsiteY307" fmla="*/ 42192 h 419235"/>
                <a:gd name="connsiteX308" fmla="*/ 315341 w 798351"/>
                <a:gd name="connsiteY308" fmla="*/ 45972 h 419235"/>
                <a:gd name="connsiteX309" fmla="*/ 297781 w 798351"/>
                <a:gd name="connsiteY309" fmla="*/ 50728 h 419235"/>
                <a:gd name="connsiteX310" fmla="*/ 275710 w 798351"/>
                <a:gd name="connsiteY310" fmla="*/ 54508 h 419235"/>
                <a:gd name="connsiteX311" fmla="*/ 275710 w 798351"/>
                <a:gd name="connsiteY311" fmla="*/ 62434 h 419235"/>
                <a:gd name="connsiteX312" fmla="*/ 287904 w 798351"/>
                <a:gd name="connsiteY312" fmla="*/ 61459 h 419235"/>
                <a:gd name="connsiteX313" fmla="*/ 294489 w 798351"/>
                <a:gd name="connsiteY313" fmla="*/ 61459 h 419235"/>
                <a:gd name="connsiteX314" fmla="*/ 294489 w 798351"/>
                <a:gd name="connsiteY314" fmla="*/ 73653 h 419235"/>
                <a:gd name="connsiteX315" fmla="*/ 290343 w 798351"/>
                <a:gd name="connsiteY315" fmla="*/ 75116 h 419235"/>
                <a:gd name="connsiteX316" fmla="*/ 276686 w 798351"/>
                <a:gd name="connsiteY316" fmla="*/ 79628 h 419235"/>
                <a:gd name="connsiteX317" fmla="*/ 275344 w 798351"/>
                <a:gd name="connsiteY317" fmla="*/ 83652 h 419235"/>
                <a:gd name="connsiteX318" fmla="*/ 280587 w 798351"/>
                <a:gd name="connsiteY318" fmla="*/ 88042 h 419235"/>
                <a:gd name="connsiteX319" fmla="*/ 283758 w 798351"/>
                <a:gd name="connsiteY319" fmla="*/ 90725 h 419235"/>
                <a:gd name="connsiteX320" fmla="*/ 282539 w 798351"/>
                <a:gd name="connsiteY320" fmla="*/ 94749 h 419235"/>
                <a:gd name="connsiteX321" fmla="*/ 280466 w 798351"/>
                <a:gd name="connsiteY321" fmla="*/ 100724 h 419235"/>
                <a:gd name="connsiteX322" fmla="*/ 279368 w 798351"/>
                <a:gd name="connsiteY322" fmla="*/ 103894 h 419235"/>
                <a:gd name="connsiteX323" fmla="*/ 276198 w 798351"/>
                <a:gd name="connsiteY323" fmla="*/ 104748 h 419235"/>
                <a:gd name="connsiteX324" fmla="*/ 268637 w 798351"/>
                <a:gd name="connsiteY324" fmla="*/ 106577 h 419235"/>
                <a:gd name="connsiteX325" fmla="*/ 267784 w 798351"/>
                <a:gd name="connsiteY325" fmla="*/ 115601 h 419235"/>
                <a:gd name="connsiteX326" fmla="*/ 278393 w 798351"/>
                <a:gd name="connsiteY326" fmla="*/ 123039 h 419235"/>
                <a:gd name="connsiteX327" fmla="*/ 279246 w 798351"/>
                <a:gd name="connsiteY327" fmla="*/ 123039 h 419235"/>
                <a:gd name="connsiteX328" fmla="*/ 281563 w 798351"/>
                <a:gd name="connsiteY328" fmla="*/ 124746 h 419235"/>
                <a:gd name="connsiteX329" fmla="*/ 281563 w 798351"/>
                <a:gd name="connsiteY329" fmla="*/ 127551 h 419235"/>
                <a:gd name="connsiteX330" fmla="*/ 282783 w 798351"/>
                <a:gd name="connsiteY330" fmla="*/ 140965 h 419235"/>
                <a:gd name="connsiteX331" fmla="*/ 282783 w 798351"/>
                <a:gd name="connsiteY331" fmla="*/ 144379 h 419235"/>
                <a:gd name="connsiteX332" fmla="*/ 279856 w 798351"/>
                <a:gd name="connsiteY332" fmla="*/ 146452 h 419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</a:cxnLst>
              <a:rect l="l" t="t" r="r" b="b"/>
              <a:pathLst>
                <a:path w="798351" h="419235">
                  <a:moveTo>
                    <a:pt x="279002" y="149013"/>
                  </a:moveTo>
                  <a:lnTo>
                    <a:pt x="273027" y="153403"/>
                  </a:lnTo>
                  <a:lnTo>
                    <a:pt x="267784" y="157061"/>
                  </a:lnTo>
                  <a:lnTo>
                    <a:pt x="264369" y="151817"/>
                  </a:lnTo>
                  <a:lnTo>
                    <a:pt x="258638" y="143159"/>
                  </a:lnTo>
                  <a:lnTo>
                    <a:pt x="258638" y="143159"/>
                  </a:lnTo>
                  <a:lnTo>
                    <a:pt x="257906" y="149500"/>
                  </a:lnTo>
                  <a:lnTo>
                    <a:pt x="257053" y="156085"/>
                  </a:lnTo>
                  <a:lnTo>
                    <a:pt x="250590" y="154744"/>
                  </a:lnTo>
                  <a:lnTo>
                    <a:pt x="226202" y="149622"/>
                  </a:lnTo>
                  <a:lnTo>
                    <a:pt x="224616" y="149622"/>
                  </a:lnTo>
                  <a:lnTo>
                    <a:pt x="223397" y="148647"/>
                  </a:lnTo>
                  <a:lnTo>
                    <a:pt x="223397" y="148647"/>
                  </a:lnTo>
                  <a:lnTo>
                    <a:pt x="215593" y="141940"/>
                  </a:lnTo>
                  <a:lnTo>
                    <a:pt x="183156" y="141940"/>
                  </a:lnTo>
                  <a:lnTo>
                    <a:pt x="179254" y="145964"/>
                  </a:lnTo>
                  <a:lnTo>
                    <a:pt x="173645" y="151451"/>
                  </a:lnTo>
                  <a:lnTo>
                    <a:pt x="171816" y="153281"/>
                  </a:lnTo>
                  <a:lnTo>
                    <a:pt x="161451" y="153281"/>
                  </a:lnTo>
                  <a:lnTo>
                    <a:pt x="159743" y="151451"/>
                  </a:lnTo>
                  <a:lnTo>
                    <a:pt x="155110" y="146940"/>
                  </a:lnTo>
                  <a:lnTo>
                    <a:pt x="153159" y="144989"/>
                  </a:lnTo>
                  <a:lnTo>
                    <a:pt x="144988" y="145964"/>
                  </a:lnTo>
                  <a:lnTo>
                    <a:pt x="141452" y="145964"/>
                  </a:lnTo>
                  <a:lnTo>
                    <a:pt x="139257" y="143038"/>
                  </a:lnTo>
                  <a:lnTo>
                    <a:pt x="137672" y="140843"/>
                  </a:lnTo>
                  <a:lnTo>
                    <a:pt x="129990" y="130234"/>
                  </a:lnTo>
                  <a:lnTo>
                    <a:pt x="114625" y="131453"/>
                  </a:lnTo>
                  <a:lnTo>
                    <a:pt x="112186" y="131453"/>
                  </a:lnTo>
                  <a:lnTo>
                    <a:pt x="110235" y="129868"/>
                  </a:lnTo>
                  <a:lnTo>
                    <a:pt x="103528" y="124259"/>
                  </a:lnTo>
                  <a:lnTo>
                    <a:pt x="83286" y="124259"/>
                  </a:lnTo>
                  <a:lnTo>
                    <a:pt x="81457" y="122186"/>
                  </a:lnTo>
                  <a:lnTo>
                    <a:pt x="74506" y="114137"/>
                  </a:lnTo>
                  <a:lnTo>
                    <a:pt x="69141" y="117674"/>
                  </a:lnTo>
                  <a:lnTo>
                    <a:pt x="36582" y="139379"/>
                  </a:lnTo>
                  <a:lnTo>
                    <a:pt x="36582" y="162060"/>
                  </a:lnTo>
                  <a:lnTo>
                    <a:pt x="31217" y="162060"/>
                  </a:lnTo>
                  <a:lnTo>
                    <a:pt x="21584" y="163158"/>
                  </a:lnTo>
                  <a:lnTo>
                    <a:pt x="18047" y="163158"/>
                  </a:lnTo>
                  <a:lnTo>
                    <a:pt x="15974" y="160231"/>
                  </a:lnTo>
                  <a:lnTo>
                    <a:pt x="12316" y="155232"/>
                  </a:lnTo>
                  <a:lnTo>
                    <a:pt x="11097" y="153525"/>
                  </a:lnTo>
                  <a:lnTo>
                    <a:pt x="5243" y="154988"/>
                  </a:lnTo>
                  <a:lnTo>
                    <a:pt x="0" y="229494"/>
                  </a:lnTo>
                  <a:lnTo>
                    <a:pt x="22803" y="234250"/>
                  </a:lnTo>
                  <a:lnTo>
                    <a:pt x="24876" y="234250"/>
                  </a:lnTo>
                  <a:lnTo>
                    <a:pt x="26217" y="235835"/>
                  </a:lnTo>
                  <a:lnTo>
                    <a:pt x="33656" y="244981"/>
                  </a:lnTo>
                  <a:lnTo>
                    <a:pt x="37924" y="250102"/>
                  </a:lnTo>
                  <a:lnTo>
                    <a:pt x="39753" y="252419"/>
                  </a:lnTo>
                  <a:lnTo>
                    <a:pt x="39143" y="255224"/>
                  </a:lnTo>
                  <a:lnTo>
                    <a:pt x="35729" y="271198"/>
                  </a:lnTo>
                  <a:lnTo>
                    <a:pt x="39631" y="273393"/>
                  </a:lnTo>
                  <a:lnTo>
                    <a:pt x="44387" y="276076"/>
                  </a:lnTo>
                  <a:lnTo>
                    <a:pt x="44387" y="276076"/>
                  </a:lnTo>
                  <a:cubicBezTo>
                    <a:pt x="51757" y="274219"/>
                    <a:pt x="58942" y="271689"/>
                    <a:pt x="65848" y="268515"/>
                  </a:cubicBezTo>
                  <a:lnTo>
                    <a:pt x="66458" y="268516"/>
                  </a:lnTo>
                  <a:lnTo>
                    <a:pt x="68287" y="268516"/>
                  </a:lnTo>
                  <a:cubicBezTo>
                    <a:pt x="68636" y="268672"/>
                    <a:pt x="69035" y="268672"/>
                    <a:pt x="69384" y="268516"/>
                  </a:cubicBezTo>
                  <a:lnTo>
                    <a:pt x="69385" y="268516"/>
                  </a:lnTo>
                  <a:cubicBezTo>
                    <a:pt x="69809" y="267857"/>
                    <a:pt x="70177" y="267164"/>
                    <a:pt x="70482" y="266443"/>
                  </a:cubicBezTo>
                  <a:lnTo>
                    <a:pt x="71580" y="264369"/>
                  </a:lnTo>
                  <a:lnTo>
                    <a:pt x="71580" y="263638"/>
                  </a:lnTo>
                  <a:lnTo>
                    <a:pt x="72677" y="262175"/>
                  </a:lnTo>
                  <a:cubicBezTo>
                    <a:pt x="72677" y="262175"/>
                    <a:pt x="72677" y="262175"/>
                    <a:pt x="72677" y="261565"/>
                  </a:cubicBezTo>
                  <a:cubicBezTo>
                    <a:pt x="73020" y="261099"/>
                    <a:pt x="73431" y="260688"/>
                    <a:pt x="73897" y="260345"/>
                  </a:cubicBezTo>
                  <a:lnTo>
                    <a:pt x="74628" y="259614"/>
                  </a:lnTo>
                  <a:lnTo>
                    <a:pt x="76335" y="258516"/>
                  </a:lnTo>
                  <a:lnTo>
                    <a:pt x="77067" y="258516"/>
                  </a:lnTo>
                  <a:lnTo>
                    <a:pt x="80237" y="257297"/>
                  </a:lnTo>
                  <a:lnTo>
                    <a:pt x="80847" y="257297"/>
                  </a:lnTo>
                  <a:lnTo>
                    <a:pt x="84262" y="257297"/>
                  </a:lnTo>
                  <a:lnTo>
                    <a:pt x="88651" y="257297"/>
                  </a:lnTo>
                  <a:cubicBezTo>
                    <a:pt x="91330" y="257075"/>
                    <a:pt x="94021" y="257075"/>
                    <a:pt x="96700" y="257297"/>
                  </a:cubicBezTo>
                  <a:lnTo>
                    <a:pt x="97919" y="257297"/>
                  </a:lnTo>
                  <a:lnTo>
                    <a:pt x="97919" y="258516"/>
                  </a:lnTo>
                  <a:cubicBezTo>
                    <a:pt x="98218" y="259329"/>
                    <a:pt x="98673" y="260075"/>
                    <a:pt x="99260" y="260711"/>
                  </a:cubicBezTo>
                  <a:lnTo>
                    <a:pt x="99260" y="260711"/>
                  </a:lnTo>
                  <a:cubicBezTo>
                    <a:pt x="99651" y="261047"/>
                    <a:pt x="100108" y="261296"/>
                    <a:pt x="100601" y="261443"/>
                  </a:cubicBezTo>
                  <a:lnTo>
                    <a:pt x="101455" y="261443"/>
                  </a:lnTo>
                  <a:lnTo>
                    <a:pt x="103285" y="261443"/>
                  </a:lnTo>
                  <a:lnTo>
                    <a:pt x="110235" y="261443"/>
                  </a:lnTo>
                  <a:cubicBezTo>
                    <a:pt x="111329" y="261322"/>
                    <a:pt x="112433" y="261322"/>
                    <a:pt x="113527" y="261443"/>
                  </a:cubicBezTo>
                  <a:lnTo>
                    <a:pt x="113528" y="261443"/>
                  </a:lnTo>
                  <a:cubicBezTo>
                    <a:pt x="114553" y="261659"/>
                    <a:pt x="115540" y="262029"/>
                    <a:pt x="116454" y="262540"/>
                  </a:cubicBezTo>
                  <a:lnTo>
                    <a:pt x="117064" y="262540"/>
                  </a:lnTo>
                  <a:cubicBezTo>
                    <a:pt x="117954" y="263185"/>
                    <a:pt x="118736" y="263967"/>
                    <a:pt x="119381" y="264857"/>
                  </a:cubicBezTo>
                  <a:lnTo>
                    <a:pt x="119381" y="264857"/>
                  </a:lnTo>
                  <a:cubicBezTo>
                    <a:pt x="120143" y="266126"/>
                    <a:pt x="120641" y="267537"/>
                    <a:pt x="120844" y="269003"/>
                  </a:cubicBezTo>
                  <a:cubicBezTo>
                    <a:pt x="121507" y="269970"/>
                    <a:pt x="122002" y="271042"/>
                    <a:pt x="122307" y="272174"/>
                  </a:cubicBezTo>
                  <a:cubicBezTo>
                    <a:pt x="122866" y="274126"/>
                    <a:pt x="122866" y="276196"/>
                    <a:pt x="122307" y="278149"/>
                  </a:cubicBezTo>
                  <a:cubicBezTo>
                    <a:pt x="122307" y="279002"/>
                    <a:pt x="121576" y="279978"/>
                    <a:pt x="121332" y="280710"/>
                  </a:cubicBezTo>
                  <a:cubicBezTo>
                    <a:pt x="120245" y="282594"/>
                    <a:pt x="119736" y="284757"/>
                    <a:pt x="119868" y="286929"/>
                  </a:cubicBezTo>
                  <a:lnTo>
                    <a:pt x="119868" y="287782"/>
                  </a:lnTo>
                  <a:cubicBezTo>
                    <a:pt x="119798" y="288756"/>
                    <a:pt x="119798" y="289735"/>
                    <a:pt x="119868" y="290709"/>
                  </a:cubicBezTo>
                  <a:cubicBezTo>
                    <a:pt x="119868" y="291806"/>
                    <a:pt x="119868" y="292904"/>
                    <a:pt x="119868" y="294001"/>
                  </a:cubicBezTo>
                  <a:cubicBezTo>
                    <a:pt x="120296" y="296544"/>
                    <a:pt x="120296" y="299141"/>
                    <a:pt x="119868" y="301684"/>
                  </a:cubicBezTo>
                  <a:cubicBezTo>
                    <a:pt x="119480" y="304338"/>
                    <a:pt x="117850" y="306648"/>
                    <a:pt x="115479" y="307903"/>
                  </a:cubicBezTo>
                  <a:lnTo>
                    <a:pt x="115479" y="307903"/>
                  </a:lnTo>
                  <a:lnTo>
                    <a:pt x="115479" y="307903"/>
                  </a:lnTo>
                  <a:cubicBezTo>
                    <a:pt x="104750" y="307254"/>
                    <a:pt x="94037" y="309396"/>
                    <a:pt x="84384" y="314122"/>
                  </a:cubicBezTo>
                  <a:cubicBezTo>
                    <a:pt x="83371" y="316420"/>
                    <a:pt x="82952" y="318936"/>
                    <a:pt x="83164" y="321438"/>
                  </a:cubicBezTo>
                  <a:cubicBezTo>
                    <a:pt x="83752" y="321904"/>
                    <a:pt x="84284" y="322436"/>
                    <a:pt x="84750" y="323023"/>
                  </a:cubicBezTo>
                  <a:cubicBezTo>
                    <a:pt x="85178" y="323601"/>
                    <a:pt x="85470" y="324268"/>
                    <a:pt x="85603" y="324974"/>
                  </a:cubicBezTo>
                  <a:cubicBezTo>
                    <a:pt x="85782" y="325778"/>
                    <a:pt x="85782" y="326610"/>
                    <a:pt x="85603" y="327413"/>
                  </a:cubicBezTo>
                  <a:cubicBezTo>
                    <a:pt x="85503" y="328241"/>
                    <a:pt x="85210" y="329035"/>
                    <a:pt x="84750" y="329730"/>
                  </a:cubicBezTo>
                  <a:lnTo>
                    <a:pt x="84749" y="329730"/>
                  </a:lnTo>
                  <a:lnTo>
                    <a:pt x="84749" y="329730"/>
                  </a:lnTo>
                  <a:cubicBezTo>
                    <a:pt x="83781" y="330468"/>
                    <a:pt x="82653" y="330969"/>
                    <a:pt x="81457" y="331194"/>
                  </a:cubicBezTo>
                  <a:lnTo>
                    <a:pt x="79994" y="331194"/>
                  </a:lnTo>
                  <a:cubicBezTo>
                    <a:pt x="79309" y="331319"/>
                    <a:pt x="78606" y="331319"/>
                    <a:pt x="77920" y="331194"/>
                  </a:cubicBezTo>
                  <a:lnTo>
                    <a:pt x="77920" y="331194"/>
                  </a:lnTo>
                  <a:cubicBezTo>
                    <a:pt x="76975" y="330912"/>
                    <a:pt x="76072" y="330502"/>
                    <a:pt x="75238" y="329974"/>
                  </a:cubicBezTo>
                  <a:lnTo>
                    <a:pt x="74628" y="329974"/>
                  </a:lnTo>
                  <a:lnTo>
                    <a:pt x="72433" y="328511"/>
                  </a:lnTo>
                  <a:cubicBezTo>
                    <a:pt x="70936" y="327114"/>
                    <a:pt x="69144" y="326073"/>
                    <a:pt x="67190" y="325462"/>
                  </a:cubicBezTo>
                  <a:cubicBezTo>
                    <a:pt x="67190" y="330828"/>
                    <a:pt x="70970" y="334852"/>
                    <a:pt x="75238" y="339242"/>
                  </a:cubicBezTo>
                  <a:cubicBezTo>
                    <a:pt x="77778" y="341656"/>
                    <a:pt x="80028" y="344356"/>
                    <a:pt x="81944" y="347290"/>
                  </a:cubicBezTo>
                  <a:lnTo>
                    <a:pt x="81945" y="347290"/>
                  </a:lnTo>
                  <a:cubicBezTo>
                    <a:pt x="82779" y="349426"/>
                    <a:pt x="83431" y="351629"/>
                    <a:pt x="83896" y="353875"/>
                  </a:cubicBezTo>
                  <a:lnTo>
                    <a:pt x="84993" y="357533"/>
                  </a:lnTo>
                  <a:cubicBezTo>
                    <a:pt x="85774" y="361099"/>
                    <a:pt x="87701" y="364311"/>
                    <a:pt x="90481" y="366678"/>
                  </a:cubicBezTo>
                  <a:cubicBezTo>
                    <a:pt x="91572" y="366518"/>
                    <a:pt x="92682" y="366518"/>
                    <a:pt x="93773" y="366678"/>
                  </a:cubicBezTo>
                  <a:lnTo>
                    <a:pt x="95236" y="366679"/>
                  </a:lnTo>
                  <a:cubicBezTo>
                    <a:pt x="95964" y="366570"/>
                    <a:pt x="96704" y="366570"/>
                    <a:pt x="97431" y="366679"/>
                  </a:cubicBezTo>
                  <a:lnTo>
                    <a:pt x="98407" y="366679"/>
                  </a:lnTo>
                  <a:cubicBezTo>
                    <a:pt x="99118" y="366923"/>
                    <a:pt x="99779" y="367295"/>
                    <a:pt x="100358" y="367776"/>
                  </a:cubicBezTo>
                  <a:lnTo>
                    <a:pt x="101211" y="367776"/>
                  </a:lnTo>
                  <a:lnTo>
                    <a:pt x="103528" y="369483"/>
                  </a:lnTo>
                  <a:cubicBezTo>
                    <a:pt x="105547" y="371337"/>
                    <a:pt x="108036" y="372602"/>
                    <a:pt x="110723" y="373141"/>
                  </a:cubicBezTo>
                  <a:lnTo>
                    <a:pt x="112674" y="373141"/>
                  </a:lnTo>
                  <a:lnTo>
                    <a:pt x="112674" y="374361"/>
                  </a:lnTo>
                  <a:cubicBezTo>
                    <a:pt x="113365" y="375978"/>
                    <a:pt x="113697" y="377725"/>
                    <a:pt x="113649" y="379482"/>
                  </a:cubicBezTo>
                  <a:cubicBezTo>
                    <a:pt x="113771" y="380780"/>
                    <a:pt x="113771" y="382087"/>
                    <a:pt x="113649" y="383385"/>
                  </a:cubicBezTo>
                  <a:lnTo>
                    <a:pt x="113649" y="383385"/>
                  </a:lnTo>
                  <a:lnTo>
                    <a:pt x="114747" y="382531"/>
                  </a:lnTo>
                  <a:lnTo>
                    <a:pt x="115845" y="381433"/>
                  </a:lnTo>
                  <a:lnTo>
                    <a:pt x="117430" y="381433"/>
                  </a:lnTo>
                  <a:lnTo>
                    <a:pt x="123039" y="380336"/>
                  </a:lnTo>
                  <a:lnTo>
                    <a:pt x="125722" y="380336"/>
                  </a:lnTo>
                  <a:lnTo>
                    <a:pt x="127673" y="380336"/>
                  </a:lnTo>
                  <a:lnTo>
                    <a:pt x="129502" y="381189"/>
                  </a:lnTo>
                  <a:lnTo>
                    <a:pt x="134136" y="383263"/>
                  </a:lnTo>
                  <a:lnTo>
                    <a:pt x="140842" y="386433"/>
                  </a:lnTo>
                  <a:lnTo>
                    <a:pt x="141818" y="386433"/>
                  </a:lnTo>
                  <a:lnTo>
                    <a:pt x="142550" y="387165"/>
                  </a:lnTo>
                  <a:lnTo>
                    <a:pt x="153280" y="397774"/>
                  </a:lnTo>
                  <a:lnTo>
                    <a:pt x="166450" y="396554"/>
                  </a:lnTo>
                  <a:lnTo>
                    <a:pt x="164377" y="355460"/>
                  </a:lnTo>
                  <a:lnTo>
                    <a:pt x="162914" y="327901"/>
                  </a:lnTo>
                  <a:lnTo>
                    <a:pt x="162914" y="324121"/>
                  </a:lnTo>
                  <a:lnTo>
                    <a:pt x="166328" y="322292"/>
                  </a:lnTo>
                  <a:lnTo>
                    <a:pt x="221446" y="292782"/>
                  </a:lnTo>
                  <a:lnTo>
                    <a:pt x="224738" y="291075"/>
                  </a:lnTo>
                  <a:lnTo>
                    <a:pt x="227787" y="293148"/>
                  </a:lnTo>
                  <a:lnTo>
                    <a:pt x="258760" y="314122"/>
                  </a:lnTo>
                  <a:lnTo>
                    <a:pt x="281807" y="329730"/>
                  </a:lnTo>
                  <a:lnTo>
                    <a:pt x="281807" y="329730"/>
                  </a:lnTo>
                  <a:lnTo>
                    <a:pt x="282417" y="330462"/>
                  </a:lnTo>
                  <a:lnTo>
                    <a:pt x="285221" y="333876"/>
                  </a:lnTo>
                  <a:lnTo>
                    <a:pt x="295708" y="346070"/>
                  </a:lnTo>
                  <a:lnTo>
                    <a:pt x="306439" y="344485"/>
                  </a:lnTo>
                  <a:lnTo>
                    <a:pt x="307781" y="344485"/>
                  </a:lnTo>
                  <a:lnTo>
                    <a:pt x="327047" y="346314"/>
                  </a:lnTo>
                  <a:lnTo>
                    <a:pt x="328998" y="346314"/>
                  </a:lnTo>
                  <a:lnTo>
                    <a:pt x="335339" y="345583"/>
                  </a:lnTo>
                  <a:lnTo>
                    <a:pt x="337412" y="345583"/>
                  </a:lnTo>
                  <a:lnTo>
                    <a:pt x="339241" y="346680"/>
                  </a:lnTo>
                  <a:lnTo>
                    <a:pt x="354240" y="356313"/>
                  </a:lnTo>
                  <a:lnTo>
                    <a:pt x="355703" y="357289"/>
                  </a:lnTo>
                  <a:lnTo>
                    <a:pt x="356435" y="358996"/>
                  </a:lnTo>
                  <a:lnTo>
                    <a:pt x="364117" y="375946"/>
                  </a:lnTo>
                  <a:lnTo>
                    <a:pt x="371190" y="373873"/>
                  </a:lnTo>
                  <a:lnTo>
                    <a:pt x="376677" y="372166"/>
                  </a:lnTo>
                  <a:lnTo>
                    <a:pt x="378751" y="377409"/>
                  </a:lnTo>
                  <a:lnTo>
                    <a:pt x="380214" y="381433"/>
                  </a:lnTo>
                  <a:lnTo>
                    <a:pt x="390335" y="407407"/>
                  </a:lnTo>
                  <a:lnTo>
                    <a:pt x="393993" y="407407"/>
                  </a:lnTo>
                  <a:lnTo>
                    <a:pt x="394847" y="407407"/>
                  </a:lnTo>
                  <a:lnTo>
                    <a:pt x="397042" y="407407"/>
                  </a:lnTo>
                  <a:lnTo>
                    <a:pt x="398505" y="408992"/>
                  </a:lnTo>
                  <a:lnTo>
                    <a:pt x="408017" y="419235"/>
                  </a:lnTo>
                  <a:lnTo>
                    <a:pt x="410577" y="419235"/>
                  </a:lnTo>
                  <a:lnTo>
                    <a:pt x="412406" y="419235"/>
                  </a:lnTo>
                  <a:lnTo>
                    <a:pt x="420699" y="412650"/>
                  </a:lnTo>
                  <a:lnTo>
                    <a:pt x="421552" y="412650"/>
                  </a:lnTo>
                  <a:lnTo>
                    <a:pt x="422528" y="412650"/>
                  </a:lnTo>
                  <a:lnTo>
                    <a:pt x="429722" y="410212"/>
                  </a:lnTo>
                  <a:lnTo>
                    <a:pt x="430942" y="404968"/>
                  </a:lnTo>
                  <a:lnTo>
                    <a:pt x="431673" y="401920"/>
                  </a:lnTo>
                  <a:lnTo>
                    <a:pt x="431673" y="400334"/>
                  </a:lnTo>
                  <a:lnTo>
                    <a:pt x="432893" y="399115"/>
                  </a:lnTo>
                  <a:lnTo>
                    <a:pt x="445087" y="386921"/>
                  </a:lnTo>
                  <a:lnTo>
                    <a:pt x="446428" y="385701"/>
                  </a:lnTo>
                  <a:lnTo>
                    <a:pt x="448135" y="385701"/>
                  </a:lnTo>
                  <a:lnTo>
                    <a:pt x="454476" y="384360"/>
                  </a:lnTo>
                  <a:lnTo>
                    <a:pt x="468865" y="381068"/>
                  </a:lnTo>
                  <a:lnTo>
                    <a:pt x="471670" y="381068"/>
                  </a:lnTo>
                  <a:lnTo>
                    <a:pt x="477767" y="373507"/>
                  </a:lnTo>
                  <a:lnTo>
                    <a:pt x="479596" y="371190"/>
                  </a:lnTo>
                  <a:lnTo>
                    <a:pt x="497156" y="371190"/>
                  </a:lnTo>
                  <a:lnTo>
                    <a:pt x="498863" y="372776"/>
                  </a:lnTo>
                  <a:lnTo>
                    <a:pt x="506423" y="379604"/>
                  </a:lnTo>
                  <a:lnTo>
                    <a:pt x="522276" y="377531"/>
                  </a:lnTo>
                  <a:lnTo>
                    <a:pt x="519959" y="371678"/>
                  </a:lnTo>
                  <a:lnTo>
                    <a:pt x="518130" y="366922"/>
                  </a:lnTo>
                  <a:lnTo>
                    <a:pt x="522642" y="364240"/>
                  </a:lnTo>
                  <a:lnTo>
                    <a:pt x="540933" y="353387"/>
                  </a:lnTo>
                  <a:lnTo>
                    <a:pt x="543616" y="351802"/>
                  </a:lnTo>
                  <a:lnTo>
                    <a:pt x="546542" y="353143"/>
                  </a:lnTo>
                  <a:lnTo>
                    <a:pt x="553249" y="356192"/>
                  </a:lnTo>
                  <a:lnTo>
                    <a:pt x="555444" y="357167"/>
                  </a:lnTo>
                  <a:lnTo>
                    <a:pt x="556907" y="357899"/>
                  </a:lnTo>
                  <a:lnTo>
                    <a:pt x="557883" y="359240"/>
                  </a:lnTo>
                  <a:lnTo>
                    <a:pt x="558858" y="360703"/>
                  </a:lnTo>
                  <a:lnTo>
                    <a:pt x="564346" y="368630"/>
                  </a:lnTo>
                  <a:lnTo>
                    <a:pt x="589344" y="360216"/>
                  </a:lnTo>
                  <a:lnTo>
                    <a:pt x="590807" y="360216"/>
                  </a:lnTo>
                  <a:lnTo>
                    <a:pt x="592392" y="360216"/>
                  </a:lnTo>
                  <a:lnTo>
                    <a:pt x="608854" y="363020"/>
                  </a:lnTo>
                  <a:lnTo>
                    <a:pt x="624829" y="365703"/>
                  </a:lnTo>
                  <a:lnTo>
                    <a:pt x="625438" y="365703"/>
                  </a:lnTo>
                  <a:lnTo>
                    <a:pt x="637632" y="369361"/>
                  </a:lnTo>
                  <a:lnTo>
                    <a:pt x="651046" y="373141"/>
                  </a:lnTo>
                  <a:lnTo>
                    <a:pt x="652266" y="373141"/>
                  </a:lnTo>
                  <a:lnTo>
                    <a:pt x="653241" y="373873"/>
                  </a:lnTo>
                  <a:lnTo>
                    <a:pt x="658485" y="378141"/>
                  </a:lnTo>
                  <a:lnTo>
                    <a:pt x="659216" y="375824"/>
                  </a:lnTo>
                  <a:lnTo>
                    <a:pt x="663119" y="364849"/>
                  </a:lnTo>
                  <a:lnTo>
                    <a:pt x="659460" y="353631"/>
                  </a:lnTo>
                  <a:lnTo>
                    <a:pt x="659460" y="352899"/>
                  </a:lnTo>
                  <a:lnTo>
                    <a:pt x="659460" y="352167"/>
                  </a:lnTo>
                  <a:lnTo>
                    <a:pt x="658241" y="332535"/>
                  </a:lnTo>
                  <a:lnTo>
                    <a:pt x="648485" y="321804"/>
                  </a:lnTo>
                  <a:lnTo>
                    <a:pt x="642388" y="314975"/>
                  </a:lnTo>
                  <a:lnTo>
                    <a:pt x="650924" y="311927"/>
                  </a:lnTo>
                  <a:lnTo>
                    <a:pt x="686287" y="299733"/>
                  </a:lnTo>
                  <a:lnTo>
                    <a:pt x="690433" y="298147"/>
                  </a:lnTo>
                  <a:lnTo>
                    <a:pt x="693116" y="301684"/>
                  </a:lnTo>
                  <a:lnTo>
                    <a:pt x="699213" y="309488"/>
                  </a:lnTo>
                  <a:lnTo>
                    <a:pt x="703603" y="304854"/>
                  </a:lnTo>
                  <a:lnTo>
                    <a:pt x="702628" y="298391"/>
                  </a:lnTo>
                  <a:lnTo>
                    <a:pt x="702628" y="295586"/>
                  </a:lnTo>
                  <a:lnTo>
                    <a:pt x="702628" y="293879"/>
                  </a:lnTo>
                  <a:lnTo>
                    <a:pt x="703359" y="292294"/>
                  </a:lnTo>
                  <a:lnTo>
                    <a:pt x="707993" y="281319"/>
                  </a:lnTo>
                  <a:lnTo>
                    <a:pt x="718236" y="256931"/>
                  </a:lnTo>
                  <a:lnTo>
                    <a:pt x="719699" y="253517"/>
                  </a:lnTo>
                  <a:lnTo>
                    <a:pt x="723479" y="253517"/>
                  </a:lnTo>
                  <a:lnTo>
                    <a:pt x="745673" y="252175"/>
                  </a:lnTo>
                  <a:lnTo>
                    <a:pt x="747258" y="252175"/>
                  </a:lnTo>
                  <a:lnTo>
                    <a:pt x="748599" y="252175"/>
                  </a:lnTo>
                  <a:lnTo>
                    <a:pt x="760794" y="257907"/>
                  </a:lnTo>
                  <a:lnTo>
                    <a:pt x="768598" y="250102"/>
                  </a:lnTo>
                  <a:lnTo>
                    <a:pt x="762501" y="226690"/>
                  </a:lnTo>
                  <a:lnTo>
                    <a:pt x="761525" y="222909"/>
                  </a:lnTo>
                  <a:lnTo>
                    <a:pt x="764574" y="220349"/>
                  </a:lnTo>
                  <a:lnTo>
                    <a:pt x="775548" y="211569"/>
                  </a:lnTo>
                  <a:lnTo>
                    <a:pt x="798352" y="193156"/>
                  </a:lnTo>
                  <a:lnTo>
                    <a:pt x="796766" y="187912"/>
                  </a:lnTo>
                  <a:lnTo>
                    <a:pt x="773232" y="181205"/>
                  </a:lnTo>
                  <a:lnTo>
                    <a:pt x="759818" y="177303"/>
                  </a:lnTo>
                  <a:lnTo>
                    <a:pt x="757989" y="177303"/>
                  </a:lnTo>
                  <a:lnTo>
                    <a:pt x="756891" y="175840"/>
                  </a:lnTo>
                  <a:lnTo>
                    <a:pt x="754087" y="172669"/>
                  </a:lnTo>
                  <a:lnTo>
                    <a:pt x="727260" y="140965"/>
                  </a:lnTo>
                  <a:lnTo>
                    <a:pt x="652997" y="140965"/>
                  </a:lnTo>
                  <a:lnTo>
                    <a:pt x="651290" y="137794"/>
                  </a:lnTo>
                  <a:lnTo>
                    <a:pt x="633852" y="107065"/>
                  </a:lnTo>
                  <a:lnTo>
                    <a:pt x="633852" y="107065"/>
                  </a:lnTo>
                  <a:lnTo>
                    <a:pt x="633852" y="107065"/>
                  </a:lnTo>
                  <a:lnTo>
                    <a:pt x="633852" y="107065"/>
                  </a:lnTo>
                  <a:lnTo>
                    <a:pt x="633852" y="105845"/>
                  </a:lnTo>
                  <a:lnTo>
                    <a:pt x="625072" y="84262"/>
                  </a:lnTo>
                  <a:lnTo>
                    <a:pt x="623365" y="83286"/>
                  </a:lnTo>
                  <a:lnTo>
                    <a:pt x="597026" y="66946"/>
                  </a:lnTo>
                  <a:lnTo>
                    <a:pt x="595075" y="65727"/>
                  </a:lnTo>
                  <a:lnTo>
                    <a:pt x="594343" y="63654"/>
                  </a:lnTo>
                  <a:lnTo>
                    <a:pt x="588002" y="44387"/>
                  </a:lnTo>
                  <a:lnTo>
                    <a:pt x="588002" y="43533"/>
                  </a:lnTo>
                  <a:lnTo>
                    <a:pt x="588002" y="42558"/>
                  </a:lnTo>
                  <a:lnTo>
                    <a:pt x="588002" y="31827"/>
                  </a:lnTo>
                  <a:lnTo>
                    <a:pt x="581295" y="31095"/>
                  </a:lnTo>
                  <a:lnTo>
                    <a:pt x="568004" y="29510"/>
                  </a:lnTo>
                  <a:lnTo>
                    <a:pt x="560078" y="38655"/>
                  </a:lnTo>
                  <a:lnTo>
                    <a:pt x="554834" y="50118"/>
                  </a:lnTo>
                  <a:lnTo>
                    <a:pt x="553615" y="53045"/>
                  </a:lnTo>
                  <a:lnTo>
                    <a:pt x="550444" y="53045"/>
                  </a:lnTo>
                  <a:lnTo>
                    <a:pt x="529470" y="56825"/>
                  </a:lnTo>
                  <a:lnTo>
                    <a:pt x="523373" y="57800"/>
                  </a:lnTo>
                  <a:lnTo>
                    <a:pt x="522398" y="51825"/>
                  </a:lnTo>
                  <a:lnTo>
                    <a:pt x="520325" y="39631"/>
                  </a:lnTo>
                  <a:lnTo>
                    <a:pt x="503985" y="32802"/>
                  </a:lnTo>
                  <a:lnTo>
                    <a:pt x="496668" y="29754"/>
                  </a:lnTo>
                  <a:lnTo>
                    <a:pt x="484474" y="33046"/>
                  </a:lnTo>
                  <a:lnTo>
                    <a:pt x="478987" y="34631"/>
                  </a:lnTo>
                  <a:lnTo>
                    <a:pt x="477158" y="29144"/>
                  </a:lnTo>
                  <a:lnTo>
                    <a:pt x="477158" y="28047"/>
                  </a:lnTo>
                  <a:lnTo>
                    <a:pt x="468499" y="7438"/>
                  </a:lnTo>
                  <a:lnTo>
                    <a:pt x="456305" y="2805"/>
                  </a:lnTo>
                  <a:lnTo>
                    <a:pt x="430088" y="0"/>
                  </a:lnTo>
                  <a:lnTo>
                    <a:pt x="405700" y="2683"/>
                  </a:lnTo>
                  <a:lnTo>
                    <a:pt x="385091" y="19633"/>
                  </a:lnTo>
                  <a:lnTo>
                    <a:pt x="384360" y="19633"/>
                  </a:lnTo>
                  <a:lnTo>
                    <a:pt x="383628" y="19633"/>
                  </a:lnTo>
                  <a:lnTo>
                    <a:pt x="330096" y="42192"/>
                  </a:lnTo>
                  <a:lnTo>
                    <a:pt x="329364" y="42192"/>
                  </a:lnTo>
                  <a:lnTo>
                    <a:pt x="315341" y="45972"/>
                  </a:lnTo>
                  <a:lnTo>
                    <a:pt x="297781" y="50728"/>
                  </a:lnTo>
                  <a:lnTo>
                    <a:pt x="275710" y="54508"/>
                  </a:lnTo>
                  <a:lnTo>
                    <a:pt x="275710" y="62434"/>
                  </a:lnTo>
                  <a:lnTo>
                    <a:pt x="287904" y="61459"/>
                  </a:lnTo>
                  <a:lnTo>
                    <a:pt x="294489" y="61459"/>
                  </a:lnTo>
                  <a:lnTo>
                    <a:pt x="294489" y="73653"/>
                  </a:lnTo>
                  <a:lnTo>
                    <a:pt x="290343" y="75116"/>
                  </a:lnTo>
                  <a:lnTo>
                    <a:pt x="276686" y="79628"/>
                  </a:lnTo>
                  <a:lnTo>
                    <a:pt x="275344" y="83652"/>
                  </a:lnTo>
                  <a:lnTo>
                    <a:pt x="280587" y="88042"/>
                  </a:lnTo>
                  <a:lnTo>
                    <a:pt x="283758" y="90725"/>
                  </a:lnTo>
                  <a:lnTo>
                    <a:pt x="282539" y="94749"/>
                  </a:lnTo>
                  <a:lnTo>
                    <a:pt x="280466" y="100724"/>
                  </a:lnTo>
                  <a:lnTo>
                    <a:pt x="279368" y="103894"/>
                  </a:lnTo>
                  <a:lnTo>
                    <a:pt x="276198" y="104748"/>
                  </a:lnTo>
                  <a:lnTo>
                    <a:pt x="268637" y="106577"/>
                  </a:lnTo>
                  <a:lnTo>
                    <a:pt x="267784" y="115601"/>
                  </a:lnTo>
                  <a:lnTo>
                    <a:pt x="278393" y="123039"/>
                  </a:lnTo>
                  <a:lnTo>
                    <a:pt x="279246" y="123039"/>
                  </a:lnTo>
                  <a:lnTo>
                    <a:pt x="281563" y="124746"/>
                  </a:lnTo>
                  <a:lnTo>
                    <a:pt x="281563" y="127551"/>
                  </a:lnTo>
                  <a:lnTo>
                    <a:pt x="282783" y="140965"/>
                  </a:lnTo>
                  <a:lnTo>
                    <a:pt x="282783" y="144379"/>
                  </a:lnTo>
                  <a:lnTo>
                    <a:pt x="279856" y="14645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6" name="Freihandform: Form 855">
              <a:extLst>
                <a:ext uri="{FF2B5EF4-FFF2-40B4-BE49-F238E27FC236}">
                  <a16:creationId xmlns:a16="http://schemas.microsoft.com/office/drawing/2014/main" id="{4C939C36-50AE-4905-B2EB-EF82AF487D2E}"/>
                </a:ext>
              </a:extLst>
            </p:cNvPr>
            <p:cNvSpPr/>
            <p:nvPr/>
          </p:nvSpPr>
          <p:spPr>
            <a:xfrm>
              <a:off x="5283285" y="2536899"/>
              <a:ext cx="61092" cy="50239"/>
            </a:xfrm>
            <a:custGeom>
              <a:avLst/>
              <a:gdLst>
                <a:gd name="connsiteX0" fmla="*/ 57801 w 61092"/>
                <a:gd name="connsiteY0" fmla="*/ 50240 h 50239"/>
                <a:gd name="connsiteX1" fmla="*/ 61093 w 61092"/>
                <a:gd name="connsiteY1" fmla="*/ 49508 h 50239"/>
                <a:gd name="connsiteX2" fmla="*/ 46460 w 61092"/>
                <a:gd name="connsiteY2" fmla="*/ 34753 h 50239"/>
                <a:gd name="connsiteX3" fmla="*/ 45850 w 61092"/>
                <a:gd name="connsiteY3" fmla="*/ 34266 h 50239"/>
                <a:gd name="connsiteX4" fmla="*/ 45362 w 61092"/>
                <a:gd name="connsiteY4" fmla="*/ 33412 h 50239"/>
                <a:gd name="connsiteX5" fmla="*/ 38534 w 61092"/>
                <a:gd name="connsiteY5" fmla="*/ 21096 h 50239"/>
                <a:gd name="connsiteX6" fmla="*/ 33534 w 61092"/>
                <a:gd name="connsiteY6" fmla="*/ 13170 h 50239"/>
                <a:gd name="connsiteX7" fmla="*/ 32193 w 61092"/>
                <a:gd name="connsiteY7" fmla="*/ 10975 h 50239"/>
                <a:gd name="connsiteX8" fmla="*/ 28291 w 61092"/>
                <a:gd name="connsiteY8" fmla="*/ 9755 h 50239"/>
                <a:gd name="connsiteX9" fmla="*/ 12194 w 61092"/>
                <a:gd name="connsiteY9" fmla="*/ 4390 h 50239"/>
                <a:gd name="connsiteX10" fmla="*/ 0 w 61092"/>
                <a:gd name="connsiteY10" fmla="*/ 0 h 50239"/>
                <a:gd name="connsiteX11" fmla="*/ 6585 w 61092"/>
                <a:gd name="connsiteY11" fmla="*/ 9267 h 50239"/>
                <a:gd name="connsiteX12" fmla="*/ 7439 w 61092"/>
                <a:gd name="connsiteY12" fmla="*/ 10365 h 50239"/>
                <a:gd name="connsiteX13" fmla="*/ 7682 w 61092"/>
                <a:gd name="connsiteY13" fmla="*/ 11706 h 50239"/>
                <a:gd name="connsiteX14" fmla="*/ 9999 w 61092"/>
                <a:gd name="connsiteY14" fmla="*/ 24876 h 50239"/>
                <a:gd name="connsiteX15" fmla="*/ 10121 w 61092"/>
                <a:gd name="connsiteY15" fmla="*/ 25120 h 50239"/>
                <a:gd name="connsiteX16" fmla="*/ 19511 w 61092"/>
                <a:gd name="connsiteY16" fmla="*/ 30973 h 50239"/>
                <a:gd name="connsiteX17" fmla="*/ 20974 w 61092"/>
                <a:gd name="connsiteY17" fmla="*/ 32071 h 50239"/>
                <a:gd name="connsiteX18" fmla="*/ 21706 w 61092"/>
                <a:gd name="connsiteY18" fmla="*/ 33412 h 50239"/>
                <a:gd name="connsiteX19" fmla="*/ 23779 w 61092"/>
                <a:gd name="connsiteY19" fmla="*/ 36826 h 50239"/>
                <a:gd name="connsiteX20" fmla="*/ 24145 w 61092"/>
                <a:gd name="connsiteY20" fmla="*/ 37436 h 50239"/>
                <a:gd name="connsiteX21" fmla="*/ 27315 w 61092"/>
                <a:gd name="connsiteY21" fmla="*/ 37070 h 50239"/>
                <a:gd name="connsiteX22" fmla="*/ 31461 w 61092"/>
                <a:gd name="connsiteY22" fmla="*/ 36582 h 50239"/>
                <a:gd name="connsiteX23" fmla="*/ 32193 w 61092"/>
                <a:gd name="connsiteY23" fmla="*/ 36460 h 50239"/>
                <a:gd name="connsiteX24" fmla="*/ 34266 w 61092"/>
                <a:gd name="connsiteY24" fmla="*/ 36216 h 50239"/>
                <a:gd name="connsiteX25" fmla="*/ 36095 w 61092"/>
                <a:gd name="connsiteY25" fmla="*/ 37192 h 50239"/>
                <a:gd name="connsiteX26" fmla="*/ 54874 w 61092"/>
                <a:gd name="connsiteY26" fmla="*/ 48533 h 50239"/>
                <a:gd name="connsiteX27" fmla="*/ 57801 w 61092"/>
                <a:gd name="connsiteY27" fmla="*/ 50240 h 5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1092" h="50239">
                  <a:moveTo>
                    <a:pt x="57801" y="50240"/>
                  </a:moveTo>
                  <a:lnTo>
                    <a:pt x="61093" y="49508"/>
                  </a:lnTo>
                  <a:lnTo>
                    <a:pt x="46460" y="34753"/>
                  </a:lnTo>
                  <a:lnTo>
                    <a:pt x="45850" y="34266"/>
                  </a:lnTo>
                  <a:lnTo>
                    <a:pt x="45362" y="33412"/>
                  </a:lnTo>
                  <a:lnTo>
                    <a:pt x="38534" y="21096"/>
                  </a:lnTo>
                  <a:lnTo>
                    <a:pt x="33534" y="13170"/>
                  </a:lnTo>
                  <a:lnTo>
                    <a:pt x="32193" y="10975"/>
                  </a:lnTo>
                  <a:lnTo>
                    <a:pt x="28291" y="9755"/>
                  </a:lnTo>
                  <a:lnTo>
                    <a:pt x="12194" y="4390"/>
                  </a:lnTo>
                  <a:lnTo>
                    <a:pt x="0" y="0"/>
                  </a:lnTo>
                  <a:lnTo>
                    <a:pt x="6585" y="9267"/>
                  </a:lnTo>
                  <a:lnTo>
                    <a:pt x="7439" y="10365"/>
                  </a:lnTo>
                  <a:lnTo>
                    <a:pt x="7682" y="11706"/>
                  </a:lnTo>
                  <a:lnTo>
                    <a:pt x="9999" y="24876"/>
                  </a:lnTo>
                  <a:lnTo>
                    <a:pt x="10121" y="25120"/>
                  </a:lnTo>
                  <a:lnTo>
                    <a:pt x="19511" y="30973"/>
                  </a:lnTo>
                  <a:lnTo>
                    <a:pt x="20974" y="32071"/>
                  </a:lnTo>
                  <a:lnTo>
                    <a:pt x="21706" y="33412"/>
                  </a:lnTo>
                  <a:lnTo>
                    <a:pt x="23779" y="36826"/>
                  </a:lnTo>
                  <a:lnTo>
                    <a:pt x="24145" y="37436"/>
                  </a:lnTo>
                  <a:lnTo>
                    <a:pt x="27315" y="37070"/>
                  </a:lnTo>
                  <a:lnTo>
                    <a:pt x="31461" y="36582"/>
                  </a:lnTo>
                  <a:lnTo>
                    <a:pt x="32193" y="36460"/>
                  </a:lnTo>
                  <a:lnTo>
                    <a:pt x="34266" y="36216"/>
                  </a:lnTo>
                  <a:lnTo>
                    <a:pt x="36095" y="37192"/>
                  </a:lnTo>
                  <a:lnTo>
                    <a:pt x="54874" y="48533"/>
                  </a:lnTo>
                  <a:lnTo>
                    <a:pt x="57801" y="5024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7" name="Freihandform: Form 856">
              <a:extLst>
                <a:ext uri="{FF2B5EF4-FFF2-40B4-BE49-F238E27FC236}">
                  <a16:creationId xmlns:a16="http://schemas.microsoft.com/office/drawing/2014/main" id="{722851DC-25E2-4DF7-94E6-2F0DE99A3A4A}"/>
                </a:ext>
              </a:extLst>
            </p:cNvPr>
            <p:cNvSpPr/>
            <p:nvPr/>
          </p:nvSpPr>
          <p:spPr>
            <a:xfrm>
              <a:off x="5102202" y="2760784"/>
              <a:ext cx="14511" cy="56093"/>
            </a:xfrm>
            <a:custGeom>
              <a:avLst/>
              <a:gdLst>
                <a:gd name="connsiteX0" fmla="*/ 14511 w 14511"/>
                <a:gd name="connsiteY0" fmla="*/ 26096 h 56093"/>
                <a:gd name="connsiteX1" fmla="*/ 13292 w 14511"/>
                <a:gd name="connsiteY1" fmla="*/ 24754 h 56093"/>
                <a:gd name="connsiteX2" fmla="*/ 11097 w 14511"/>
                <a:gd name="connsiteY2" fmla="*/ 22437 h 56093"/>
                <a:gd name="connsiteX3" fmla="*/ 6950 w 14511"/>
                <a:gd name="connsiteY3" fmla="*/ 17925 h 56093"/>
                <a:gd name="connsiteX4" fmla="*/ 11584 w 14511"/>
                <a:gd name="connsiteY4" fmla="*/ 13779 h 56093"/>
                <a:gd name="connsiteX5" fmla="*/ 12682 w 14511"/>
                <a:gd name="connsiteY5" fmla="*/ 12682 h 56093"/>
                <a:gd name="connsiteX6" fmla="*/ 10609 w 14511"/>
                <a:gd name="connsiteY6" fmla="*/ 9146 h 56093"/>
                <a:gd name="connsiteX7" fmla="*/ 9267 w 14511"/>
                <a:gd name="connsiteY7" fmla="*/ 6951 h 56093"/>
                <a:gd name="connsiteX8" fmla="*/ 9999 w 14511"/>
                <a:gd name="connsiteY8" fmla="*/ 4512 h 56093"/>
                <a:gd name="connsiteX9" fmla="*/ 11097 w 14511"/>
                <a:gd name="connsiteY9" fmla="*/ 0 h 56093"/>
                <a:gd name="connsiteX10" fmla="*/ 10853 w 14511"/>
                <a:gd name="connsiteY10" fmla="*/ 610 h 56093"/>
                <a:gd name="connsiteX11" fmla="*/ 8414 w 14511"/>
                <a:gd name="connsiteY11" fmla="*/ 8780 h 56093"/>
                <a:gd name="connsiteX12" fmla="*/ 4268 w 14511"/>
                <a:gd name="connsiteY12" fmla="*/ 16950 h 56093"/>
                <a:gd name="connsiteX13" fmla="*/ 5731 w 14511"/>
                <a:gd name="connsiteY13" fmla="*/ 20730 h 56093"/>
                <a:gd name="connsiteX14" fmla="*/ 6341 w 14511"/>
                <a:gd name="connsiteY14" fmla="*/ 22071 h 56093"/>
                <a:gd name="connsiteX15" fmla="*/ 7804 w 14511"/>
                <a:gd name="connsiteY15" fmla="*/ 25486 h 56093"/>
                <a:gd name="connsiteX16" fmla="*/ 5365 w 14511"/>
                <a:gd name="connsiteY16" fmla="*/ 28412 h 56093"/>
                <a:gd name="connsiteX17" fmla="*/ 2317 w 14511"/>
                <a:gd name="connsiteY17" fmla="*/ 31949 h 56093"/>
                <a:gd name="connsiteX18" fmla="*/ 0 w 14511"/>
                <a:gd name="connsiteY18" fmla="*/ 34509 h 56093"/>
                <a:gd name="connsiteX19" fmla="*/ 6707 w 14511"/>
                <a:gd name="connsiteY19" fmla="*/ 56093 h 56093"/>
                <a:gd name="connsiteX20" fmla="*/ 8292 w 14511"/>
                <a:gd name="connsiteY20" fmla="*/ 51703 h 56093"/>
                <a:gd name="connsiteX21" fmla="*/ 12438 w 14511"/>
                <a:gd name="connsiteY21" fmla="*/ 40606 h 56093"/>
                <a:gd name="connsiteX22" fmla="*/ 14511 w 14511"/>
                <a:gd name="connsiteY22" fmla="*/ 26096 h 56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511" h="56093">
                  <a:moveTo>
                    <a:pt x="14511" y="26096"/>
                  </a:moveTo>
                  <a:lnTo>
                    <a:pt x="13292" y="24754"/>
                  </a:lnTo>
                  <a:lnTo>
                    <a:pt x="11097" y="22437"/>
                  </a:lnTo>
                  <a:lnTo>
                    <a:pt x="6950" y="17925"/>
                  </a:lnTo>
                  <a:lnTo>
                    <a:pt x="11584" y="13779"/>
                  </a:lnTo>
                  <a:lnTo>
                    <a:pt x="12682" y="12682"/>
                  </a:lnTo>
                  <a:lnTo>
                    <a:pt x="10609" y="9146"/>
                  </a:lnTo>
                  <a:lnTo>
                    <a:pt x="9267" y="6951"/>
                  </a:lnTo>
                  <a:lnTo>
                    <a:pt x="9999" y="4512"/>
                  </a:lnTo>
                  <a:lnTo>
                    <a:pt x="11097" y="0"/>
                  </a:lnTo>
                  <a:lnTo>
                    <a:pt x="10853" y="610"/>
                  </a:lnTo>
                  <a:lnTo>
                    <a:pt x="8414" y="8780"/>
                  </a:lnTo>
                  <a:lnTo>
                    <a:pt x="4268" y="16950"/>
                  </a:lnTo>
                  <a:lnTo>
                    <a:pt x="5731" y="20730"/>
                  </a:lnTo>
                  <a:lnTo>
                    <a:pt x="6341" y="22071"/>
                  </a:lnTo>
                  <a:lnTo>
                    <a:pt x="7804" y="25486"/>
                  </a:lnTo>
                  <a:lnTo>
                    <a:pt x="5365" y="28412"/>
                  </a:lnTo>
                  <a:lnTo>
                    <a:pt x="2317" y="31949"/>
                  </a:lnTo>
                  <a:lnTo>
                    <a:pt x="0" y="34509"/>
                  </a:lnTo>
                  <a:lnTo>
                    <a:pt x="6707" y="56093"/>
                  </a:lnTo>
                  <a:lnTo>
                    <a:pt x="8292" y="51703"/>
                  </a:lnTo>
                  <a:lnTo>
                    <a:pt x="12438" y="40606"/>
                  </a:lnTo>
                  <a:lnTo>
                    <a:pt x="14511" y="2609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8" name="Freihandform: Form 857">
              <a:extLst>
                <a:ext uri="{FF2B5EF4-FFF2-40B4-BE49-F238E27FC236}">
                  <a16:creationId xmlns:a16="http://schemas.microsoft.com/office/drawing/2014/main" id="{60C7E672-997D-4F48-AAB0-689F80174120}"/>
                </a:ext>
              </a:extLst>
            </p:cNvPr>
            <p:cNvSpPr/>
            <p:nvPr/>
          </p:nvSpPr>
          <p:spPr>
            <a:xfrm>
              <a:off x="6022007" y="2802488"/>
              <a:ext cx="151329" cy="83408"/>
            </a:xfrm>
            <a:custGeom>
              <a:avLst/>
              <a:gdLst>
                <a:gd name="connsiteX0" fmla="*/ 148159 w 151329"/>
                <a:gd name="connsiteY0" fmla="*/ 55971 h 83408"/>
                <a:gd name="connsiteX1" fmla="*/ 104138 w 151329"/>
                <a:gd name="connsiteY1" fmla="*/ 46582 h 83408"/>
                <a:gd name="connsiteX2" fmla="*/ 102919 w 151329"/>
                <a:gd name="connsiteY2" fmla="*/ 46338 h 83408"/>
                <a:gd name="connsiteX3" fmla="*/ 101821 w 151329"/>
                <a:gd name="connsiteY3" fmla="*/ 45484 h 83408"/>
                <a:gd name="connsiteX4" fmla="*/ 80116 w 151329"/>
                <a:gd name="connsiteY4" fmla="*/ 29266 h 83408"/>
                <a:gd name="connsiteX5" fmla="*/ 67312 w 151329"/>
                <a:gd name="connsiteY5" fmla="*/ 24266 h 83408"/>
                <a:gd name="connsiteX6" fmla="*/ 55117 w 151329"/>
                <a:gd name="connsiteY6" fmla="*/ 19511 h 83408"/>
                <a:gd name="connsiteX7" fmla="*/ 54386 w 151329"/>
                <a:gd name="connsiteY7" fmla="*/ 19145 h 83408"/>
                <a:gd name="connsiteX8" fmla="*/ 53654 w 151329"/>
                <a:gd name="connsiteY8" fmla="*/ 18657 h 83408"/>
                <a:gd name="connsiteX9" fmla="*/ 29632 w 151329"/>
                <a:gd name="connsiteY9" fmla="*/ 0 h 83408"/>
                <a:gd name="connsiteX10" fmla="*/ 9511 w 151329"/>
                <a:gd name="connsiteY10" fmla="*/ 2317 h 83408"/>
                <a:gd name="connsiteX11" fmla="*/ 8048 w 151329"/>
                <a:gd name="connsiteY11" fmla="*/ 6341 h 83408"/>
                <a:gd name="connsiteX12" fmla="*/ 5121 w 151329"/>
                <a:gd name="connsiteY12" fmla="*/ 14389 h 83408"/>
                <a:gd name="connsiteX13" fmla="*/ 0 w 151329"/>
                <a:gd name="connsiteY13" fmla="*/ 26339 h 83408"/>
                <a:gd name="connsiteX14" fmla="*/ 3780 w 151329"/>
                <a:gd name="connsiteY14" fmla="*/ 38290 h 83408"/>
                <a:gd name="connsiteX15" fmla="*/ 5487 w 151329"/>
                <a:gd name="connsiteY15" fmla="*/ 39021 h 83408"/>
                <a:gd name="connsiteX16" fmla="*/ 15243 w 151329"/>
                <a:gd name="connsiteY16" fmla="*/ 43167 h 83408"/>
                <a:gd name="connsiteX17" fmla="*/ 15609 w 151329"/>
                <a:gd name="connsiteY17" fmla="*/ 43289 h 83408"/>
                <a:gd name="connsiteX18" fmla="*/ 15974 w 151329"/>
                <a:gd name="connsiteY18" fmla="*/ 43533 h 83408"/>
                <a:gd name="connsiteX19" fmla="*/ 24754 w 151329"/>
                <a:gd name="connsiteY19" fmla="*/ 48777 h 83408"/>
                <a:gd name="connsiteX20" fmla="*/ 34753 w 151329"/>
                <a:gd name="connsiteY20" fmla="*/ 50972 h 83408"/>
                <a:gd name="connsiteX21" fmla="*/ 59629 w 151329"/>
                <a:gd name="connsiteY21" fmla="*/ 56093 h 83408"/>
                <a:gd name="connsiteX22" fmla="*/ 79750 w 151329"/>
                <a:gd name="connsiteY22" fmla="*/ 58044 h 83408"/>
                <a:gd name="connsiteX23" fmla="*/ 81457 w 151329"/>
                <a:gd name="connsiteY23" fmla="*/ 58166 h 83408"/>
                <a:gd name="connsiteX24" fmla="*/ 82798 w 151329"/>
                <a:gd name="connsiteY24" fmla="*/ 59142 h 83408"/>
                <a:gd name="connsiteX25" fmla="*/ 96822 w 151329"/>
                <a:gd name="connsiteY25" fmla="*/ 69751 h 83408"/>
                <a:gd name="connsiteX26" fmla="*/ 105479 w 151329"/>
                <a:gd name="connsiteY26" fmla="*/ 76335 h 83408"/>
                <a:gd name="connsiteX27" fmla="*/ 126575 w 151329"/>
                <a:gd name="connsiteY27" fmla="*/ 83408 h 83408"/>
                <a:gd name="connsiteX28" fmla="*/ 146208 w 151329"/>
                <a:gd name="connsiteY28" fmla="*/ 80116 h 83408"/>
                <a:gd name="connsiteX29" fmla="*/ 151330 w 151329"/>
                <a:gd name="connsiteY29" fmla="*/ 68287 h 83408"/>
                <a:gd name="connsiteX30" fmla="*/ 150476 w 151329"/>
                <a:gd name="connsiteY30" fmla="*/ 64873 h 83408"/>
                <a:gd name="connsiteX31" fmla="*/ 148159 w 151329"/>
                <a:gd name="connsiteY31" fmla="*/ 55971 h 8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1329" h="83408">
                  <a:moveTo>
                    <a:pt x="148159" y="55971"/>
                  </a:moveTo>
                  <a:lnTo>
                    <a:pt x="104138" y="46582"/>
                  </a:lnTo>
                  <a:lnTo>
                    <a:pt x="102919" y="46338"/>
                  </a:lnTo>
                  <a:lnTo>
                    <a:pt x="101821" y="45484"/>
                  </a:lnTo>
                  <a:lnTo>
                    <a:pt x="80116" y="29266"/>
                  </a:lnTo>
                  <a:lnTo>
                    <a:pt x="67312" y="24266"/>
                  </a:lnTo>
                  <a:lnTo>
                    <a:pt x="55117" y="19511"/>
                  </a:lnTo>
                  <a:lnTo>
                    <a:pt x="54386" y="19145"/>
                  </a:lnTo>
                  <a:lnTo>
                    <a:pt x="53654" y="18657"/>
                  </a:lnTo>
                  <a:lnTo>
                    <a:pt x="29632" y="0"/>
                  </a:lnTo>
                  <a:lnTo>
                    <a:pt x="9511" y="2317"/>
                  </a:lnTo>
                  <a:lnTo>
                    <a:pt x="8048" y="6341"/>
                  </a:lnTo>
                  <a:lnTo>
                    <a:pt x="5121" y="14389"/>
                  </a:lnTo>
                  <a:lnTo>
                    <a:pt x="0" y="26339"/>
                  </a:lnTo>
                  <a:lnTo>
                    <a:pt x="3780" y="38290"/>
                  </a:lnTo>
                  <a:lnTo>
                    <a:pt x="5487" y="39021"/>
                  </a:lnTo>
                  <a:lnTo>
                    <a:pt x="15243" y="43167"/>
                  </a:lnTo>
                  <a:lnTo>
                    <a:pt x="15609" y="43289"/>
                  </a:lnTo>
                  <a:lnTo>
                    <a:pt x="15974" y="43533"/>
                  </a:lnTo>
                  <a:lnTo>
                    <a:pt x="24754" y="48777"/>
                  </a:lnTo>
                  <a:lnTo>
                    <a:pt x="34753" y="50972"/>
                  </a:lnTo>
                  <a:lnTo>
                    <a:pt x="59629" y="56093"/>
                  </a:lnTo>
                  <a:lnTo>
                    <a:pt x="79750" y="58044"/>
                  </a:lnTo>
                  <a:lnTo>
                    <a:pt x="81457" y="58166"/>
                  </a:lnTo>
                  <a:lnTo>
                    <a:pt x="82798" y="59142"/>
                  </a:lnTo>
                  <a:lnTo>
                    <a:pt x="96822" y="69751"/>
                  </a:lnTo>
                  <a:lnTo>
                    <a:pt x="105479" y="76335"/>
                  </a:lnTo>
                  <a:lnTo>
                    <a:pt x="126575" y="83408"/>
                  </a:lnTo>
                  <a:lnTo>
                    <a:pt x="146208" y="80116"/>
                  </a:lnTo>
                  <a:lnTo>
                    <a:pt x="151330" y="68287"/>
                  </a:lnTo>
                  <a:lnTo>
                    <a:pt x="150476" y="64873"/>
                  </a:lnTo>
                  <a:lnTo>
                    <a:pt x="148159" y="5597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59" name="Freihandform: Form 858">
              <a:extLst>
                <a:ext uri="{FF2B5EF4-FFF2-40B4-BE49-F238E27FC236}">
                  <a16:creationId xmlns:a16="http://schemas.microsoft.com/office/drawing/2014/main" id="{5A14E328-3C61-44A1-BC12-9C3970D77BAE}"/>
                </a:ext>
              </a:extLst>
            </p:cNvPr>
            <p:cNvSpPr/>
            <p:nvPr/>
          </p:nvSpPr>
          <p:spPr>
            <a:xfrm>
              <a:off x="6197847" y="2847729"/>
              <a:ext cx="51337" cy="28534"/>
            </a:xfrm>
            <a:custGeom>
              <a:avLst/>
              <a:gdLst>
                <a:gd name="connsiteX0" fmla="*/ 44265 w 51337"/>
                <a:gd name="connsiteY0" fmla="*/ 7926 h 28534"/>
                <a:gd name="connsiteX1" fmla="*/ 44387 w 51337"/>
                <a:gd name="connsiteY1" fmla="*/ 7317 h 28534"/>
                <a:gd name="connsiteX2" fmla="*/ 34998 w 51337"/>
                <a:gd name="connsiteY2" fmla="*/ 8292 h 28534"/>
                <a:gd name="connsiteX3" fmla="*/ 32071 w 51337"/>
                <a:gd name="connsiteY3" fmla="*/ 8536 h 28534"/>
                <a:gd name="connsiteX4" fmla="*/ 30120 w 51337"/>
                <a:gd name="connsiteY4" fmla="*/ 6585 h 28534"/>
                <a:gd name="connsiteX5" fmla="*/ 24510 w 51337"/>
                <a:gd name="connsiteY5" fmla="*/ 976 h 28534"/>
                <a:gd name="connsiteX6" fmla="*/ 23535 w 51337"/>
                <a:gd name="connsiteY6" fmla="*/ 0 h 28534"/>
                <a:gd name="connsiteX7" fmla="*/ 13414 w 51337"/>
                <a:gd name="connsiteY7" fmla="*/ 0 h 28534"/>
                <a:gd name="connsiteX8" fmla="*/ 2927 w 51337"/>
                <a:gd name="connsiteY8" fmla="*/ 7317 h 28534"/>
                <a:gd name="connsiteX9" fmla="*/ 2195 w 51337"/>
                <a:gd name="connsiteY9" fmla="*/ 9390 h 28534"/>
                <a:gd name="connsiteX10" fmla="*/ 0 w 51337"/>
                <a:gd name="connsiteY10" fmla="*/ 16584 h 28534"/>
                <a:gd name="connsiteX11" fmla="*/ 1219 w 51337"/>
                <a:gd name="connsiteY11" fmla="*/ 23169 h 28534"/>
                <a:gd name="connsiteX12" fmla="*/ 7195 w 51337"/>
                <a:gd name="connsiteY12" fmla="*/ 24754 h 28534"/>
                <a:gd name="connsiteX13" fmla="*/ 9268 w 51337"/>
                <a:gd name="connsiteY13" fmla="*/ 25242 h 28534"/>
                <a:gd name="connsiteX14" fmla="*/ 10609 w 51337"/>
                <a:gd name="connsiteY14" fmla="*/ 26949 h 28534"/>
                <a:gd name="connsiteX15" fmla="*/ 11828 w 51337"/>
                <a:gd name="connsiteY15" fmla="*/ 28534 h 28534"/>
                <a:gd name="connsiteX16" fmla="*/ 50850 w 51337"/>
                <a:gd name="connsiteY16" fmla="*/ 23535 h 28534"/>
                <a:gd name="connsiteX17" fmla="*/ 51338 w 51337"/>
                <a:gd name="connsiteY17" fmla="*/ 18779 h 28534"/>
                <a:gd name="connsiteX18" fmla="*/ 48411 w 51337"/>
                <a:gd name="connsiteY18" fmla="*/ 17925 h 28534"/>
                <a:gd name="connsiteX19" fmla="*/ 43777 w 51337"/>
                <a:gd name="connsiteY19" fmla="*/ 16584 h 28534"/>
                <a:gd name="connsiteX20" fmla="*/ 44021 w 51337"/>
                <a:gd name="connsiteY20" fmla="*/ 11706 h 28534"/>
                <a:gd name="connsiteX21" fmla="*/ 44265 w 51337"/>
                <a:gd name="connsiteY21" fmla="*/ 7926 h 28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1337" h="28534">
                  <a:moveTo>
                    <a:pt x="44265" y="7926"/>
                  </a:moveTo>
                  <a:lnTo>
                    <a:pt x="44387" y="7317"/>
                  </a:lnTo>
                  <a:lnTo>
                    <a:pt x="34998" y="8292"/>
                  </a:lnTo>
                  <a:lnTo>
                    <a:pt x="32071" y="8536"/>
                  </a:lnTo>
                  <a:lnTo>
                    <a:pt x="30120" y="6585"/>
                  </a:lnTo>
                  <a:lnTo>
                    <a:pt x="24510" y="976"/>
                  </a:lnTo>
                  <a:lnTo>
                    <a:pt x="23535" y="0"/>
                  </a:lnTo>
                  <a:lnTo>
                    <a:pt x="13414" y="0"/>
                  </a:lnTo>
                  <a:lnTo>
                    <a:pt x="2927" y="7317"/>
                  </a:lnTo>
                  <a:lnTo>
                    <a:pt x="2195" y="9390"/>
                  </a:lnTo>
                  <a:lnTo>
                    <a:pt x="0" y="16584"/>
                  </a:lnTo>
                  <a:lnTo>
                    <a:pt x="1219" y="23169"/>
                  </a:lnTo>
                  <a:lnTo>
                    <a:pt x="7195" y="24754"/>
                  </a:lnTo>
                  <a:lnTo>
                    <a:pt x="9268" y="25242"/>
                  </a:lnTo>
                  <a:lnTo>
                    <a:pt x="10609" y="26949"/>
                  </a:lnTo>
                  <a:lnTo>
                    <a:pt x="11828" y="28534"/>
                  </a:lnTo>
                  <a:lnTo>
                    <a:pt x="50850" y="23535"/>
                  </a:lnTo>
                  <a:lnTo>
                    <a:pt x="51338" y="18779"/>
                  </a:lnTo>
                  <a:lnTo>
                    <a:pt x="48411" y="17925"/>
                  </a:lnTo>
                  <a:lnTo>
                    <a:pt x="43777" y="16584"/>
                  </a:lnTo>
                  <a:lnTo>
                    <a:pt x="44021" y="11706"/>
                  </a:lnTo>
                  <a:lnTo>
                    <a:pt x="44265" y="7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0" name="Freihandform: Form 859">
              <a:extLst>
                <a:ext uri="{FF2B5EF4-FFF2-40B4-BE49-F238E27FC236}">
                  <a16:creationId xmlns:a16="http://schemas.microsoft.com/office/drawing/2014/main" id="{90442B54-636D-4D1B-B775-6C7BAE50B1F7}"/>
                </a:ext>
              </a:extLst>
            </p:cNvPr>
            <p:cNvSpPr/>
            <p:nvPr/>
          </p:nvSpPr>
          <p:spPr>
            <a:xfrm>
              <a:off x="5467539" y="2512633"/>
              <a:ext cx="2194" cy="3536"/>
            </a:xfrm>
            <a:custGeom>
              <a:avLst/>
              <a:gdLst>
                <a:gd name="connsiteX0" fmla="*/ 0 w 2194"/>
                <a:gd name="connsiteY0" fmla="*/ 3536 h 3536"/>
                <a:gd name="connsiteX1" fmla="*/ 2195 w 2194"/>
                <a:gd name="connsiteY1" fmla="*/ 0 h 3536"/>
                <a:gd name="connsiteX2" fmla="*/ 122 w 2194"/>
                <a:gd name="connsiteY2" fmla="*/ 1829 h 3536"/>
                <a:gd name="connsiteX3" fmla="*/ 0 w 2194"/>
                <a:gd name="connsiteY3" fmla="*/ 3536 h 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4" h="3536">
                  <a:moveTo>
                    <a:pt x="0" y="3536"/>
                  </a:moveTo>
                  <a:cubicBezTo>
                    <a:pt x="615" y="2289"/>
                    <a:pt x="1350" y="1104"/>
                    <a:pt x="2195" y="0"/>
                  </a:cubicBezTo>
                  <a:lnTo>
                    <a:pt x="122" y="1829"/>
                  </a:lnTo>
                  <a:cubicBezTo>
                    <a:pt x="122" y="1829"/>
                    <a:pt x="0" y="3049"/>
                    <a:pt x="0" y="3536"/>
                  </a:cubicBez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1" name="Freihandform: Form 860">
              <a:extLst>
                <a:ext uri="{FF2B5EF4-FFF2-40B4-BE49-F238E27FC236}">
                  <a16:creationId xmlns:a16="http://schemas.microsoft.com/office/drawing/2014/main" id="{626E27D7-1EEF-4675-8816-EB33B0A2B3AC}"/>
                </a:ext>
              </a:extLst>
            </p:cNvPr>
            <p:cNvSpPr/>
            <p:nvPr/>
          </p:nvSpPr>
          <p:spPr>
            <a:xfrm>
              <a:off x="5767515" y="2544582"/>
              <a:ext cx="142061" cy="98163"/>
            </a:xfrm>
            <a:custGeom>
              <a:avLst/>
              <a:gdLst>
                <a:gd name="connsiteX0" fmla="*/ 138891 w 142061"/>
                <a:gd name="connsiteY0" fmla="*/ 58898 h 98163"/>
                <a:gd name="connsiteX1" fmla="*/ 132794 w 142061"/>
                <a:gd name="connsiteY1" fmla="*/ 57922 h 98163"/>
                <a:gd name="connsiteX2" fmla="*/ 124380 w 142061"/>
                <a:gd name="connsiteY2" fmla="*/ 56581 h 98163"/>
                <a:gd name="connsiteX3" fmla="*/ 120234 w 142061"/>
                <a:gd name="connsiteY3" fmla="*/ 55971 h 98163"/>
                <a:gd name="connsiteX4" fmla="*/ 119381 w 142061"/>
                <a:gd name="connsiteY4" fmla="*/ 51825 h 98163"/>
                <a:gd name="connsiteX5" fmla="*/ 116332 w 142061"/>
                <a:gd name="connsiteY5" fmla="*/ 37680 h 98163"/>
                <a:gd name="connsiteX6" fmla="*/ 102431 w 142061"/>
                <a:gd name="connsiteY6" fmla="*/ 41948 h 98163"/>
                <a:gd name="connsiteX7" fmla="*/ 101455 w 142061"/>
                <a:gd name="connsiteY7" fmla="*/ 42314 h 98163"/>
                <a:gd name="connsiteX8" fmla="*/ 80359 w 142061"/>
                <a:gd name="connsiteY8" fmla="*/ 42314 h 98163"/>
                <a:gd name="connsiteX9" fmla="*/ 79750 w 142061"/>
                <a:gd name="connsiteY9" fmla="*/ 36948 h 98163"/>
                <a:gd name="connsiteX10" fmla="*/ 79506 w 142061"/>
                <a:gd name="connsiteY10" fmla="*/ 34875 h 98163"/>
                <a:gd name="connsiteX11" fmla="*/ 65970 w 142061"/>
                <a:gd name="connsiteY11" fmla="*/ 35607 h 98163"/>
                <a:gd name="connsiteX12" fmla="*/ 64873 w 142061"/>
                <a:gd name="connsiteY12" fmla="*/ 36217 h 98163"/>
                <a:gd name="connsiteX13" fmla="*/ 61580 w 142061"/>
                <a:gd name="connsiteY13" fmla="*/ 37802 h 98163"/>
                <a:gd name="connsiteX14" fmla="*/ 60239 w 142061"/>
                <a:gd name="connsiteY14" fmla="*/ 38534 h 98163"/>
                <a:gd name="connsiteX15" fmla="*/ 48777 w 142061"/>
                <a:gd name="connsiteY15" fmla="*/ 38534 h 98163"/>
                <a:gd name="connsiteX16" fmla="*/ 41826 w 142061"/>
                <a:gd name="connsiteY16" fmla="*/ 41704 h 98163"/>
                <a:gd name="connsiteX17" fmla="*/ 41094 w 142061"/>
                <a:gd name="connsiteY17" fmla="*/ 42070 h 98163"/>
                <a:gd name="connsiteX18" fmla="*/ 35729 w 142061"/>
                <a:gd name="connsiteY18" fmla="*/ 44387 h 98163"/>
                <a:gd name="connsiteX19" fmla="*/ 33046 w 142061"/>
                <a:gd name="connsiteY19" fmla="*/ 39265 h 98163"/>
                <a:gd name="connsiteX20" fmla="*/ 31095 w 142061"/>
                <a:gd name="connsiteY20" fmla="*/ 35241 h 98163"/>
                <a:gd name="connsiteX21" fmla="*/ 28534 w 142061"/>
                <a:gd name="connsiteY21" fmla="*/ 30120 h 98163"/>
                <a:gd name="connsiteX22" fmla="*/ 33534 w 142061"/>
                <a:gd name="connsiteY22" fmla="*/ 27193 h 98163"/>
                <a:gd name="connsiteX23" fmla="*/ 49996 w 142061"/>
                <a:gd name="connsiteY23" fmla="*/ 17804 h 98163"/>
                <a:gd name="connsiteX24" fmla="*/ 50240 w 142061"/>
                <a:gd name="connsiteY24" fmla="*/ 16706 h 98163"/>
                <a:gd name="connsiteX25" fmla="*/ 51459 w 142061"/>
                <a:gd name="connsiteY25" fmla="*/ 9024 h 98163"/>
                <a:gd name="connsiteX26" fmla="*/ 51825 w 142061"/>
                <a:gd name="connsiteY26" fmla="*/ 7073 h 98163"/>
                <a:gd name="connsiteX27" fmla="*/ 53166 w 142061"/>
                <a:gd name="connsiteY27" fmla="*/ 5731 h 98163"/>
                <a:gd name="connsiteX28" fmla="*/ 56703 w 142061"/>
                <a:gd name="connsiteY28" fmla="*/ 2073 h 98163"/>
                <a:gd name="connsiteX29" fmla="*/ 54508 w 142061"/>
                <a:gd name="connsiteY29" fmla="*/ 1341 h 98163"/>
                <a:gd name="connsiteX30" fmla="*/ 50606 w 142061"/>
                <a:gd name="connsiteY30" fmla="*/ 0 h 98163"/>
                <a:gd name="connsiteX31" fmla="*/ 31949 w 142061"/>
                <a:gd name="connsiteY31" fmla="*/ 5365 h 98163"/>
                <a:gd name="connsiteX32" fmla="*/ 31217 w 142061"/>
                <a:gd name="connsiteY32" fmla="*/ 19877 h 98163"/>
                <a:gd name="connsiteX33" fmla="*/ 30973 w 142061"/>
                <a:gd name="connsiteY33" fmla="*/ 24510 h 98163"/>
                <a:gd name="connsiteX34" fmla="*/ 26461 w 142061"/>
                <a:gd name="connsiteY34" fmla="*/ 25486 h 98163"/>
                <a:gd name="connsiteX35" fmla="*/ 11097 w 142061"/>
                <a:gd name="connsiteY35" fmla="*/ 28900 h 98163"/>
                <a:gd name="connsiteX36" fmla="*/ 5000 w 142061"/>
                <a:gd name="connsiteY36" fmla="*/ 30485 h 98163"/>
                <a:gd name="connsiteX37" fmla="*/ 0 w 142061"/>
                <a:gd name="connsiteY37" fmla="*/ 31705 h 98163"/>
                <a:gd name="connsiteX38" fmla="*/ 5243 w 142061"/>
                <a:gd name="connsiteY38" fmla="*/ 49752 h 98163"/>
                <a:gd name="connsiteX39" fmla="*/ 10975 w 142061"/>
                <a:gd name="connsiteY39" fmla="*/ 57800 h 98163"/>
                <a:gd name="connsiteX40" fmla="*/ 12560 w 142061"/>
                <a:gd name="connsiteY40" fmla="*/ 60361 h 98163"/>
                <a:gd name="connsiteX41" fmla="*/ 11706 w 142061"/>
                <a:gd name="connsiteY41" fmla="*/ 63288 h 98163"/>
                <a:gd name="connsiteX42" fmla="*/ 7560 w 142061"/>
                <a:gd name="connsiteY42" fmla="*/ 76579 h 98163"/>
                <a:gd name="connsiteX43" fmla="*/ 7195 w 142061"/>
                <a:gd name="connsiteY43" fmla="*/ 81945 h 98163"/>
                <a:gd name="connsiteX44" fmla="*/ 6707 w 142061"/>
                <a:gd name="connsiteY44" fmla="*/ 89627 h 98163"/>
                <a:gd name="connsiteX45" fmla="*/ 16218 w 142061"/>
                <a:gd name="connsiteY45" fmla="*/ 90846 h 98163"/>
                <a:gd name="connsiteX46" fmla="*/ 43411 w 142061"/>
                <a:gd name="connsiteY46" fmla="*/ 79506 h 98163"/>
                <a:gd name="connsiteX47" fmla="*/ 45850 w 142061"/>
                <a:gd name="connsiteY47" fmla="*/ 75726 h 98163"/>
                <a:gd name="connsiteX48" fmla="*/ 51094 w 142061"/>
                <a:gd name="connsiteY48" fmla="*/ 67434 h 98163"/>
                <a:gd name="connsiteX49" fmla="*/ 51337 w 142061"/>
                <a:gd name="connsiteY49" fmla="*/ 67068 h 98163"/>
                <a:gd name="connsiteX50" fmla="*/ 51581 w 142061"/>
                <a:gd name="connsiteY50" fmla="*/ 66824 h 98163"/>
                <a:gd name="connsiteX51" fmla="*/ 58288 w 142061"/>
                <a:gd name="connsiteY51" fmla="*/ 59020 h 98163"/>
                <a:gd name="connsiteX52" fmla="*/ 61458 w 142061"/>
                <a:gd name="connsiteY52" fmla="*/ 55362 h 98163"/>
                <a:gd name="connsiteX53" fmla="*/ 65605 w 142061"/>
                <a:gd name="connsiteY53" fmla="*/ 50606 h 98163"/>
                <a:gd name="connsiteX54" fmla="*/ 70238 w 142061"/>
                <a:gd name="connsiteY54" fmla="*/ 54752 h 98163"/>
                <a:gd name="connsiteX55" fmla="*/ 77433 w 142061"/>
                <a:gd name="connsiteY55" fmla="*/ 61337 h 98163"/>
                <a:gd name="connsiteX56" fmla="*/ 79140 w 142061"/>
                <a:gd name="connsiteY56" fmla="*/ 62800 h 98163"/>
                <a:gd name="connsiteX57" fmla="*/ 79384 w 142061"/>
                <a:gd name="connsiteY57" fmla="*/ 64995 h 98163"/>
                <a:gd name="connsiteX58" fmla="*/ 82066 w 142061"/>
                <a:gd name="connsiteY58" fmla="*/ 83774 h 98163"/>
                <a:gd name="connsiteX59" fmla="*/ 82189 w 142061"/>
                <a:gd name="connsiteY59" fmla="*/ 84628 h 98163"/>
                <a:gd name="connsiteX60" fmla="*/ 82066 w 142061"/>
                <a:gd name="connsiteY60" fmla="*/ 85481 h 98163"/>
                <a:gd name="connsiteX61" fmla="*/ 80115 w 142061"/>
                <a:gd name="connsiteY61" fmla="*/ 98163 h 98163"/>
                <a:gd name="connsiteX62" fmla="*/ 93529 w 142061"/>
                <a:gd name="connsiteY62" fmla="*/ 97066 h 98163"/>
                <a:gd name="connsiteX63" fmla="*/ 97431 w 142061"/>
                <a:gd name="connsiteY63" fmla="*/ 96822 h 98163"/>
                <a:gd name="connsiteX64" fmla="*/ 114869 w 142061"/>
                <a:gd name="connsiteY64" fmla="*/ 82920 h 98163"/>
                <a:gd name="connsiteX65" fmla="*/ 116576 w 142061"/>
                <a:gd name="connsiteY65" fmla="*/ 81579 h 98163"/>
                <a:gd name="connsiteX66" fmla="*/ 130234 w 142061"/>
                <a:gd name="connsiteY66" fmla="*/ 81579 h 98163"/>
                <a:gd name="connsiteX67" fmla="*/ 131575 w 142061"/>
                <a:gd name="connsiteY67" fmla="*/ 82311 h 98163"/>
                <a:gd name="connsiteX68" fmla="*/ 134623 w 142061"/>
                <a:gd name="connsiteY68" fmla="*/ 83896 h 98163"/>
                <a:gd name="connsiteX69" fmla="*/ 142062 w 142061"/>
                <a:gd name="connsiteY69" fmla="*/ 69141 h 98163"/>
                <a:gd name="connsiteX70" fmla="*/ 138891 w 142061"/>
                <a:gd name="connsiteY70" fmla="*/ 58898 h 98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42061" h="98163">
                  <a:moveTo>
                    <a:pt x="138891" y="58898"/>
                  </a:moveTo>
                  <a:lnTo>
                    <a:pt x="132794" y="57922"/>
                  </a:lnTo>
                  <a:lnTo>
                    <a:pt x="124380" y="56581"/>
                  </a:lnTo>
                  <a:lnTo>
                    <a:pt x="120234" y="55971"/>
                  </a:lnTo>
                  <a:lnTo>
                    <a:pt x="119381" y="51825"/>
                  </a:lnTo>
                  <a:lnTo>
                    <a:pt x="116332" y="37680"/>
                  </a:lnTo>
                  <a:lnTo>
                    <a:pt x="102431" y="41948"/>
                  </a:lnTo>
                  <a:lnTo>
                    <a:pt x="101455" y="42314"/>
                  </a:lnTo>
                  <a:lnTo>
                    <a:pt x="80359" y="42314"/>
                  </a:lnTo>
                  <a:lnTo>
                    <a:pt x="79750" y="36948"/>
                  </a:lnTo>
                  <a:lnTo>
                    <a:pt x="79506" y="34875"/>
                  </a:lnTo>
                  <a:lnTo>
                    <a:pt x="65970" y="35607"/>
                  </a:lnTo>
                  <a:lnTo>
                    <a:pt x="64873" y="36217"/>
                  </a:lnTo>
                  <a:lnTo>
                    <a:pt x="61580" y="37802"/>
                  </a:lnTo>
                  <a:lnTo>
                    <a:pt x="60239" y="38534"/>
                  </a:lnTo>
                  <a:lnTo>
                    <a:pt x="48777" y="38534"/>
                  </a:lnTo>
                  <a:lnTo>
                    <a:pt x="41826" y="41704"/>
                  </a:lnTo>
                  <a:lnTo>
                    <a:pt x="41094" y="42070"/>
                  </a:lnTo>
                  <a:lnTo>
                    <a:pt x="35729" y="44387"/>
                  </a:lnTo>
                  <a:lnTo>
                    <a:pt x="33046" y="39265"/>
                  </a:lnTo>
                  <a:lnTo>
                    <a:pt x="31095" y="35241"/>
                  </a:lnTo>
                  <a:lnTo>
                    <a:pt x="28534" y="30120"/>
                  </a:lnTo>
                  <a:lnTo>
                    <a:pt x="33534" y="27193"/>
                  </a:lnTo>
                  <a:lnTo>
                    <a:pt x="49996" y="17804"/>
                  </a:lnTo>
                  <a:lnTo>
                    <a:pt x="50240" y="16706"/>
                  </a:lnTo>
                  <a:lnTo>
                    <a:pt x="51459" y="9024"/>
                  </a:lnTo>
                  <a:lnTo>
                    <a:pt x="51825" y="7073"/>
                  </a:lnTo>
                  <a:lnTo>
                    <a:pt x="53166" y="5731"/>
                  </a:lnTo>
                  <a:lnTo>
                    <a:pt x="56703" y="2073"/>
                  </a:lnTo>
                  <a:lnTo>
                    <a:pt x="54508" y="1341"/>
                  </a:lnTo>
                  <a:lnTo>
                    <a:pt x="50606" y="0"/>
                  </a:lnTo>
                  <a:lnTo>
                    <a:pt x="31949" y="5365"/>
                  </a:lnTo>
                  <a:lnTo>
                    <a:pt x="31217" y="19877"/>
                  </a:lnTo>
                  <a:lnTo>
                    <a:pt x="30973" y="24510"/>
                  </a:lnTo>
                  <a:lnTo>
                    <a:pt x="26461" y="25486"/>
                  </a:lnTo>
                  <a:lnTo>
                    <a:pt x="11097" y="28900"/>
                  </a:lnTo>
                  <a:lnTo>
                    <a:pt x="5000" y="30485"/>
                  </a:lnTo>
                  <a:lnTo>
                    <a:pt x="0" y="31705"/>
                  </a:lnTo>
                  <a:lnTo>
                    <a:pt x="5243" y="49752"/>
                  </a:lnTo>
                  <a:lnTo>
                    <a:pt x="10975" y="57800"/>
                  </a:lnTo>
                  <a:lnTo>
                    <a:pt x="12560" y="60361"/>
                  </a:lnTo>
                  <a:lnTo>
                    <a:pt x="11706" y="63288"/>
                  </a:lnTo>
                  <a:lnTo>
                    <a:pt x="7560" y="76579"/>
                  </a:lnTo>
                  <a:lnTo>
                    <a:pt x="7195" y="81945"/>
                  </a:lnTo>
                  <a:lnTo>
                    <a:pt x="6707" y="89627"/>
                  </a:lnTo>
                  <a:lnTo>
                    <a:pt x="16218" y="90846"/>
                  </a:lnTo>
                  <a:lnTo>
                    <a:pt x="43411" y="79506"/>
                  </a:lnTo>
                  <a:lnTo>
                    <a:pt x="45850" y="75726"/>
                  </a:lnTo>
                  <a:lnTo>
                    <a:pt x="51094" y="67434"/>
                  </a:lnTo>
                  <a:lnTo>
                    <a:pt x="51337" y="67068"/>
                  </a:lnTo>
                  <a:lnTo>
                    <a:pt x="51581" y="66824"/>
                  </a:lnTo>
                  <a:lnTo>
                    <a:pt x="58288" y="59020"/>
                  </a:lnTo>
                  <a:lnTo>
                    <a:pt x="61458" y="55362"/>
                  </a:lnTo>
                  <a:lnTo>
                    <a:pt x="65605" y="50606"/>
                  </a:lnTo>
                  <a:lnTo>
                    <a:pt x="70238" y="54752"/>
                  </a:lnTo>
                  <a:lnTo>
                    <a:pt x="77433" y="61337"/>
                  </a:lnTo>
                  <a:lnTo>
                    <a:pt x="79140" y="62800"/>
                  </a:lnTo>
                  <a:lnTo>
                    <a:pt x="79384" y="64995"/>
                  </a:lnTo>
                  <a:lnTo>
                    <a:pt x="82066" y="83774"/>
                  </a:lnTo>
                  <a:lnTo>
                    <a:pt x="82189" y="84628"/>
                  </a:lnTo>
                  <a:lnTo>
                    <a:pt x="82066" y="85481"/>
                  </a:lnTo>
                  <a:lnTo>
                    <a:pt x="80115" y="98163"/>
                  </a:lnTo>
                  <a:lnTo>
                    <a:pt x="93529" y="97066"/>
                  </a:lnTo>
                  <a:lnTo>
                    <a:pt x="97431" y="96822"/>
                  </a:lnTo>
                  <a:lnTo>
                    <a:pt x="114869" y="82920"/>
                  </a:lnTo>
                  <a:lnTo>
                    <a:pt x="116576" y="81579"/>
                  </a:lnTo>
                  <a:lnTo>
                    <a:pt x="130234" y="81579"/>
                  </a:lnTo>
                  <a:lnTo>
                    <a:pt x="131575" y="82311"/>
                  </a:lnTo>
                  <a:lnTo>
                    <a:pt x="134623" y="83896"/>
                  </a:lnTo>
                  <a:lnTo>
                    <a:pt x="142062" y="69141"/>
                  </a:lnTo>
                  <a:lnTo>
                    <a:pt x="138891" y="5889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2" name="Freihandform: Form 861">
              <a:extLst>
                <a:ext uri="{FF2B5EF4-FFF2-40B4-BE49-F238E27FC236}">
                  <a16:creationId xmlns:a16="http://schemas.microsoft.com/office/drawing/2014/main" id="{646B1460-9218-4590-B969-B72EA34ABC9C}"/>
                </a:ext>
              </a:extLst>
            </p:cNvPr>
            <p:cNvSpPr/>
            <p:nvPr/>
          </p:nvSpPr>
          <p:spPr>
            <a:xfrm>
              <a:off x="5526436" y="2418860"/>
              <a:ext cx="330461" cy="214007"/>
            </a:xfrm>
            <a:custGeom>
              <a:avLst/>
              <a:gdLst>
                <a:gd name="connsiteX0" fmla="*/ 284246 w 330461"/>
                <a:gd name="connsiteY0" fmla="*/ 92310 h 214007"/>
                <a:gd name="connsiteX1" fmla="*/ 285831 w 330461"/>
                <a:gd name="connsiteY1" fmla="*/ 90969 h 214007"/>
                <a:gd name="connsiteX2" fmla="*/ 284124 w 330461"/>
                <a:gd name="connsiteY2" fmla="*/ 91212 h 214007"/>
                <a:gd name="connsiteX3" fmla="*/ 280588 w 330461"/>
                <a:gd name="connsiteY3" fmla="*/ 92066 h 214007"/>
                <a:gd name="connsiteX4" fmla="*/ 269857 w 330461"/>
                <a:gd name="connsiteY4" fmla="*/ 102797 h 214007"/>
                <a:gd name="connsiteX5" fmla="*/ 269003 w 330461"/>
                <a:gd name="connsiteY5" fmla="*/ 103650 h 214007"/>
                <a:gd name="connsiteX6" fmla="*/ 268516 w 330461"/>
                <a:gd name="connsiteY6" fmla="*/ 105479 h 214007"/>
                <a:gd name="connsiteX7" fmla="*/ 266808 w 330461"/>
                <a:gd name="connsiteY7" fmla="*/ 112430 h 214007"/>
                <a:gd name="connsiteX8" fmla="*/ 266077 w 330461"/>
                <a:gd name="connsiteY8" fmla="*/ 115723 h 214007"/>
                <a:gd name="connsiteX9" fmla="*/ 262784 w 330461"/>
                <a:gd name="connsiteY9" fmla="*/ 116820 h 214007"/>
                <a:gd name="connsiteX10" fmla="*/ 255102 w 330461"/>
                <a:gd name="connsiteY10" fmla="*/ 119381 h 214007"/>
                <a:gd name="connsiteX11" fmla="*/ 246566 w 330461"/>
                <a:gd name="connsiteY11" fmla="*/ 126088 h 214007"/>
                <a:gd name="connsiteX12" fmla="*/ 245225 w 330461"/>
                <a:gd name="connsiteY12" fmla="*/ 127185 h 214007"/>
                <a:gd name="connsiteX13" fmla="*/ 243517 w 330461"/>
                <a:gd name="connsiteY13" fmla="*/ 127429 h 214007"/>
                <a:gd name="connsiteX14" fmla="*/ 241200 w 330461"/>
                <a:gd name="connsiteY14" fmla="*/ 127673 h 214007"/>
                <a:gd name="connsiteX15" fmla="*/ 237664 w 330461"/>
                <a:gd name="connsiteY15" fmla="*/ 128161 h 214007"/>
                <a:gd name="connsiteX16" fmla="*/ 234494 w 330461"/>
                <a:gd name="connsiteY16" fmla="*/ 128527 h 214007"/>
                <a:gd name="connsiteX17" fmla="*/ 232421 w 330461"/>
                <a:gd name="connsiteY17" fmla="*/ 126210 h 214007"/>
                <a:gd name="connsiteX18" fmla="*/ 222788 w 330461"/>
                <a:gd name="connsiteY18" fmla="*/ 115845 h 214007"/>
                <a:gd name="connsiteX19" fmla="*/ 217910 w 330461"/>
                <a:gd name="connsiteY19" fmla="*/ 115235 h 214007"/>
                <a:gd name="connsiteX20" fmla="*/ 214374 w 330461"/>
                <a:gd name="connsiteY20" fmla="*/ 114747 h 214007"/>
                <a:gd name="connsiteX21" fmla="*/ 213032 w 330461"/>
                <a:gd name="connsiteY21" fmla="*/ 111333 h 214007"/>
                <a:gd name="connsiteX22" fmla="*/ 201935 w 330461"/>
                <a:gd name="connsiteY22" fmla="*/ 83042 h 214007"/>
                <a:gd name="connsiteX23" fmla="*/ 201569 w 330461"/>
                <a:gd name="connsiteY23" fmla="*/ 81945 h 214007"/>
                <a:gd name="connsiteX24" fmla="*/ 194619 w 330461"/>
                <a:gd name="connsiteY24" fmla="*/ 84140 h 214007"/>
                <a:gd name="connsiteX25" fmla="*/ 189497 w 330461"/>
                <a:gd name="connsiteY25" fmla="*/ 85725 h 214007"/>
                <a:gd name="connsiteX26" fmla="*/ 187303 w 330461"/>
                <a:gd name="connsiteY26" fmla="*/ 80847 h 214007"/>
                <a:gd name="connsiteX27" fmla="*/ 179011 w 330461"/>
                <a:gd name="connsiteY27" fmla="*/ 62800 h 214007"/>
                <a:gd name="connsiteX28" fmla="*/ 165109 w 330461"/>
                <a:gd name="connsiteY28" fmla="*/ 53776 h 214007"/>
                <a:gd name="connsiteX29" fmla="*/ 159012 w 330461"/>
                <a:gd name="connsiteY29" fmla="*/ 54386 h 214007"/>
                <a:gd name="connsiteX30" fmla="*/ 157305 w 330461"/>
                <a:gd name="connsiteY30" fmla="*/ 54508 h 214007"/>
                <a:gd name="connsiteX31" fmla="*/ 156695 w 330461"/>
                <a:gd name="connsiteY31" fmla="*/ 54630 h 214007"/>
                <a:gd name="connsiteX32" fmla="*/ 156085 w 330461"/>
                <a:gd name="connsiteY32" fmla="*/ 54508 h 214007"/>
                <a:gd name="connsiteX33" fmla="*/ 136941 w 330461"/>
                <a:gd name="connsiteY33" fmla="*/ 52679 h 214007"/>
                <a:gd name="connsiteX34" fmla="*/ 125356 w 330461"/>
                <a:gd name="connsiteY34" fmla="*/ 54386 h 214007"/>
                <a:gd name="connsiteX35" fmla="*/ 121942 w 330461"/>
                <a:gd name="connsiteY35" fmla="*/ 54874 h 214007"/>
                <a:gd name="connsiteX36" fmla="*/ 119747 w 330461"/>
                <a:gd name="connsiteY36" fmla="*/ 52313 h 214007"/>
                <a:gd name="connsiteX37" fmla="*/ 109747 w 330461"/>
                <a:gd name="connsiteY37" fmla="*/ 40363 h 214007"/>
                <a:gd name="connsiteX38" fmla="*/ 106211 w 330461"/>
                <a:gd name="connsiteY38" fmla="*/ 36095 h 214007"/>
                <a:gd name="connsiteX39" fmla="*/ 82189 w 330461"/>
                <a:gd name="connsiteY39" fmla="*/ 19755 h 214007"/>
                <a:gd name="connsiteX40" fmla="*/ 53167 w 330461"/>
                <a:gd name="connsiteY40" fmla="*/ 0 h 214007"/>
                <a:gd name="connsiteX41" fmla="*/ 0 w 330461"/>
                <a:gd name="connsiteY41" fmla="*/ 28412 h 214007"/>
                <a:gd name="connsiteX42" fmla="*/ 1219 w 330461"/>
                <a:gd name="connsiteY42" fmla="*/ 52801 h 214007"/>
                <a:gd name="connsiteX43" fmla="*/ 3536 w 330461"/>
                <a:gd name="connsiteY43" fmla="*/ 96578 h 214007"/>
                <a:gd name="connsiteX44" fmla="*/ 9024 w 330461"/>
                <a:gd name="connsiteY44" fmla="*/ 97797 h 214007"/>
                <a:gd name="connsiteX45" fmla="*/ 29632 w 330461"/>
                <a:gd name="connsiteY45" fmla="*/ 102553 h 214007"/>
                <a:gd name="connsiteX46" fmla="*/ 31095 w 330461"/>
                <a:gd name="connsiteY46" fmla="*/ 96944 h 214007"/>
                <a:gd name="connsiteX47" fmla="*/ 34022 w 330461"/>
                <a:gd name="connsiteY47" fmla="*/ 86457 h 214007"/>
                <a:gd name="connsiteX48" fmla="*/ 34753 w 330461"/>
                <a:gd name="connsiteY48" fmla="*/ 83896 h 214007"/>
                <a:gd name="connsiteX49" fmla="*/ 37070 w 330461"/>
                <a:gd name="connsiteY49" fmla="*/ 82676 h 214007"/>
                <a:gd name="connsiteX50" fmla="*/ 47923 w 330461"/>
                <a:gd name="connsiteY50" fmla="*/ 76823 h 214007"/>
                <a:gd name="connsiteX51" fmla="*/ 49752 w 330461"/>
                <a:gd name="connsiteY51" fmla="*/ 75848 h 214007"/>
                <a:gd name="connsiteX52" fmla="*/ 51825 w 330461"/>
                <a:gd name="connsiteY52" fmla="*/ 76214 h 214007"/>
                <a:gd name="connsiteX53" fmla="*/ 53533 w 330461"/>
                <a:gd name="connsiteY53" fmla="*/ 76457 h 214007"/>
                <a:gd name="connsiteX54" fmla="*/ 53776 w 330461"/>
                <a:gd name="connsiteY54" fmla="*/ 75970 h 214007"/>
                <a:gd name="connsiteX55" fmla="*/ 55240 w 330461"/>
                <a:gd name="connsiteY55" fmla="*/ 72189 h 214007"/>
                <a:gd name="connsiteX56" fmla="*/ 65483 w 330461"/>
                <a:gd name="connsiteY56" fmla="*/ 72189 h 214007"/>
                <a:gd name="connsiteX57" fmla="*/ 66824 w 330461"/>
                <a:gd name="connsiteY57" fmla="*/ 72799 h 214007"/>
                <a:gd name="connsiteX58" fmla="*/ 71458 w 330461"/>
                <a:gd name="connsiteY58" fmla="*/ 75116 h 214007"/>
                <a:gd name="connsiteX59" fmla="*/ 77311 w 330461"/>
                <a:gd name="connsiteY59" fmla="*/ 78165 h 214007"/>
                <a:gd name="connsiteX60" fmla="*/ 78409 w 330461"/>
                <a:gd name="connsiteY60" fmla="*/ 78652 h 214007"/>
                <a:gd name="connsiteX61" fmla="*/ 79262 w 330461"/>
                <a:gd name="connsiteY61" fmla="*/ 79628 h 214007"/>
                <a:gd name="connsiteX62" fmla="*/ 84262 w 330461"/>
                <a:gd name="connsiteY62" fmla="*/ 85481 h 214007"/>
                <a:gd name="connsiteX63" fmla="*/ 85237 w 330461"/>
                <a:gd name="connsiteY63" fmla="*/ 86579 h 214007"/>
                <a:gd name="connsiteX64" fmla="*/ 85603 w 330461"/>
                <a:gd name="connsiteY64" fmla="*/ 88164 h 214007"/>
                <a:gd name="connsiteX65" fmla="*/ 87554 w 330461"/>
                <a:gd name="connsiteY65" fmla="*/ 97431 h 214007"/>
                <a:gd name="connsiteX66" fmla="*/ 87920 w 330461"/>
                <a:gd name="connsiteY66" fmla="*/ 99017 h 214007"/>
                <a:gd name="connsiteX67" fmla="*/ 87432 w 330461"/>
                <a:gd name="connsiteY67" fmla="*/ 100602 h 214007"/>
                <a:gd name="connsiteX68" fmla="*/ 85969 w 330461"/>
                <a:gd name="connsiteY68" fmla="*/ 105114 h 214007"/>
                <a:gd name="connsiteX69" fmla="*/ 97919 w 330461"/>
                <a:gd name="connsiteY69" fmla="*/ 109991 h 214007"/>
                <a:gd name="connsiteX70" fmla="*/ 109626 w 330461"/>
                <a:gd name="connsiteY70" fmla="*/ 114869 h 214007"/>
                <a:gd name="connsiteX71" fmla="*/ 117308 w 330461"/>
                <a:gd name="connsiteY71" fmla="*/ 116942 h 214007"/>
                <a:gd name="connsiteX72" fmla="*/ 123039 w 330461"/>
                <a:gd name="connsiteY72" fmla="*/ 118405 h 214007"/>
                <a:gd name="connsiteX73" fmla="*/ 124868 w 330461"/>
                <a:gd name="connsiteY73" fmla="*/ 118893 h 214007"/>
                <a:gd name="connsiteX74" fmla="*/ 126210 w 330461"/>
                <a:gd name="connsiteY74" fmla="*/ 120478 h 214007"/>
                <a:gd name="connsiteX75" fmla="*/ 135233 w 330461"/>
                <a:gd name="connsiteY75" fmla="*/ 131819 h 214007"/>
                <a:gd name="connsiteX76" fmla="*/ 136819 w 330461"/>
                <a:gd name="connsiteY76" fmla="*/ 133770 h 214007"/>
                <a:gd name="connsiteX77" fmla="*/ 137550 w 330461"/>
                <a:gd name="connsiteY77" fmla="*/ 134746 h 214007"/>
                <a:gd name="connsiteX78" fmla="*/ 137916 w 330461"/>
                <a:gd name="connsiteY78" fmla="*/ 135965 h 214007"/>
                <a:gd name="connsiteX79" fmla="*/ 145111 w 330461"/>
                <a:gd name="connsiteY79" fmla="*/ 161207 h 214007"/>
                <a:gd name="connsiteX80" fmla="*/ 159988 w 330461"/>
                <a:gd name="connsiteY80" fmla="*/ 178644 h 214007"/>
                <a:gd name="connsiteX81" fmla="*/ 169743 w 330461"/>
                <a:gd name="connsiteY81" fmla="*/ 182669 h 214007"/>
                <a:gd name="connsiteX82" fmla="*/ 177425 w 330461"/>
                <a:gd name="connsiteY82" fmla="*/ 185961 h 214007"/>
                <a:gd name="connsiteX83" fmla="*/ 185595 w 330461"/>
                <a:gd name="connsiteY83" fmla="*/ 190229 h 214007"/>
                <a:gd name="connsiteX84" fmla="*/ 194619 w 330461"/>
                <a:gd name="connsiteY84" fmla="*/ 195107 h 214007"/>
                <a:gd name="connsiteX85" fmla="*/ 206813 w 330461"/>
                <a:gd name="connsiteY85" fmla="*/ 197789 h 214007"/>
                <a:gd name="connsiteX86" fmla="*/ 209252 w 330461"/>
                <a:gd name="connsiteY86" fmla="*/ 198277 h 214007"/>
                <a:gd name="connsiteX87" fmla="*/ 210593 w 330461"/>
                <a:gd name="connsiteY87" fmla="*/ 200350 h 214007"/>
                <a:gd name="connsiteX88" fmla="*/ 211691 w 330461"/>
                <a:gd name="connsiteY88" fmla="*/ 202057 h 214007"/>
                <a:gd name="connsiteX89" fmla="*/ 215593 w 330461"/>
                <a:gd name="connsiteY89" fmla="*/ 207911 h 214007"/>
                <a:gd name="connsiteX90" fmla="*/ 216690 w 330461"/>
                <a:gd name="connsiteY90" fmla="*/ 209618 h 214007"/>
                <a:gd name="connsiteX91" fmla="*/ 221690 w 330461"/>
                <a:gd name="connsiteY91" fmla="*/ 210471 h 214007"/>
                <a:gd name="connsiteX92" fmla="*/ 239859 w 330461"/>
                <a:gd name="connsiteY92" fmla="*/ 214008 h 214007"/>
                <a:gd name="connsiteX93" fmla="*/ 240591 w 330461"/>
                <a:gd name="connsiteY93" fmla="*/ 201813 h 214007"/>
                <a:gd name="connsiteX94" fmla="*/ 240591 w 330461"/>
                <a:gd name="connsiteY94" fmla="*/ 201082 h 214007"/>
                <a:gd name="connsiteX95" fmla="*/ 240835 w 330461"/>
                <a:gd name="connsiteY95" fmla="*/ 200350 h 214007"/>
                <a:gd name="connsiteX96" fmla="*/ 244981 w 330461"/>
                <a:gd name="connsiteY96" fmla="*/ 187424 h 214007"/>
                <a:gd name="connsiteX97" fmla="*/ 239616 w 330461"/>
                <a:gd name="connsiteY97" fmla="*/ 179864 h 214007"/>
                <a:gd name="connsiteX98" fmla="*/ 239128 w 330461"/>
                <a:gd name="connsiteY98" fmla="*/ 179010 h 214007"/>
                <a:gd name="connsiteX99" fmla="*/ 238762 w 330461"/>
                <a:gd name="connsiteY99" fmla="*/ 178035 h 214007"/>
                <a:gd name="connsiteX100" fmla="*/ 232909 w 330461"/>
                <a:gd name="connsiteY100" fmla="*/ 157793 h 214007"/>
                <a:gd name="connsiteX101" fmla="*/ 231080 w 330461"/>
                <a:gd name="connsiteY101" fmla="*/ 151695 h 214007"/>
                <a:gd name="connsiteX102" fmla="*/ 237299 w 330461"/>
                <a:gd name="connsiteY102" fmla="*/ 150110 h 214007"/>
                <a:gd name="connsiteX103" fmla="*/ 244371 w 330461"/>
                <a:gd name="connsiteY103" fmla="*/ 148403 h 214007"/>
                <a:gd name="connsiteX104" fmla="*/ 250346 w 330461"/>
                <a:gd name="connsiteY104" fmla="*/ 146940 h 214007"/>
                <a:gd name="connsiteX105" fmla="*/ 264370 w 330461"/>
                <a:gd name="connsiteY105" fmla="*/ 143769 h 214007"/>
                <a:gd name="connsiteX106" fmla="*/ 265101 w 330461"/>
                <a:gd name="connsiteY106" fmla="*/ 129380 h 214007"/>
                <a:gd name="connsiteX107" fmla="*/ 265345 w 330461"/>
                <a:gd name="connsiteY107" fmla="*/ 125112 h 214007"/>
                <a:gd name="connsiteX108" fmla="*/ 269491 w 330461"/>
                <a:gd name="connsiteY108" fmla="*/ 123893 h 214007"/>
                <a:gd name="connsiteX109" fmla="*/ 290099 w 330461"/>
                <a:gd name="connsiteY109" fmla="*/ 117796 h 214007"/>
                <a:gd name="connsiteX110" fmla="*/ 292050 w 330461"/>
                <a:gd name="connsiteY110" fmla="*/ 117308 h 214007"/>
                <a:gd name="connsiteX111" fmla="*/ 293879 w 330461"/>
                <a:gd name="connsiteY111" fmla="*/ 117918 h 214007"/>
                <a:gd name="connsiteX112" fmla="*/ 298391 w 330461"/>
                <a:gd name="connsiteY112" fmla="*/ 119625 h 214007"/>
                <a:gd name="connsiteX113" fmla="*/ 303269 w 330461"/>
                <a:gd name="connsiteY113" fmla="*/ 121332 h 214007"/>
                <a:gd name="connsiteX114" fmla="*/ 312415 w 330461"/>
                <a:gd name="connsiteY114" fmla="*/ 124624 h 214007"/>
                <a:gd name="connsiteX115" fmla="*/ 305586 w 330461"/>
                <a:gd name="connsiteY115" fmla="*/ 131453 h 214007"/>
                <a:gd name="connsiteX116" fmla="*/ 300342 w 330461"/>
                <a:gd name="connsiteY116" fmla="*/ 136697 h 214007"/>
                <a:gd name="connsiteX117" fmla="*/ 299611 w 330461"/>
                <a:gd name="connsiteY117" fmla="*/ 141087 h 214007"/>
                <a:gd name="connsiteX118" fmla="*/ 310342 w 330461"/>
                <a:gd name="connsiteY118" fmla="*/ 139013 h 214007"/>
                <a:gd name="connsiteX119" fmla="*/ 313146 w 330461"/>
                <a:gd name="connsiteY119" fmla="*/ 138526 h 214007"/>
                <a:gd name="connsiteX120" fmla="*/ 330462 w 330461"/>
                <a:gd name="connsiteY120" fmla="*/ 127795 h 214007"/>
                <a:gd name="connsiteX121" fmla="*/ 330462 w 330461"/>
                <a:gd name="connsiteY121" fmla="*/ 123405 h 214007"/>
                <a:gd name="connsiteX122" fmla="*/ 324731 w 330461"/>
                <a:gd name="connsiteY122" fmla="*/ 123039 h 214007"/>
                <a:gd name="connsiteX123" fmla="*/ 319487 w 330461"/>
                <a:gd name="connsiteY123" fmla="*/ 122673 h 214007"/>
                <a:gd name="connsiteX124" fmla="*/ 315585 w 330461"/>
                <a:gd name="connsiteY124" fmla="*/ 122430 h 214007"/>
                <a:gd name="connsiteX125" fmla="*/ 314122 w 330461"/>
                <a:gd name="connsiteY125" fmla="*/ 118771 h 214007"/>
                <a:gd name="connsiteX126" fmla="*/ 310829 w 330461"/>
                <a:gd name="connsiteY126" fmla="*/ 110235 h 214007"/>
                <a:gd name="connsiteX127" fmla="*/ 297294 w 330461"/>
                <a:gd name="connsiteY127" fmla="*/ 109626 h 214007"/>
                <a:gd name="connsiteX128" fmla="*/ 293757 w 330461"/>
                <a:gd name="connsiteY128" fmla="*/ 109382 h 214007"/>
                <a:gd name="connsiteX129" fmla="*/ 293270 w 330461"/>
                <a:gd name="connsiteY129" fmla="*/ 109382 h 214007"/>
                <a:gd name="connsiteX130" fmla="*/ 292904 w 330461"/>
                <a:gd name="connsiteY130" fmla="*/ 109260 h 214007"/>
                <a:gd name="connsiteX131" fmla="*/ 289977 w 330461"/>
                <a:gd name="connsiteY131" fmla="*/ 108772 h 214007"/>
                <a:gd name="connsiteX132" fmla="*/ 282295 w 330461"/>
                <a:gd name="connsiteY132" fmla="*/ 107309 h 214007"/>
                <a:gd name="connsiteX133" fmla="*/ 270467 w 330461"/>
                <a:gd name="connsiteY133" fmla="*/ 104992 h 214007"/>
                <a:gd name="connsiteX134" fmla="*/ 279368 w 330461"/>
                <a:gd name="connsiteY134" fmla="*/ 96822 h 214007"/>
                <a:gd name="connsiteX135" fmla="*/ 284246 w 330461"/>
                <a:gd name="connsiteY135" fmla="*/ 92310 h 21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330461" h="214007">
                  <a:moveTo>
                    <a:pt x="284246" y="92310"/>
                  </a:moveTo>
                  <a:lnTo>
                    <a:pt x="285831" y="90969"/>
                  </a:lnTo>
                  <a:lnTo>
                    <a:pt x="284124" y="91212"/>
                  </a:lnTo>
                  <a:lnTo>
                    <a:pt x="280588" y="92066"/>
                  </a:lnTo>
                  <a:lnTo>
                    <a:pt x="269857" y="102797"/>
                  </a:lnTo>
                  <a:lnTo>
                    <a:pt x="269003" y="103650"/>
                  </a:lnTo>
                  <a:lnTo>
                    <a:pt x="268516" y="105479"/>
                  </a:lnTo>
                  <a:lnTo>
                    <a:pt x="266808" y="112430"/>
                  </a:lnTo>
                  <a:lnTo>
                    <a:pt x="266077" y="115723"/>
                  </a:lnTo>
                  <a:lnTo>
                    <a:pt x="262784" y="116820"/>
                  </a:lnTo>
                  <a:lnTo>
                    <a:pt x="255102" y="119381"/>
                  </a:lnTo>
                  <a:lnTo>
                    <a:pt x="246566" y="126088"/>
                  </a:lnTo>
                  <a:lnTo>
                    <a:pt x="245225" y="127185"/>
                  </a:lnTo>
                  <a:lnTo>
                    <a:pt x="243517" y="127429"/>
                  </a:lnTo>
                  <a:lnTo>
                    <a:pt x="241200" y="127673"/>
                  </a:lnTo>
                  <a:lnTo>
                    <a:pt x="237664" y="128161"/>
                  </a:lnTo>
                  <a:lnTo>
                    <a:pt x="234494" y="128527"/>
                  </a:lnTo>
                  <a:lnTo>
                    <a:pt x="232421" y="126210"/>
                  </a:lnTo>
                  <a:lnTo>
                    <a:pt x="222788" y="115845"/>
                  </a:lnTo>
                  <a:lnTo>
                    <a:pt x="217910" y="115235"/>
                  </a:lnTo>
                  <a:lnTo>
                    <a:pt x="214374" y="114747"/>
                  </a:lnTo>
                  <a:lnTo>
                    <a:pt x="213032" y="111333"/>
                  </a:lnTo>
                  <a:lnTo>
                    <a:pt x="201935" y="83042"/>
                  </a:lnTo>
                  <a:lnTo>
                    <a:pt x="201569" y="81945"/>
                  </a:lnTo>
                  <a:lnTo>
                    <a:pt x="194619" y="84140"/>
                  </a:lnTo>
                  <a:lnTo>
                    <a:pt x="189497" y="85725"/>
                  </a:lnTo>
                  <a:lnTo>
                    <a:pt x="187303" y="80847"/>
                  </a:lnTo>
                  <a:lnTo>
                    <a:pt x="179011" y="62800"/>
                  </a:lnTo>
                  <a:lnTo>
                    <a:pt x="165109" y="53776"/>
                  </a:lnTo>
                  <a:lnTo>
                    <a:pt x="159012" y="54386"/>
                  </a:lnTo>
                  <a:lnTo>
                    <a:pt x="157305" y="54508"/>
                  </a:lnTo>
                  <a:lnTo>
                    <a:pt x="156695" y="54630"/>
                  </a:lnTo>
                  <a:lnTo>
                    <a:pt x="156085" y="54508"/>
                  </a:lnTo>
                  <a:lnTo>
                    <a:pt x="136941" y="52679"/>
                  </a:lnTo>
                  <a:lnTo>
                    <a:pt x="125356" y="54386"/>
                  </a:lnTo>
                  <a:lnTo>
                    <a:pt x="121942" y="54874"/>
                  </a:lnTo>
                  <a:lnTo>
                    <a:pt x="119747" y="52313"/>
                  </a:lnTo>
                  <a:lnTo>
                    <a:pt x="109747" y="40363"/>
                  </a:lnTo>
                  <a:lnTo>
                    <a:pt x="106211" y="36095"/>
                  </a:lnTo>
                  <a:lnTo>
                    <a:pt x="82189" y="19755"/>
                  </a:lnTo>
                  <a:lnTo>
                    <a:pt x="53167" y="0"/>
                  </a:lnTo>
                  <a:lnTo>
                    <a:pt x="0" y="28412"/>
                  </a:lnTo>
                  <a:lnTo>
                    <a:pt x="1219" y="52801"/>
                  </a:lnTo>
                  <a:lnTo>
                    <a:pt x="3536" y="96578"/>
                  </a:lnTo>
                  <a:lnTo>
                    <a:pt x="9024" y="97797"/>
                  </a:lnTo>
                  <a:lnTo>
                    <a:pt x="29632" y="102553"/>
                  </a:lnTo>
                  <a:lnTo>
                    <a:pt x="31095" y="96944"/>
                  </a:lnTo>
                  <a:lnTo>
                    <a:pt x="34022" y="86457"/>
                  </a:lnTo>
                  <a:lnTo>
                    <a:pt x="34753" y="83896"/>
                  </a:lnTo>
                  <a:lnTo>
                    <a:pt x="37070" y="82676"/>
                  </a:lnTo>
                  <a:lnTo>
                    <a:pt x="47923" y="76823"/>
                  </a:lnTo>
                  <a:lnTo>
                    <a:pt x="49752" y="75848"/>
                  </a:lnTo>
                  <a:lnTo>
                    <a:pt x="51825" y="76214"/>
                  </a:lnTo>
                  <a:lnTo>
                    <a:pt x="53533" y="76457"/>
                  </a:lnTo>
                  <a:lnTo>
                    <a:pt x="53776" y="75970"/>
                  </a:lnTo>
                  <a:lnTo>
                    <a:pt x="55240" y="72189"/>
                  </a:lnTo>
                  <a:lnTo>
                    <a:pt x="65483" y="72189"/>
                  </a:lnTo>
                  <a:lnTo>
                    <a:pt x="66824" y="72799"/>
                  </a:lnTo>
                  <a:lnTo>
                    <a:pt x="71458" y="75116"/>
                  </a:lnTo>
                  <a:lnTo>
                    <a:pt x="77311" y="78165"/>
                  </a:lnTo>
                  <a:lnTo>
                    <a:pt x="78409" y="78652"/>
                  </a:lnTo>
                  <a:lnTo>
                    <a:pt x="79262" y="79628"/>
                  </a:lnTo>
                  <a:lnTo>
                    <a:pt x="84262" y="85481"/>
                  </a:lnTo>
                  <a:lnTo>
                    <a:pt x="85237" y="86579"/>
                  </a:lnTo>
                  <a:lnTo>
                    <a:pt x="85603" y="88164"/>
                  </a:lnTo>
                  <a:lnTo>
                    <a:pt x="87554" y="97431"/>
                  </a:lnTo>
                  <a:lnTo>
                    <a:pt x="87920" y="99017"/>
                  </a:lnTo>
                  <a:lnTo>
                    <a:pt x="87432" y="100602"/>
                  </a:lnTo>
                  <a:lnTo>
                    <a:pt x="85969" y="105114"/>
                  </a:lnTo>
                  <a:lnTo>
                    <a:pt x="97919" y="109991"/>
                  </a:lnTo>
                  <a:lnTo>
                    <a:pt x="109626" y="114869"/>
                  </a:lnTo>
                  <a:lnTo>
                    <a:pt x="117308" y="116942"/>
                  </a:lnTo>
                  <a:lnTo>
                    <a:pt x="123039" y="118405"/>
                  </a:lnTo>
                  <a:lnTo>
                    <a:pt x="124868" y="118893"/>
                  </a:lnTo>
                  <a:lnTo>
                    <a:pt x="126210" y="120478"/>
                  </a:lnTo>
                  <a:lnTo>
                    <a:pt x="135233" y="131819"/>
                  </a:lnTo>
                  <a:lnTo>
                    <a:pt x="136819" y="133770"/>
                  </a:lnTo>
                  <a:lnTo>
                    <a:pt x="137550" y="134746"/>
                  </a:lnTo>
                  <a:lnTo>
                    <a:pt x="137916" y="135965"/>
                  </a:lnTo>
                  <a:lnTo>
                    <a:pt x="145111" y="161207"/>
                  </a:lnTo>
                  <a:lnTo>
                    <a:pt x="159988" y="178644"/>
                  </a:lnTo>
                  <a:lnTo>
                    <a:pt x="169743" y="182669"/>
                  </a:lnTo>
                  <a:lnTo>
                    <a:pt x="177425" y="185961"/>
                  </a:lnTo>
                  <a:lnTo>
                    <a:pt x="185595" y="190229"/>
                  </a:lnTo>
                  <a:lnTo>
                    <a:pt x="194619" y="195107"/>
                  </a:lnTo>
                  <a:lnTo>
                    <a:pt x="206813" y="197789"/>
                  </a:lnTo>
                  <a:lnTo>
                    <a:pt x="209252" y="198277"/>
                  </a:lnTo>
                  <a:lnTo>
                    <a:pt x="210593" y="200350"/>
                  </a:lnTo>
                  <a:lnTo>
                    <a:pt x="211691" y="202057"/>
                  </a:lnTo>
                  <a:lnTo>
                    <a:pt x="215593" y="207911"/>
                  </a:lnTo>
                  <a:lnTo>
                    <a:pt x="216690" y="209618"/>
                  </a:lnTo>
                  <a:lnTo>
                    <a:pt x="221690" y="210471"/>
                  </a:lnTo>
                  <a:lnTo>
                    <a:pt x="239859" y="214008"/>
                  </a:lnTo>
                  <a:lnTo>
                    <a:pt x="240591" y="201813"/>
                  </a:lnTo>
                  <a:lnTo>
                    <a:pt x="240591" y="201082"/>
                  </a:lnTo>
                  <a:lnTo>
                    <a:pt x="240835" y="200350"/>
                  </a:lnTo>
                  <a:lnTo>
                    <a:pt x="244981" y="187424"/>
                  </a:lnTo>
                  <a:lnTo>
                    <a:pt x="239616" y="179864"/>
                  </a:lnTo>
                  <a:lnTo>
                    <a:pt x="239128" y="179010"/>
                  </a:lnTo>
                  <a:lnTo>
                    <a:pt x="238762" y="178035"/>
                  </a:lnTo>
                  <a:lnTo>
                    <a:pt x="232909" y="157793"/>
                  </a:lnTo>
                  <a:lnTo>
                    <a:pt x="231080" y="151695"/>
                  </a:lnTo>
                  <a:lnTo>
                    <a:pt x="237299" y="150110"/>
                  </a:lnTo>
                  <a:lnTo>
                    <a:pt x="244371" y="148403"/>
                  </a:lnTo>
                  <a:lnTo>
                    <a:pt x="250346" y="146940"/>
                  </a:lnTo>
                  <a:lnTo>
                    <a:pt x="264370" y="143769"/>
                  </a:lnTo>
                  <a:lnTo>
                    <a:pt x="265101" y="129380"/>
                  </a:lnTo>
                  <a:lnTo>
                    <a:pt x="265345" y="125112"/>
                  </a:lnTo>
                  <a:lnTo>
                    <a:pt x="269491" y="123893"/>
                  </a:lnTo>
                  <a:lnTo>
                    <a:pt x="290099" y="117796"/>
                  </a:lnTo>
                  <a:lnTo>
                    <a:pt x="292050" y="117308"/>
                  </a:lnTo>
                  <a:lnTo>
                    <a:pt x="293879" y="117918"/>
                  </a:lnTo>
                  <a:lnTo>
                    <a:pt x="298391" y="119625"/>
                  </a:lnTo>
                  <a:lnTo>
                    <a:pt x="303269" y="121332"/>
                  </a:lnTo>
                  <a:lnTo>
                    <a:pt x="312415" y="124624"/>
                  </a:lnTo>
                  <a:lnTo>
                    <a:pt x="305586" y="131453"/>
                  </a:lnTo>
                  <a:lnTo>
                    <a:pt x="300342" y="136697"/>
                  </a:lnTo>
                  <a:lnTo>
                    <a:pt x="299611" y="141087"/>
                  </a:lnTo>
                  <a:lnTo>
                    <a:pt x="310342" y="139013"/>
                  </a:lnTo>
                  <a:lnTo>
                    <a:pt x="313146" y="138526"/>
                  </a:lnTo>
                  <a:lnTo>
                    <a:pt x="330462" y="127795"/>
                  </a:lnTo>
                  <a:lnTo>
                    <a:pt x="330462" y="123405"/>
                  </a:lnTo>
                  <a:lnTo>
                    <a:pt x="324731" y="123039"/>
                  </a:lnTo>
                  <a:lnTo>
                    <a:pt x="319487" y="122673"/>
                  </a:lnTo>
                  <a:lnTo>
                    <a:pt x="315585" y="122430"/>
                  </a:lnTo>
                  <a:lnTo>
                    <a:pt x="314122" y="118771"/>
                  </a:lnTo>
                  <a:lnTo>
                    <a:pt x="310829" y="110235"/>
                  </a:lnTo>
                  <a:lnTo>
                    <a:pt x="297294" y="109626"/>
                  </a:lnTo>
                  <a:lnTo>
                    <a:pt x="293757" y="109382"/>
                  </a:lnTo>
                  <a:lnTo>
                    <a:pt x="293270" y="109382"/>
                  </a:lnTo>
                  <a:lnTo>
                    <a:pt x="292904" y="109260"/>
                  </a:lnTo>
                  <a:lnTo>
                    <a:pt x="289977" y="108772"/>
                  </a:lnTo>
                  <a:lnTo>
                    <a:pt x="282295" y="107309"/>
                  </a:lnTo>
                  <a:lnTo>
                    <a:pt x="270467" y="104992"/>
                  </a:lnTo>
                  <a:lnTo>
                    <a:pt x="279368" y="96822"/>
                  </a:lnTo>
                  <a:lnTo>
                    <a:pt x="284246" y="923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3" name="Freihandform: Form 862">
              <a:extLst>
                <a:ext uri="{FF2B5EF4-FFF2-40B4-BE49-F238E27FC236}">
                  <a16:creationId xmlns:a16="http://schemas.microsoft.com/office/drawing/2014/main" id="{98E5C3D3-97BF-4BD3-89F3-D6D0E77BE4D8}"/>
                </a:ext>
              </a:extLst>
            </p:cNvPr>
            <p:cNvSpPr/>
            <p:nvPr/>
          </p:nvSpPr>
          <p:spPr>
            <a:xfrm>
              <a:off x="5806536" y="2477758"/>
              <a:ext cx="205105" cy="101089"/>
            </a:xfrm>
            <a:custGeom>
              <a:avLst/>
              <a:gdLst>
                <a:gd name="connsiteX0" fmla="*/ 56703 w 205105"/>
                <a:gd name="connsiteY0" fmla="*/ 26705 h 101089"/>
                <a:gd name="connsiteX1" fmla="*/ 53898 w 205105"/>
                <a:gd name="connsiteY1" fmla="*/ 27071 h 101089"/>
                <a:gd name="connsiteX2" fmla="*/ 51825 w 205105"/>
                <a:gd name="connsiteY2" fmla="*/ 25242 h 101089"/>
                <a:gd name="connsiteX3" fmla="*/ 44265 w 205105"/>
                <a:gd name="connsiteY3" fmla="*/ 18413 h 101089"/>
                <a:gd name="connsiteX4" fmla="*/ 33534 w 205105"/>
                <a:gd name="connsiteY4" fmla="*/ 18413 h 101089"/>
                <a:gd name="connsiteX5" fmla="*/ 27681 w 205105"/>
                <a:gd name="connsiteY5" fmla="*/ 25730 h 101089"/>
                <a:gd name="connsiteX6" fmla="*/ 27437 w 205105"/>
                <a:gd name="connsiteY6" fmla="*/ 25974 h 101089"/>
                <a:gd name="connsiteX7" fmla="*/ 25852 w 205105"/>
                <a:gd name="connsiteY7" fmla="*/ 29510 h 101089"/>
                <a:gd name="connsiteX8" fmla="*/ 22803 w 205105"/>
                <a:gd name="connsiteY8" fmla="*/ 35729 h 101089"/>
                <a:gd name="connsiteX9" fmla="*/ 21340 w 205105"/>
                <a:gd name="connsiteY9" fmla="*/ 39021 h 101089"/>
                <a:gd name="connsiteX10" fmla="*/ 17682 w 205105"/>
                <a:gd name="connsiteY10" fmla="*/ 39143 h 101089"/>
                <a:gd name="connsiteX11" fmla="*/ 9390 w 205105"/>
                <a:gd name="connsiteY11" fmla="*/ 39753 h 101089"/>
                <a:gd name="connsiteX12" fmla="*/ 9024 w 205105"/>
                <a:gd name="connsiteY12" fmla="*/ 39753 h 101089"/>
                <a:gd name="connsiteX13" fmla="*/ 7439 w 205105"/>
                <a:gd name="connsiteY13" fmla="*/ 41216 h 101089"/>
                <a:gd name="connsiteX14" fmla="*/ 11219 w 205105"/>
                <a:gd name="connsiteY14" fmla="*/ 41948 h 101089"/>
                <a:gd name="connsiteX15" fmla="*/ 14024 w 205105"/>
                <a:gd name="connsiteY15" fmla="*/ 42558 h 101089"/>
                <a:gd name="connsiteX16" fmla="*/ 17438 w 205105"/>
                <a:gd name="connsiteY16" fmla="*/ 42680 h 101089"/>
                <a:gd name="connsiteX17" fmla="*/ 32315 w 205105"/>
                <a:gd name="connsiteY17" fmla="*/ 43411 h 101089"/>
                <a:gd name="connsiteX18" fmla="*/ 36339 w 205105"/>
                <a:gd name="connsiteY18" fmla="*/ 43655 h 101089"/>
                <a:gd name="connsiteX19" fmla="*/ 37680 w 205105"/>
                <a:gd name="connsiteY19" fmla="*/ 47313 h 101089"/>
                <a:gd name="connsiteX20" fmla="*/ 41094 w 205105"/>
                <a:gd name="connsiteY20" fmla="*/ 55971 h 101089"/>
                <a:gd name="connsiteX21" fmla="*/ 44996 w 205105"/>
                <a:gd name="connsiteY21" fmla="*/ 56215 h 101089"/>
                <a:gd name="connsiteX22" fmla="*/ 52557 w 205105"/>
                <a:gd name="connsiteY22" fmla="*/ 56581 h 101089"/>
                <a:gd name="connsiteX23" fmla="*/ 58288 w 205105"/>
                <a:gd name="connsiteY23" fmla="*/ 56947 h 101089"/>
                <a:gd name="connsiteX24" fmla="*/ 58288 w 205105"/>
                <a:gd name="connsiteY24" fmla="*/ 73287 h 101089"/>
                <a:gd name="connsiteX25" fmla="*/ 55484 w 205105"/>
                <a:gd name="connsiteY25" fmla="*/ 75116 h 101089"/>
                <a:gd name="connsiteX26" fmla="*/ 36948 w 205105"/>
                <a:gd name="connsiteY26" fmla="*/ 86579 h 101089"/>
                <a:gd name="connsiteX27" fmla="*/ 35973 w 205105"/>
                <a:gd name="connsiteY27" fmla="*/ 87188 h 101089"/>
                <a:gd name="connsiteX28" fmla="*/ 34875 w 205105"/>
                <a:gd name="connsiteY28" fmla="*/ 87310 h 101089"/>
                <a:gd name="connsiteX29" fmla="*/ 30973 w 205105"/>
                <a:gd name="connsiteY29" fmla="*/ 88042 h 101089"/>
                <a:gd name="connsiteX30" fmla="*/ 18291 w 205105"/>
                <a:gd name="connsiteY30" fmla="*/ 90481 h 101089"/>
                <a:gd name="connsiteX31" fmla="*/ 16096 w 205105"/>
                <a:gd name="connsiteY31" fmla="*/ 90969 h 101089"/>
                <a:gd name="connsiteX32" fmla="*/ 15731 w 205105"/>
                <a:gd name="connsiteY32" fmla="*/ 91090 h 101089"/>
                <a:gd name="connsiteX33" fmla="*/ 0 w 205105"/>
                <a:gd name="connsiteY33" fmla="*/ 100114 h 101089"/>
                <a:gd name="connsiteX34" fmla="*/ 366 w 205105"/>
                <a:gd name="connsiteY34" fmla="*/ 100846 h 101089"/>
                <a:gd name="connsiteX35" fmla="*/ 6829 w 205105"/>
                <a:gd name="connsiteY35" fmla="*/ 97919 h 101089"/>
                <a:gd name="connsiteX36" fmla="*/ 8048 w 205105"/>
                <a:gd name="connsiteY36" fmla="*/ 97309 h 101089"/>
                <a:gd name="connsiteX37" fmla="*/ 19389 w 205105"/>
                <a:gd name="connsiteY37" fmla="*/ 97309 h 101089"/>
                <a:gd name="connsiteX38" fmla="*/ 22193 w 205105"/>
                <a:gd name="connsiteY38" fmla="*/ 95968 h 101089"/>
                <a:gd name="connsiteX39" fmla="*/ 23779 w 205105"/>
                <a:gd name="connsiteY39" fmla="*/ 95115 h 101089"/>
                <a:gd name="connsiteX40" fmla="*/ 24876 w 205105"/>
                <a:gd name="connsiteY40" fmla="*/ 94627 h 101089"/>
                <a:gd name="connsiteX41" fmla="*/ 26218 w 205105"/>
                <a:gd name="connsiteY41" fmla="*/ 94505 h 101089"/>
                <a:gd name="connsiteX42" fmla="*/ 41704 w 205105"/>
                <a:gd name="connsiteY42" fmla="*/ 93651 h 101089"/>
                <a:gd name="connsiteX43" fmla="*/ 47435 w 205105"/>
                <a:gd name="connsiteY43" fmla="*/ 93407 h 101089"/>
                <a:gd name="connsiteX44" fmla="*/ 48167 w 205105"/>
                <a:gd name="connsiteY44" fmla="*/ 99017 h 101089"/>
                <a:gd name="connsiteX45" fmla="*/ 48411 w 205105"/>
                <a:gd name="connsiteY45" fmla="*/ 101090 h 101089"/>
                <a:gd name="connsiteX46" fmla="*/ 60971 w 205105"/>
                <a:gd name="connsiteY46" fmla="*/ 101090 h 101089"/>
                <a:gd name="connsiteX47" fmla="*/ 76945 w 205105"/>
                <a:gd name="connsiteY47" fmla="*/ 96334 h 101089"/>
                <a:gd name="connsiteX48" fmla="*/ 77433 w 205105"/>
                <a:gd name="connsiteY48" fmla="*/ 96212 h 101089"/>
                <a:gd name="connsiteX49" fmla="*/ 82067 w 205105"/>
                <a:gd name="connsiteY49" fmla="*/ 85725 h 101089"/>
                <a:gd name="connsiteX50" fmla="*/ 82921 w 205105"/>
                <a:gd name="connsiteY50" fmla="*/ 83896 h 101089"/>
                <a:gd name="connsiteX51" fmla="*/ 84628 w 205105"/>
                <a:gd name="connsiteY51" fmla="*/ 82920 h 101089"/>
                <a:gd name="connsiteX52" fmla="*/ 112430 w 205105"/>
                <a:gd name="connsiteY52" fmla="*/ 66946 h 101089"/>
                <a:gd name="connsiteX53" fmla="*/ 116210 w 205105"/>
                <a:gd name="connsiteY53" fmla="*/ 64873 h 101089"/>
                <a:gd name="connsiteX54" fmla="*/ 119503 w 205105"/>
                <a:gd name="connsiteY54" fmla="*/ 67678 h 101089"/>
                <a:gd name="connsiteX55" fmla="*/ 120235 w 205105"/>
                <a:gd name="connsiteY55" fmla="*/ 68287 h 101089"/>
                <a:gd name="connsiteX56" fmla="*/ 128405 w 205105"/>
                <a:gd name="connsiteY56" fmla="*/ 75482 h 101089"/>
                <a:gd name="connsiteX57" fmla="*/ 136453 w 205105"/>
                <a:gd name="connsiteY57" fmla="*/ 74506 h 101089"/>
                <a:gd name="connsiteX58" fmla="*/ 138160 w 205105"/>
                <a:gd name="connsiteY58" fmla="*/ 64507 h 101089"/>
                <a:gd name="connsiteX59" fmla="*/ 138526 w 205105"/>
                <a:gd name="connsiteY59" fmla="*/ 62068 h 101089"/>
                <a:gd name="connsiteX60" fmla="*/ 139257 w 205105"/>
                <a:gd name="connsiteY60" fmla="*/ 57556 h 101089"/>
                <a:gd name="connsiteX61" fmla="*/ 148769 w 205105"/>
                <a:gd name="connsiteY61" fmla="*/ 56459 h 101089"/>
                <a:gd name="connsiteX62" fmla="*/ 154012 w 205105"/>
                <a:gd name="connsiteY62" fmla="*/ 55971 h 101089"/>
                <a:gd name="connsiteX63" fmla="*/ 167792 w 205105"/>
                <a:gd name="connsiteY63" fmla="*/ 45606 h 101089"/>
                <a:gd name="connsiteX64" fmla="*/ 169743 w 205105"/>
                <a:gd name="connsiteY64" fmla="*/ 44143 h 101089"/>
                <a:gd name="connsiteX65" fmla="*/ 170840 w 205105"/>
                <a:gd name="connsiteY65" fmla="*/ 43289 h 101089"/>
                <a:gd name="connsiteX66" fmla="*/ 172304 w 205105"/>
                <a:gd name="connsiteY66" fmla="*/ 43045 h 101089"/>
                <a:gd name="connsiteX67" fmla="*/ 177303 w 205105"/>
                <a:gd name="connsiteY67" fmla="*/ 42070 h 101089"/>
                <a:gd name="connsiteX68" fmla="*/ 193034 w 205105"/>
                <a:gd name="connsiteY68" fmla="*/ 39143 h 101089"/>
                <a:gd name="connsiteX69" fmla="*/ 203521 w 205105"/>
                <a:gd name="connsiteY69" fmla="*/ 26827 h 101089"/>
                <a:gd name="connsiteX70" fmla="*/ 205106 w 205105"/>
                <a:gd name="connsiteY70" fmla="*/ 24876 h 101089"/>
                <a:gd name="connsiteX71" fmla="*/ 199009 w 205105"/>
                <a:gd name="connsiteY71" fmla="*/ 19877 h 101089"/>
                <a:gd name="connsiteX72" fmla="*/ 184376 w 205105"/>
                <a:gd name="connsiteY72" fmla="*/ 15730 h 101089"/>
                <a:gd name="connsiteX73" fmla="*/ 173645 w 205105"/>
                <a:gd name="connsiteY73" fmla="*/ 12682 h 101089"/>
                <a:gd name="connsiteX74" fmla="*/ 159622 w 205105"/>
                <a:gd name="connsiteY74" fmla="*/ 10243 h 101089"/>
                <a:gd name="connsiteX75" fmla="*/ 141574 w 205105"/>
                <a:gd name="connsiteY75" fmla="*/ 7195 h 101089"/>
                <a:gd name="connsiteX76" fmla="*/ 115723 w 205105"/>
                <a:gd name="connsiteY76" fmla="*/ 15730 h 101089"/>
                <a:gd name="connsiteX77" fmla="*/ 111333 w 205105"/>
                <a:gd name="connsiteY77" fmla="*/ 17194 h 101089"/>
                <a:gd name="connsiteX78" fmla="*/ 108772 w 205105"/>
                <a:gd name="connsiteY78" fmla="*/ 13536 h 101089"/>
                <a:gd name="connsiteX79" fmla="*/ 101821 w 205105"/>
                <a:gd name="connsiteY79" fmla="*/ 3414 h 101089"/>
                <a:gd name="connsiteX80" fmla="*/ 101821 w 205105"/>
                <a:gd name="connsiteY80" fmla="*/ 3414 h 101089"/>
                <a:gd name="connsiteX81" fmla="*/ 99626 w 205105"/>
                <a:gd name="connsiteY81" fmla="*/ 2439 h 101089"/>
                <a:gd name="connsiteX82" fmla="*/ 94261 w 205105"/>
                <a:gd name="connsiteY82" fmla="*/ 0 h 101089"/>
                <a:gd name="connsiteX83" fmla="*/ 78165 w 205105"/>
                <a:gd name="connsiteY83" fmla="*/ 9511 h 101089"/>
                <a:gd name="connsiteX84" fmla="*/ 79994 w 205105"/>
                <a:gd name="connsiteY84" fmla="*/ 14145 h 101089"/>
                <a:gd name="connsiteX85" fmla="*/ 80725 w 205105"/>
                <a:gd name="connsiteY85" fmla="*/ 16096 h 101089"/>
                <a:gd name="connsiteX86" fmla="*/ 83530 w 205105"/>
                <a:gd name="connsiteY86" fmla="*/ 23413 h 101089"/>
                <a:gd name="connsiteX87" fmla="*/ 75726 w 205105"/>
                <a:gd name="connsiteY87" fmla="*/ 24388 h 101089"/>
                <a:gd name="connsiteX88" fmla="*/ 56703 w 205105"/>
                <a:gd name="connsiteY88" fmla="*/ 26705 h 10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05105" h="101089">
                  <a:moveTo>
                    <a:pt x="56703" y="26705"/>
                  </a:moveTo>
                  <a:lnTo>
                    <a:pt x="53898" y="27071"/>
                  </a:lnTo>
                  <a:lnTo>
                    <a:pt x="51825" y="25242"/>
                  </a:lnTo>
                  <a:lnTo>
                    <a:pt x="44265" y="18413"/>
                  </a:lnTo>
                  <a:lnTo>
                    <a:pt x="33534" y="18413"/>
                  </a:lnTo>
                  <a:lnTo>
                    <a:pt x="27681" y="25730"/>
                  </a:lnTo>
                  <a:lnTo>
                    <a:pt x="27437" y="25974"/>
                  </a:lnTo>
                  <a:lnTo>
                    <a:pt x="25852" y="29510"/>
                  </a:lnTo>
                  <a:lnTo>
                    <a:pt x="22803" y="35729"/>
                  </a:lnTo>
                  <a:lnTo>
                    <a:pt x="21340" y="39021"/>
                  </a:lnTo>
                  <a:lnTo>
                    <a:pt x="17682" y="39143"/>
                  </a:lnTo>
                  <a:lnTo>
                    <a:pt x="9390" y="39753"/>
                  </a:lnTo>
                  <a:lnTo>
                    <a:pt x="9024" y="39753"/>
                  </a:lnTo>
                  <a:lnTo>
                    <a:pt x="7439" y="41216"/>
                  </a:lnTo>
                  <a:lnTo>
                    <a:pt x="11219" y="41948"/>
                  </a:lnTo>
                  <a:lnTo>
                    <a:pt x="14024" y="42558"/>
                  </a:lnTo>
                  <a:lnTo>
                    <a:pt x="17438" y="42680"/>
                  </a:lnTo>
                  <a:lnTo>
                    <a:pt x="32315" y="43411"/>
                  </a:lnTo>
                  <a:lnTo>
                    <a:pt x="36339" y="43655"/>
                  </a:lnTo>
                  <a:lnTo>
                    <a:pt x="37680" y="47313"/>
                  </a:lnTo>
                  <a:lnTo>
                    <a:pt x="41094" y="55971"/>
                  </a:lnTo>
                  <a:lnTo>
                    <a:pt x="44996" y="56215"/>
                  </a:lnTo>
                  <a:lnTo>
                    <a:pt x="52557" y="56581"/>
                  </a:lnTo>
                  <a:lnTo>
                    <a:pt x="58288" y="56947"/>
                  </a:lnTo>
                  <a:lnTo>
                    <a:pt x="58288" y="73287"/>
                  </a:lnTo>
                  <a:lnTo>
                    <a:pt x="55484" y="75116"/>
                  </a:lnTo>
                  <a:lnTo>
                    <a:pt x="36948" y="86579"/>
                  </a:lnTo>
                  <a:lnTo>
                    <a:pt x="35973" y="87188"/>
                  </a:lnTo>
                  <a:lnTo>
                    <a:pt x="34875" y="87310"/>
                  </a:lnTo>
                  <a:lnTo>
                    <a:pt x="30973" y="88042"/>
                  </a:lnTo>
                  <a:lnTo>
                    <a:pt x="18291" y="90481"/>
                  </a:lnTo>
                  <a:lnTo>
                    <a:pt x="16096" y="90969"/>
                  </a:lnTo>
                  <a:lnTo>
                    <a:pt x="15731" y="91090"/>
                  </a:lnTo>
                  <a:lnTo>
                    <a:pt x="0" y="100114"/>
                  </a:lnTo>
                  <a:lnTo>
                    <a:pt x="366" y="100846"/>
                  </a:lnTo>
                  <a:lnTo>
                    <a:pt x="6829" y="97919"/>
                  </a:lnTo>
                  <a:lnTo>
                    <a:pt x="8048" y="97309"/>
                  </a:lnTo>
                  <a:lnTo>
                    <a:pt x="19389" y="97309"/>
                  </a:lnTo>
                  <a:lnTo>
                    <a:pt x="22193" y="95968"/>
                  </a:lnTo>
                  <a:lnTo>
                    <a:pt x="23779" y="95115"/>
                  </a:lnTo>
                  <a:lnTo>
                    <a:pt x="24876" y="94627"/>
                  </a:lnTo>
                  <a:lnTo>
                    <a:pt x="26218" y="94505"/>
                  </a:lnTo>
                  <a:lnTo>
                    <a:pt x="41704" y="93651"/>
                  </a:lnTo>
                  <a:lnTo>
                    <a:pt x="47435" y="93407"/>
                  </a:lnTo>
                  <a:lnTo>
                    <a:pt x="48167" y="99017"/>
                  </a:lnTo>
                  <a:lnTo>
                    <a:pt x="48411" y="101090"/>
                  </a:lnTo>
                  <a:lnTo>
                    <a:pt x="60971" y="101090"/>
                  </a:lnTo>
                  <a:lnTo>
                    <a:pt x="76945" y="96334"/>
                  </a:lnTo>
                  <a:lnTo>
                    <a:pt x="77433" y="96212"/>
                  </a:lnTo>
                  <a:lnTo>
                    <a:pt x="82067" y="85725"/>
                  </a:lnTo>
                  <a:lnTo>
                    <a:pt x="82921" y="83896"/>
                  </a:lnTo>
                  <a:lnTo>
                    <a:pt x="84628" y="82920"/>
                  </a:lnTo>
                  <a:lnTo>
                    <a:pt x="112430" y="66946"/>
                  </a:lnTo>
                  <a:lnTo>
                    <a:pt x="116210" y="64873"/>
                  </a:lnTo>
                  <a:lnTo>
                    <a:pt x="119503" y="67678"/>
                  </a:lnTo>
                  <a:lnTo>
                    <a:pt x="120235" y="68287"/>
                  </a:lnTo>
                  <a:lnTo>
                    <a:pt x="128405" y="75482"/>
                  </a:lnTo>
                  <a:lnTo>
                    <a:pt x="136453" y="74506"/>
                  </a:lnTo>
                  <a:lnTo>
                    <a:pt x="138160" y="64507"/>
                  </a:lnTo>
                  <a:lnTo>
                    <a:pt x="138526" y="62068"/>
                  </a:lnTo>
                  <a:lnTo>
                    <a:pt x="139257" y="57556"/>
                  </a:lnTo>
                  <a:lnTo>
                    <a:pt x="148769" y="56459"/>
                  </a:lnTo>
                  <a:lnTo>
                    <a:pt x="154012" y="55971"/>
                  </a:lnTo>
                  <a:lnTo>
                    <a:pt x="167792" y="45606"/>
                  </a:lnTo>
                  <a:lnTo>
                    <a:pt x="169743" y="44143"/>
                  </a:lnTo>
                  <a:lnTo>
                    <a:pt x="170840" y="43289"/>
                  </a:lnTo>
                  <a:lnTo>
                    <a:pt x="172304" y="43045"/>
                  </a:lnTo>
                  <a:lnTo>
                    <a:pt x="177303" y="42070"/>
                  </a:lnTo>
                  <a:lnTo>
                    <a:pt x="193034" y="39143"/>
                  </a:lnTo>
                  <a:lnTo>
                    <a:pt x="203521" y="26827"/>
                  </a:lnTo>
                  <a:lnTo>
                    <a:pt x="205106" y="24876"/>
                  </a:lnTo>
                  <a:lnTo>
                    <a:pt x="199009" y="19877"/>
                  </a:lnTo>
                  <a:lnTo>
                    <a:pt x="184376" y="15730"/>
                  </a:lnTo>
                  <a:lnTo>
                    <a:pt x="173645" y="12682"/>
                  </a:lnTo>
                  <a:lnTo>
                    <a:pt x="159622" y="10243"/>
                  </a:lnTo>
                  <a:lnTo>
                    <a:pt x="141574" y="7195"/>
                  </a:lnTo>
                  <a:lnTo>
                    <a:pt x="115723" y="15730"/>
                  </a:lnTo>
                  <a:lnTo>
                    <a:pt x="111333" y="17194"/>
                  </a:lnTo>
                  <a:lnTo>
                    <a:pt x="108772" y="13536"/>
                  </a:lnTo>
                  <a:lnTo>
                    <a:pt x="101821" y="3414"/>
                  </a:lnTo>
                  <a:lnTo>
                    <a:pt x="101821" y="3414"/>
                  </a:lnTo>
                  <a:lnTo>
                    <a:pt x="99626" y="2439"/>
                  </a:lnTo>
                  <a:lnTo>
                    <a:pt x="94261" y="0"/>
                  </a:lnTo>
                  <a:lnTo>
                    <a:pt x="78165" y="9511"/>
                  </a:lnTo>
                  <a:lnTo>
                    <a:pt x="79994" y="14145"/>
                  </a:lnTo>
                  <a:lnTo>
                    <a:pt x="80725" y="16096"/>
                  </a:lnTo>
                  <a:lnTo>
                    <a:pt x="83530" y="23413"/>
                  </a:lnTo>
                  <a:lnTo>
                    <a:pt x="75726" y="24388"/>
                  </a:lnTo>
                  <a:lnTo>
                    <a:pt x="56703" y="267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4" name="Freihandform: Form 863">
              <a:extLst>
                <a:ext uri="{FF2B5EF4-FFF2-40B4-BE49-F238E27FC236}">
                  <a16:creationId xmlns:a16="http://schemas.microsoft.com/office/drawing/2014/main" id="{5AD90645-9405-4150-AB3F-F5EED743B7EB}"/>
                </a:ext>
              </a:extLst>
            </p:cNvPr>
            <p:cNvSpPr/>
            <p:nvPr/>
          </p:nvSpPr>
          <p:spPr>
            <a:xfrm>
              <a:off x="5812390" y="2507268"/>
              <a:ext cx="11096" cy="2438"/>
            </a:xfrm>
            <a:custGeom>
              <a:avLst/>
              <a:gdLst>
                <a:gd name="connsiteX0" fmla="*/ 1951 w 11096"/>
                <a:gd name="connsiteY0" fmla="*/ 2317 h 2438"/>
                <a:gd name="connsiteX1" fmla="*/ 3414 w 11096"/>
                <a:gd name="connsiteY1" fmla="*/ 2195 h 2438"/>
                <a:gd name="connsiteX2" fmla="*/ 10243 w 11096"/>
                <a:gd name="connsiteY2" fmla="*/ 1829 h 2438"/>
                <a:gd name="connsiteX3" fmla="*/ 11097 w 11096"/>
                <a:gd name="connsiteY3" fmla="*/ 0 h 2438"/>
                <a:gd name="connsiteX4" fmla="*/ 0 w 11096"/>
                <a:gd name="connsiteY4" fmla="*/ 2439 h 2438"/>
                <a:gd name="connsiteX5" fmla="*/ 1951 w 11096"/>
                <a:gd name="connsiteY5" fmla="*/ 2317 h 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96" h="2438">
                  <a:moveTo>
                    <a:pt x="1951" y="2317"/>
                  </a:moveTo>
                  <a:lnTo>
                    <a:pt x="3414" y="2195"/>
                  </a:lnTo>
                  <a:lnTo>
                    <a:pt x="10243" y="1829"/>
                  </a:lnTo>
                  <a:lnTo>
                    <a:pt x="11097" y="0"/>
                  </a:lnTo>
                  <a:lnTo>
                    <a:pt x="0" y="2439"/>
                  </a:lnTo>
                  <a:lnTo>
                    <a:pt x="1951" y="23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5" name="Freihandform: Form 864">
              <a:extLst>
                <a:ext uri="{FF2B5EF4-FFF2-40B4-BE49-F238E27FC236}">
                  <a16:creationId xmlns:a16="http://schemas.microsoft.com/office/drawing/2014/main" id="{14D09A0F-CB47-473C-A976-F73D8EE9B4C8}"/>
                </a:ext>
              </a:extLst>
            </p:cNvPr>
            <p:cNvSpPr/>
            <p:nvPr/>
          </p:nvSpPr>
          <p:spPr>
            <a:xfrm>
              <a:off x="4891243" y="2680181"/>
              <a:ext cx="54995" cy="22437"/>
            </a:xfrm>
            <a:custGeom>
              <a:avLst/>
              <a:gdLst>
                <a:gd name="connsiteX0" fmla="*/ 16096 w 54995"/>
                <a:gd name="connsiteY0" fmla="*/ 6829 h 22437"/>
                <a:gd name="connsiteX1" fmla="*/ 19754 w 54995"/>
                <a:gd name="connsiteY1" fmla="*/ 10487 h 22437"/>
                <a:gd name="connsiteX2" fmla="*/ 28656 w 54995"/>
                <a:gd name="connsiteY2" fmla="*/ 9755 h 22437"/>
                <a:gd name="connsiteX3" fmla="*/ 33290 w 54995"/>
                <a:gd name="connsiteY3" fmla="*/ 12072 h 22437"/>
                <a:gd name="connsiteX4" fmla="*/ 37924 w 54995"/>
                <a:gd name="connsiteY4" fmla="*/ 9755 h 22437"/>
                <a:gd name="connsiteX5" fmla="*/ 43289 w 54995"/>
                <a:gd name="connsiteY5" fmla="*/ 10365 h 22437"/>
                <a:gd name="connsiteX6" fmla="*/ 48899 w 54995"/>
                <a:gd name="connsiteY6" fmla="*/ 13170 h 22437"/>
                <a:gd name="connsiteX7" fmla="*/ 48899 w 54995"/>
                <a:gd name="connsiteY7" fmla="*/ 14267 h 22437"/>
                <a:gd name="connsiteX8" fmla="*/ 45241 w 54995"/>
                <a:gd name="connsiteY8" fmla="*/ 14267 h 22437"/>
                <a:gd name="connsiteX9" fmla="*/ 41216 w 54995"/>
                <a:gd name="connsiteY9" fmla="*/ 16950 h 22437"/>
                <a:gd name="connsiteX10" fmla="*/ 26705 w 54995"/>
                <a:gd name="connsiteY10" fmla="*/ 16950 h 22437"/>
                <a:gd name="connsiteX11" fmla="*/ 17560 w 54995"/>
                <a:gd name="connsiteY11" fmla="*/ 12682 h 22437"/>
                <a:gd name="connsiteX12" fmla="*/ 6097 w 54995"/>
                <a:gd name="connsiteY12" fmla="*/ 11462 h 22437"/>
                <a:gd name="connsiteX13" fmla="*/ 6097 w 54995"/>
                <a:gd name="connsiteY13" fmla="*/ 8414 h 22437"/>
                <a:gd name="connsiteX14" fmla="*/ 6097 w 54995"/>
                <a:gd name="connsiteY14" fmla="*/ 6951 h 22437"/>
                <a:gd name="connsiteX15" fmla="*/ 16096 w 54995"/>
                <a:gd name="connsiteY15" fmla="*/ 6951 h 22437"/>
                <a:gd name="connsiteX16" fmla="*/ 18657 w 54995"/>
                <a:gd name="connsiteY16" fmla="*/ 853 h 22437"/>
                <a:gd name="connsiteX17" fmla="*/ 976 w 54995"/>
                <a:gd name="connsiteY17" fmla="*/ 853 h 22437"/>
                <a:gd name="connsiteX18" fmla="*/ 0 w 54995"/>
                <a:gd name="connsiteY18" fmla="*/ 5731 h 22437"/>
                <a:gd name="connsiteX19" fmla="*/ 0 w 54995"/>
                <a:gd name="connsiteY19" fmla="*/ 7316 h 22437"/>
                <a:gd name="connsiteX20" fmla="*/ 0 w 54995"/>
                <a:gd name="connsiteY20" fmla="*/ 9267 h 22437"/>
                <a:gd name="connsiteX21" fmla="*/ 0 w 54995"/>
                <a:gd name="connsiteY21" fmla="*/ 12316 h 22437"/>
                <a:gd name="connsiteX22" fmla="*/ 732 w 54995"/>
                <a:gd name="connsiteY22" fmla="*/ 16950 h 22437"/>
                <a:gd name="connsiteX23" fmla="*/ 5365 w 54995"/>
                <a:gd name="connsiteY23" fmla="*/ 16950 h 22437"/>
                <a:gd name="connsiteX24" fmla="*/ 15853 w 54995"/>
                <a:gd name="connsiteY24" fmla="*/ 18047 h 22437"/>
                <a:gd name="connsiteX25" fmla="*/ 24145 w 54995"/>
                <a:gd name="connsiteY25" fmla="*/ 21827 h 22437"/>
                <a:gd name="connsiteX26" fmla="*/ 25242 w 54995"/>
                <a:gd name="connsiteY26" fmla="*/ 22437 h 22437"/>
                <a:gd name="connsiteX27" fmla="*/ 26461 w 54995"/>
                <a:gd name="connsiteY27" fmla="*/ 22437 h 22437"/>
                <a:gd name="connsiteX28" fmla="*/ 40973 w 54995"/>
                <a:gd name="connsiteY28" fmla="*/ 22437 h 22437"/>
                <a:gd name="connsiteX29" fmla="*/ 42924 w 54995"/>
                <a:gd name="connsiteY29" fmla="*/ 22437 h 22437"/>
                <a:gd name="connsiteX30" fmla="*/ 44631 w 54995"/>
                <a:gd name="connsiteY30" fmla="*/ 21340 h 22437"/>
                <a:gd name="connsiteX31" fmla="*/ 47557 w 54995"/>
                <a:gd name="connsiteY31" fmla="*/ 19389 h 22437"/>
                <a:gd name="connsiteX32" fmla="*/ 49752 w 54995"/>
                <a:gd name="connsiteY32" fmla="*/ 19389 h 22437"/>
                <a:gd name="connsiteX33" fmla="*/ 54996 w 54995"/>
                <a:gd name="connsiteY33" fmla="*/ 18657 h 22437"/>
                <a:gd name="connsiteX34" fmla="*/ 54996 w 54995"/>
                <a:gd name="connsiteY34" fmla="*/ 8536 h 22437"/>
                <a:gd name="connsiteX35" fmla="*/ 51581 w 54995"/>
                <a:gd name="connsiteY35" fmla="*/ 6829 h 22437"/>
                <a:gd name="connsiteX36" fmla="*/ 46094 w 54995"/>
                <a:gd name="connsiteY36" fmla="*/ 4024 h 22437"/>
                <a:gd name="connsiteX37" fmla="*/ 45119 w 54995"/>
                <a:gd name="connsiteY37" fmla="*/ 4024 h 22437"/>
                <a:gd name="connsiteX38" fmla="*/ 44021 w 54995"/>
                <a:gd name="connsiteY38" fmla="*/ 4024 h 22437"/>
                <a:gd name="connsiteX39" fmla="*/ 38656 w 54995"/>
                <a:gd name="connsiteY39" fmla="*/ 3414 h 22437"/>
                <a:gd name="connsiteX40" fmla="*/ 36827 w 54995"/>
                <a:gd name="connsiteY40" fmla="*/ 3414 h 22437"/>
                <a:gd name="connsiteX41" fmla="*/ 35241 w 54995"/>
                <a:gd name="connsiteY41" fmla="*/ 4146 h 22437"/>
                <a:gd name="connsiteX42" fmla="*/ 33290 w 54995"/>
                <a:gd name="connsiteY42" fmla="*/ 5122 h 22437"/>
                <a:gd name="connsiteX43" fmla="*/ 31339 w 54995"/>
                <a:gd name="connsiteY43" fmla="*/ 4146 h 22437"/>
                <a:gd name="connsiteX44" fmla="*/ 29876 w 54995"/>
                <a:gd name="connsiteY44" fmla="*/ 3414 h 22437"/>
                <a:gd name="connsiteX45" fmla="*/ 28291 w 54995"/>
                <a:gd name="connsiteY45" fmla="*/ 3414 h 22437"/>
                <a:gd name="connsiteX46" fmla="*/ 22193 w 54995"/>
                <a:gd name="connsiteY46" fmla="*/ 3414 h 22437"/>
                <a:gd name="connsiteX47" fmla="*/ 20486 w 54995"/>
                <a:gd name="connsiteY47" fmla="*/ 1829 h 22437"/>
                <a:gd name="connsiteX48" fmla="*/ 18779 w 54995"/>
                <a:gd name="connsiteY48" fmla="*/ 0 h 2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54995" h="22437">
                  <a:moveTo>
                    <a:pt x="16096" y="6829"/>
                  </a:moveTo>
                  <a:lnTo>
                    <a:pt x="19754" y="10487"/>
                  </a:lnTo>
                  <a:lnTo>
                    <a:pt x="28656" y="9755"/>
                  </a:lnTo>
                  <a:lnTo>
                    <a:pt x="33290" y="12072"/>
                  </a:lnTo>
                  <a:lnTo>
                    <a:pt x="37924" y="9755"/>
                  </a:lnTo>
                  <a:lnTo>
                    <a:pt x="43289" y="10365"/>
                  </a:lnTo>
                  <a:lnTo>
                    <a:pt x="48899" y="13170"/>
                  </a:lnTo>
                  <a:lnTo>
                    <a:pt x="48899" y="14267"/>
                  </a:lnTo>
                  <a:lnTo>
                    <a:pt x="45241" y="14267"/>
                  </a:lnTo>
                  <a:lnTo>
                    <a:pt x="41216" y="16950"/>
                  </a:lnTo>
                  <a:lnTo>
                    <a:pt x="26705" y="16950"/>
                  </a:lnTo>
                  <a:lnTo>
                    <a:pt x="17560" y="12682"/>
                  </a:lnTo>
                  <a:lnTo>
                    <a:pt x="6097" y="11462"/>
                  </a:lnTo>
                  <a:lnTo>
                    <a:pt x="6097" y="8414"/>
                  </a:lnTo>
                  <a:lnTo>
                    <a:pt x="6097" y="6951"/>
                  </a:lnTo>
                  <a:lnTo>
                    <a:pt x="16096" y="6951"/>
                  </a:lnTo>
                  <a:moveTo>
                    <a:pt x="18657" y="853"/>
                  </a:moveTo>
                  <a:lnTo>
                    <a:pt x="976" y="853"/>
                  </a:lnTo>
                  <a:lnTo>
                    <a:pt x="0" y="5731"/>
                  </a:lnTo>
                  <a:lnTo>
                    <a:pt x="0" y="7316"/>
                  </a:lnTo>
                  <a:lnTo>
                    <a:pt x="0" y="9267"/>
                  </a:lnTo>
                  <a:lnTo>
                    <a:pt x="0" y="12316"/>
                  </a:lnTo>
                  <a:lnTo>
                    <a:pt x="732" y="16950"/>
                  </a:lnTo>
                  <a:lnTo>
                    <a:pt x="5365" y="16950"/>
                  </a:lnTo>
                  <a:lnTo>
                    <a:pt x="15853" y="18047"/>
                  </a:lnTo>
                  <a:lnTo>
                    <a:pt x="24145" y="21827"/>
                  </a:lnTo>
                  <a:lnTo>
                    <a:pt x="25242" y="22437"/>
                  </a:lnTo>
                  <a:lnTo>
                    <a:pt x="26461" y="22437"/>
                  </a:lnTo>
                  <a:lnTo>
                    <a:pt x="40973" y="22437"/>
                  </a:lnTo>
                  <a:lnTo>
                    <a:pt x="42924" y="22437"/>
                  </a:lnTo>
                  <a:lnTo>
                    <a:pt x="44631" y="21340"/>
                  </a:lnTo>
                  <a:lnTo>
                    <a:pt x="47557" y="19389"/>
                  </a:lnTo>
                  <a:lnTo>
                    <a:pt x="49752" y="19389"/>
                  </a:lnTo>
                  <a:lnTo>
                    <a:pt x="54996" y="18657"/>
                  </a:lnTo>
                  <a:lnTo>
                    <a:pt x="54996" y="8536"/>
                  </a:lnTo>
                  <a:lnTo>
                    <a:pt x="51581" y="6829"/>
                  </a:lnTo>
                  <a:lnTo>
                    <a:pt x="46094" y="4024"/>
                  </a:lnTo>
                  <a:lnTo>
                    <a:pt x="45119" y="4024"/>
                  </a:lnTo>
                  <a:lnTo>
                    <a:pt x="44021" y="4024"/>
                  </a:lnTo>
                  <a:lnTo>
                    <a:pt x="38656" y="3414"/>
                  </a:lnTo>
                  <a:lnTo>
                    <a:pt x="36827" y="3414"/>
                  </a:lnTo>
                  <a:lnTo>
                    <a:pt x="35241" y="4146"/>
                  </a:lnTo>
                  <a:lnTo>
                    <a:pt x="33290" y="5122"/>
                  </a:lnTo>
                  <a:lnTo>
                    <a:pt x="31339" y="4146"/>
                  </a:lnTo>
                  <a:lnTo>
                    <a:pt x="29876" y="3414"/>
                  </a:lnTo>
                  <a:lnTo>
                    <a:pt x="28291" y="3414"/>
                  </a:lnTo>
                  <a:lnTo>
                    <a:pt x="22193" y="3414"/>
                  </a:lnTo>
                  <a:lnTo>
                    <a:pt x="20486" y="1829"/>
                  </a:lnTo>
                  <a:lnTo>
                    <a:pt x="18779" y="0"/>
                  </a:lnTo>
                  <a:close/>
                </a:path>
              </a:pathLst>
            </a:custGeom>
            <a:solidFill>
              <a:srgbClr val="FFFFFF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6" name="Freihandform: Form 865">
              <a:extLst>
                <a:ext uri="{FF2B5EF4-FFF2-40B4-BE49-F238E27FC236}">
                  <a16:creationId xmlns:a16="http://schemas.microsoft.com/office/drawing/2014/main" id="{9BACEC8A-81E8-4C0A-A3D7-2E9AEC7D0BB8}"/>
                </a:ext>
              </a:extLst>
            </p:cNvPr>
            <p:cNvSpPr/>
            <p:nvPr/>
          </p:nvSpPr>
          <p:spPr>
            <a:xfrm>
              <a:off x="4812346" y="1534783"/>
              <a:ext cx="2561" cy="2926"/>
            </a:xfrm>
            <a:custGeom>
              <a:avLst/>
              <a:gdLst>
                <a:gd name="connsiteX0" fmla="*/ 2561 w 2561"/>
                <a:gd name="connsiteY0" fmla="*/ 2317 h 2926"/>
                <a:gd name="connsiteX1" fmla="*/ 2561 w 2561"/>
                <a:gd name="connsiteY1" fmla="*/ 488 h 2926"/>
                <a:gd name="connsiteX2" fmla="*/ 2195 w 2561"/>
                <a:gd name="connsiteY2" fmla="*/ 0 h 2926"/>
                <a:gd name="connsiteX3" fmla="*/ 0 w 2561"/>
                <a:gd name="connsiteY3" fmla="*/ 1585 h 2926"/>
                <a:gd name="connsiteX4" fmla="*/ 854 w 2561"/>
                <a:gd name="connsiteY4" fmla="*/ 2927 h 2926"/>
                <a:gd name="connsiteX5" fmla="*/ 2561 w 2561"/>
                <a:gd name="connsiteY5" fmla="*/ 2317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61" h="2926">
                  <a:moveTo>
                    <a:pt x="2561" y="2317"/>
                  </a:moveTo>
                  <a:lnTo>
                    <a:pt x="2561" y="488"/>
                  </a:lnTo>
                  <a:lnTo>
                    <a:pt x="2195" y="0"/>
                  </a:lnTo>
                  <a:lnTo>
                    <a:pt x="0" y="1585"/>
                  </a:lnTo>
                  <a:lnTo>
                    <a:pt x="854" y="2927"/>
                  </a:lnTo>
                  <a:lnTo>
                    <a:pt x="2561" y="231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7" name="Freihandform: Form 866">
              <a:extLst>
                <a:ext uri="{FF2B5EF4-FFF2-40B4-BE49-F238E27FC236}">
                  <a16:creationId xmlns:a16="http://schemas.microsoft.com/office/drawing/2014/main" id="{80A5E055-435C-4AD5-94E3-0EFADEC56EA6}"/>
                </a:ext>
              </a:extLst>
            </p:cNvPr>
            <p:cNvSpPr/>
            <p:nvPr/>
          </p:nvSpPr>
          <p:spPr>
            <a:xfrm>
              <a:off x="4712232" y="1584413"/>
              <a:ext cx="6219" cy="1219"/>
            </a:xfrm>
            <a:custGeom>
              <a:avLst/>
              <a:gdLst>
                <a:gd name="connsiteX0" fmla="*/ 6219 w 6219"/>
                <a:gd name="connsiteY0" fmla="*/ 122 h 1219"/>
                <a:gd name="connsiteX1" fmla="*/ 6219 w 6219"/>
                <a:gd name="connsiteY1" fmla="*/ 0 h 1219"/>
                <a:gd name="connsiteX2" fmla="*/ 854 w 6219"/>
                <a:gd name="connsiteY2" fmla="*/ 0 h 1219"/>
                <a:gd name="connsiteX3" fmla="*/ 0 w 6219"/>
                <a:gd name="connsiteY3" fmla="*/ 976 h 1219"/>
                <a:gd name="connsiteX4" fmla="*/ 366 w 6219"/>
                <a:gd name="connsiteY4" fmla="*/ 1219 h 1219"/>
                <a:gd name="connsiteX5" fmla="*/ 6219 w 6219"/>
                <a:gd name="connsiteY5" fmla="*/ 122 h 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19" h="1219">
                  <a:moveTo>
                    <a:pt x="6219" y="122"/>
                  </a:moveTo>
                  <a:lnTo>
                    <a:pt x="6219" y="0"/>
                  </a:lnTo>
                  <a:lnTo>
                    <a:pt x="854" y="0"/>
                  </a:lnTo>
                  <a:lnTo>
                    <a:pt x="0" y="976"/>
                  </a:lnTo>
                  <a:lnTo>
                    <a:pt x="366" y="1219"/>
                  </a:lnTo>
                  <a:lnTo>
                    <a:pt x="6219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8" name="Freihandform: Form 867">
              <a:extLst>
                <a:ext uri="{FF2B5EF4-FFF2-40B4-BE49-F238E27FC236}">
                  <a16:creationId xmlns:a16="http://schemas.microsoft.com/office/drawing/2014/main" id="{694EEFD7-11B4-4647-83C4-8731D2D72C63}"/>
                </a:ext>
              </a:extLst>
            </p:cNvPr>
            <p:cNvSpPr/>
            <p:nvPr/>
          </p:nvSpPr>
          <p:spPr>
            <a:xfrm>
              <a:off x="4685039" y="1603680"/>
              <a:ext cx="7438" cy="3170"/>
            </a:xfrm>
            <a:custGeom>
              <a:avLst/>
              <a:gdLst>
                <a:gd name="connsiteX0" fmla="*/ 7439 w 7438"/>
                <a:gd name="connsiteY0" fmla="*/ 0 h 3170"/>
                <a:gd name="connsiteX1" fmla="*/ 5853 w 7438"/>
                <a:gd name="connsiteY1" fmla="*/ 0 h 3170"/>
                <a:gd name="connsiteX2" fmla="*/ 0 w 7438"/>
                <a:gd name="connsiteY2" fmla="*/ 3170 h 3170"/>
                <a:gd name="connsiteX3" fmla="*/ 4390 w 7438"/>
                <a:gd name="connsiteY3" fmla="*/ 1585 h 3170"/>
                <a:gd name="connsiteX4" fmla="*/ 7439 w 7438"/>
                <a:gd name="connsiteY4" fmla="*/ 0 h 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8" h="3170">
                  <a:moveTo>
                    <a:pt x="7439" y="0"/>
                  </a:moveTo>
                  <a:lnTo>
                    <a:pt x="5853" y="0"/>
                  </a:lnTo>
                  <a:lnTo>
                    <a:pt x="0" y="3170"/>
                  </a:lnTo>
                  <a:lnTo>
                    <a:pt x="4390" y="1585"/>
                  </a:lnTo>
                  <a:lnTo>
                    <a:pt x="7439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9" name="Freihandform: Form 868">
              <a:extLst>
                <a:ext uri="{FF2B5EF4-FFF2-40B4-BE49-F238E27FC236}">
                  <a16:creationId xmlns:a16="http://schemas.microsoft.com/office/drawing/2014/main" id="{F138CC33-CB59-4B21-8B54-EE49ED43EF5F}"/>
                </a:ext>
              </a:extLst>
            </p:cNvPr>
            <p:cNvSpPr/>
            <p:nvPr/>
          </p:nvSpPr>
          <p:spPr>
            <a:xfrm>
              <a:off x="4830394" y="1536368"/>
              <a:ext cx="1585" cy="1097"/>
            </a:xfrm>
            <a:custGeom>
              <a:avLst/>
              <a:gdLst>
                <a:gd name="connsiteX0" fmla="*/ 1585 w 1585"/>
                <a:gd name="connsiteY0" fmla="*/ 0 h 1097"/>
                <a:gd name="connsiteX1" fmla="*/ 0 w 1585"/>
                <a:gd name="connsiteY1" fmla="*/ 1097 h 1097"/>
                <a:gd name="connsiteX2" fmla="*/ 732 w 1585"/>
                <a:gd name="connsiteY2" fmla="*/ 1097 h 1097"/>
                <a:gd name="connsiteX3" fmla="*/ 1585 w 1585"/>
                <a:gd name="connsiteY3" fmla="*/ 0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5" h="1097">
                  <a:moveTo>
                    <a:pt x="1585" y="0"/>
                  </a:moveTo>
                  <a:lnTo>
                    <a:pt x="0" y="1097"/>
                  </a:lnTo>
                  <a:lnTo>
                    <a:pt x="732" y="1097"/>
                  </a:lnTo>
                  <a:lnTo>
                    <a:pt x="1585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0" name="Freihandform: Form 869">
              <a:extLst>
                <a:ext uri="{FF2B5EF4-FFF2-40B4-BE49-F238E27FC236}">
                  <a16:creationId xmlns:a16="http://schemas.microsoft.com/office/drawing/2014/main" id="{4804C234-83F1-4684-880B-7C6324B02C23}"/>
                </a:ext>
              </a:extLst>
            </p:cNvPr>
            <p:cNvSpPr/>
            <p:nvPr/>
          </p:nvSpPr>
          <p:spPr>
            <a:xfrm>
              <a:off x="4755766" y="1562952"/>
              <a:ext cx="16583" cy="9755"/>
            </a:xfrm>
            <a:custGeom>
              <a:avLst/>
              <a:gdLst>
                <a:gd name="connsiteX0" fmla="*/ 9024 w 16583"/>
                <a:gd name="connsiteY0" fmla="*/ 8292 h 9755"/>
                <a:gd name="connsiteX1" fmla="*/ 13535 w 16583"/>
                <a:gd name="connsiteY1" fmla="*/ 2927 h 9755"/>
                <a:gd name="connsiteX2" fmla="*/ 16584 w 16583"/>
                <a:gd name="connsiteY2" fmla="*/ 366 h 9755"/>
                <a:gd name="connsiteX3" fmla="*/ 13292 w 16583"/>
                <a:gd name="connsiteY3" fmla="*/ 0 h 9755"/>
                <a:gd name="connsiteX4" fmla="*/ 2195 w 16583"/>
                <a:gd name="connsiteY4" fmla="*/ 4512 h 9755"/>
                <a:gd name="connsiteX5" fmla="*/ 0 w 16583"/>
                <a:gd name="connsiteY5" fmla="*/ 8658 h 9755"/>
                <a:gd name="connsiteX6" fmla="*/ 2804 w 16583"/>
                <a:gd name="connsiteY6" fmla="*/ 9755 h 9755"/>
                <a:gd name="connsiteX7" fmla="*/ 9024 w 16583"/>
                <a:gd name="connsiteY7" fmla="*/ 8292 h 9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83" h="9755">
                  <a:moveTo>
                    <a:pt x="9024" y="8292"/>
                  </a:moveTo>
                  <a:lnTo>
                    <a:pt x="13535" y="2927"/>
                  </a:lnTo>
                  <a:lnTo>
                    <a:pt x="16584" y="366"/>
                  </a:lnTo>
                  <a:lnTo>
                    <a:pt x="13292" y="0"/>
                  </a:lnTo>
                  <a:lnTo>
                    <a:pt x="2195" y="4512"/>
                  </a:lnTo>
                  <a:lnTo>
                    <a:pt x="0" y="8658"/>
                  </a:lnTo>
                  <a:lnTo>
                    <a:pt x="2804" y="9755"/>
                  </a:lnTo>
                  <a:lnTo>
                    <a:pt x="9024" y="829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1" name="Freihandform: Form 870">
              <a:extLst>
                <a:ext uri="{FF2B5EF4-FFF2-40B4-BE49-F238E27FC236}">
                  <a16:creationId xmlns:a16="http://schemas.microsoft.com/office/drawing/2014/main" id="{525AA0D8-0C48-42FD-9BE4-B0C834CA6914}"/>
                </a:ext>
              </a:extLst>
            </p:cNvPr>
            <p:cNvSpPr/>
            <p:nvPr/>
          </p:nvSpPr>
          <p:spPr>
            <a:xfrm>
              <a:off x="4776618" y="1568317"/>
              <a:ext cx="9145" cy="3536"/>
            </a:xfrm>
            <a:custGeom>
              <a:avLst/>
              <a:gdLst>
                <a:gd name="connsiteX0" fmla="*/ 8292 w 9145"/>
                <a:gd name="connsiteY0" fmla="*/ 0 h 3536"/>
                <a:gd name="connsiteX1" fmla="*/ 975 w 9145"/>
                <a:gd name="connsiteY1" fmla="*/ 2195 h 3536"/>
                <a:gd name="connsiteX2" fmla="*/ 0 w 9145"/>
                <a:gd name="connsiteY2" fmla="*/ 3536 h 3536"/>
                <a:gd name="connsiteX3" fmla="*/ 9146 w 9145"/>
                <a:gd name="connsiteY3" fmla="*/ 1463 h 3536"/>
                <a:gd name="connsiteX4" fmla="*/ 8292 w 9145"/>
                <a:gd name="connsiteY4" fmla="*/ 0 h 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5" h="3536">
                  <a:moveTo>
                    <a:pt x="8292" y="0"/>
                  </a:moveTo>
                  <a:lnTo>
                    <a:pt x="975" y="2195"/>
                  </a:lnTo>
                  <a:lnTo>
                    <a:pt x="0" y="3536"/>
                  </a:lnTo>
                  <a:lnTo>
                    <a:pt x="9146" y="1463"/>
                  </a:lnTo>
                  <a:lnTo>
                    <a:pt x="8292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2" name="Freihandform: Form 871">
              <a:extLst>
                <a:ext uri="{FF2B5EF4-FFF2-40B4-BE49-F238E27FC236}">
                  <a16:creationId xmlns:a16="http://schemas.microsoft.com/office/drawing/2014/main" id="{6FCC86DA-F19A-4A05-8596-C0684B2E87AD}"/>
                </a:ext>
              </a:extLst>
            </p:cNvPr>
            <p:cNvSpPr/>
            <p:nvPr/>
          </p:nvSpPr>
          <p:spPr>
            <a:xfrm>
              <a:off x="4729182" y="1585145"/>
              <a:ext cx="16340" cy="12194"/>
            </a:xfrm>
            <a:custGeom>
              <a:avLst/>
              <a:gdLst>
                <a:gd name="connsiteX0" fmla="*/ 3780 w 16340"/>
                <a:gd name="connsiteY0" fmla="*/ 6463 h 12194"/>
                <a:gd name="connsiteX1" fmla="*/ 0 w 16340"/>
                <a:gd name="connsiteY1" fmla="*/ 11097 h 12194"/>
                <a:gd name="connsiteX2" fmla="*/ 1219 w 16340"/>
                <a:gd name="connsiteY2" fmla="*/ 12194 h 12194"/>
                <a:gd name="connsiteX3" fmla="*/ 6097 w 16340"/>
                <a:gd name="connsiteY3" fmla="*/ 9633 h 12194"/>
                <a:gd name="connsiteX4" fmla="*/ 12804 w 16340"/>
                <a:gd name="connsiteY4" fmla="*/ 1707 h 12194"/>
                <a:gd name="connsiteX5" fmla="*/ 16340 w 16340"/>
                <a:gd name="connsiteY5" fmla="*/ 0 h 12194"/>
                <a:gd name="connsiteX6" fmla="*/ 9267 w 16340"/>
                <a:gd name="connsiteY6" fmla="*/ 1585 h 12194"/>
                <a:gd name="connsiteX7" fmla="*/ 4512 w 16340"/>
                <a:gd name="connsiteY7" fmla="*/ 366 h 12194"/>
                <a:gd name="connsiteX8" fmla="*/ 3780 w 16340"/>
                <a:gd name="connsiteY8" fmla="*/ 6463 h 1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40" h="12194">
                  <a:moveTo>
                    <a:pt x="3780" y="6463"/>
                  </a:moveTo>
                  <a:lnTo>
                    <a:pt x="0" y="11097"/>
                  </a:lnTo>
                  <a:lnTo>
                    <a:pt x="1219" y="12194"/>
                  </a:lnTo>
                  <a:lnTo>
                    <a:pt x="6097" y="9633"/>
                  </a:lnTo>
                  <a:lnTo>
                    <a:pt x="12804" y="1707"/>
                  </a:lnTo>
                  <a:lnTo>
                    <a:pt x="16340" y="0"/>
                  </a:lnTo>
                  <a:lnTo>
                    <a:pt x="9267" y="1585"/>
                  </a:lnTo>
                  <a:lnTo>
                    <a:pt x="4512" y="366"/>
                  </a:lnTo>
                  <a:lnTo>
                    <a:pt x="3780" y="6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3" name="Freihandform: Form 872">
              <a:extLst>
                <a:ext uri="{FF2B5EF4-FFF2-40B4-BE49-F238E27FC236}">
                  <a16:creationId xmlns:a16="http://schemas.microsoft.com/office/drawing/2014/main" id="{B3E88BEE-6631-447E-B55E-ED9543810593}"/>
                </a:ext>
              </a:extLst>
            </p:cNvPr>
            <p:cNvSpPr/>
            <p:nvPr/>
          </p:nvSpPr>
          <p:spPr>
            <a:xfrm>
              <a:off x="4727597" y="1571488"/>
              <a:ext cx="10243" cy="4999"/>
            </a:xfrm>
            <a:custGeom>
              <a:avLst/>
              <a:gdLst>
                <a:gd name="connsiteX0" fmla="*/ 6950 w 10243"/>
                <a:gd name="connsiteY0" fmla="*/ 2805 h 4999"/>
                <a:gd name="connsiteX1" fmla="*/ 10243 w 10243"/>
                <a:gd name="connsiteY1" fmla="*/ 0 h 4999"/>
                <a:gd name="connsiteX2" fmla="*/ 610 w 10243"/>
                <a:gd name="connsiteY2" fmla="*/ 3536 h 4999"/>
                <a:gd name="connsiteX3" fmla="*/ 0 w 10243"/>
                <a:gd name="connsiteY3" fmla="*/ 4024 h 4999"/>
                <a:gd name="connsiteX4" fmla="*/ 2317 w 10243"/>
                <a:gd name="connsiteY4" fmla="*/ 5000 h 4999"/>
                <a:gd name="connsiteX5" fmla="*/ 6950 w 10243"/>
                <a:gd name="connsiteY5" fmla="*/ 2805 h 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43" h="4999">
                  <a:moveTo>
                    <a:pt x="6950" y="2805"/>
                  </a:moveTo>
                  <a:lnTo>
                    <a:pt x="10243" y="0"/>
                  </a:lnTo>
                  <a:lnTo>
                    <a:pt x="610" y="3536"/>
                  </a:lnTo>
                  <a:lnTo>
                    <a:pt x="0" y="4024"/>
                  </a:lnTo>
                  <a:lnTo>
                    <a:pt x="2317" y="5000"/>
                  </a:lnTo>
                  <a:lnTo>
                    <a:pt x="6950" y="280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4" name="Freihandform: Form 873">
              <a:extLst>
                <a:ext uri="{FF2B5EF4-FFF2-40B4-BE49-F238E27FC236}">
                  <a16:creationId xmlns:a16="http://schemas.microsoft.com/office/drawing/2014/main" id="{E82E014F-9072-42B2-9CA9-60D5C4C35ABF}"/>
                </a:ext>
              </a:extLst>
            </p:cNvPr>
            <p:cNvSpPr/>
            <p:nvPr/>
          </p:nvSpPr>
          <p:spPr>
            <a:xfrm>
              <a:off x="4617484" y="2327526"/>
              <a:ext cx="138891" cy="68043"/>
            </a:xfrm>
            <a:custGeom>
              <a:avLst/>
              <a:gdLst>
                <a:gd name="connsiteX0" fmla="*/ 10609 w 138891"/>
                <a:gd name="connsiteY0" fmla="*/ 58532 h 68043"/>
                <a:gd name="connsiteX1" fmla="*/ 28412 w 138891"/>
                <a:gd name="connsiteY1" fmla="*/ 58532 h 68043"/>
                <a:gd name="connsiteX2" fmla="*/ 33778 w 138891"/>
                <a:gd name="connsiteY2" fmla="*/ 54264 h 68043"/>
                <a:gd name="connsiteX3" fmla="*/ 35485 w 138891"/>
                <a:gd name="connsiteY3" fmla="*/ 52923 h 68043"/>
                <a:gd name="connsiteX4" fmla="*/ 46094 w 138891"/>
                <a:gd name="connsiteY4" fmla="*/ 52923 h 68043"/>
                <a:gd name="connsiteX5" fmla="*/ 48533 w 138891"/>
                <a:gd name="connsiteY5" fmla="*/ 53167 h 68043"/>
                <a:gd name="connsiteX6" fmla="*/ 50118 w 138891"/>
                <a:gd name="connsiteY6" fmla="*/ 54386 h 68043"/>
                <a:gd name="connsiteX7" fmla="*/ 53776 w 138891"/>
                <a:gd name="connsiteY7" fmla="*/ 57069 h 68043"/>
                <a:gd name="connsiteX8" fmla="*/ 60117 w 138891"/>
                <a:gd name="connsiteY8" fmla="*/ 57069 h 68043"/>
                <a:gd name="connsiteX9" fmla="*/ 61092 w 138891"/>
                <a:gd name="connsiteY9" fmla="*/ 57434 h 68043"/>
                <a:gd name="connsiteX10" fmla="*/ 61702 w 138891"/>
                <a:gd name="connsiteY10" fmla="*/ 57556 h 68043"/>
                <a:gd name="connsiteX11" fmla="*/ 74018 w 138891"/>
                <a:gd name="connsiteY11" fmla="*/ 61459 h 68043"/>
                <a:gd name="connsiteX12" fmla="*/ 74018 w 138891"/>
                <a:gd name="connsiteY12" fmla="*/ 60849 h 68043"/>
                <a:gd name="connsiteX13" fmla="*/ 79384 w 138891"/>
                <a:gd name="connsiteY13" fmla="*/ 63044 h 68043"/>
                <a:gd name="connsiteX14" fmla="*/ 81945 w 138891"/>
                <a:gd name="connsiteY14" fmla="*/ 63897 h 68043"/>
                <a:gd name="connsiteX15" fmla="*/ 81945 w 138891"/>
                <a:gd name="connsiteY15" fmla="*/ 64141 h 68043"/>
                <a:gd name="connsiteX16" fmla="*/ 82432 w 138891"/>
                <a:gd name="connsiteY16" fmla="*/ 64263 h 68043"/>
                <a:gd name="connsiteX17" fmla="*/ 91822 w 138891"/>
                <a:gd name="connsiteY17" fmla="*/ 68043 h 68043"/>
                <a:gd name="connsiteX18" fmla="*/ 111211 w 138891"/>
                <a:gd name="connsiteY18" fmla="*/ 56459 h 68043"/>
                <a:gd name="connsiteX19" fmla="*/ 111942 w 138891"/>
                <a:gd name="connsiteY19" fmla="*/ 55971 h 68043"/>
                <a:gd name="connsiteX20" fmla="*/ 112796 w 138891"/>
                <a:gd name="connsiteY20" fmla="*/ 55727 h 68043"/>
                <a:gd name="connsiteX21" fmla="*/ 127917 w 138891"/>
                <a:gd name="connsiteY21" fmla="*/ 51947 h 68043"/>
                <a:gd name="connsiteX22" fmla="*/ 127917 w 138891"/>
                <a:gd name="connsiteY22" fmla="*/ 51947 h 68043"/>
                <a:gd name="connsiteX23" fmla="*/ 130599 w 138891"/>
                <a:gd name="connsiteY23" fmla="*/ 47435 h 68043"/>
                <a:gd name="connsiteX24" fmla="*/ 129502 w 138891"/>
                <a:gd name="connsiteY24" fmla="*/ 37436 h 68043"/>
                <a:gd name="connsiteX25" fmla="*/ 129014 w 138891"/>
                <a:gd name="connsiteY25" fmla="*/ 33412 h 68043"/>
                <a:gd name="connsiteX26" fmla="*/ 132550 w 138891"/>
                <a:gd name="connsiteY26" fmla="*/ 31461 h 68043"/>
                <a:gd name="connsiteX27" fmla="*/ 138891 w 138891"/>
                <a:gd name="connsiteY27" fmla="*/ 27803 h 68043"/>
                <a:gd name="connsiteX28" fmla="*/ 137916 w 138891"/>
                <a:gd name="connsiteY28" fmla="*/ 20608 h 68043"/>
                <a:gd name="connsiteX29" fmla="*/ 137916 w 138891"/>
                <a:gd name="connsiteY29" fmla="*/ 20120 h 68043"/>
                <a:gd name="connsiteX30" fmla="*/ 134380 w 138891"/>
                <a:gd name="connsiteY30" fmla="*/ 19876 h 68043"/>
                <a:gd name="connsiteX31" fmla="*/ 130356 w 138891"/>
                <a:gd name="connsiteY31" fmla="*/ 19511 h 68043"/>
                <a:gd name="connsiteX32" fmla="*/ 129136 w 138891"/>
                <a:gd name="connsiteY32" fmla="*/ 15730 h 68043"/>
                <a:gd name="connsiteX33" fmla="*/ 126209 w 138891"/>
                <a:gd name="connsiteY33" fmla="*/ 7073 h 68043"/>
                <a:gd name="connsiteX34" fmla="*/ 125843 w 138891"/>
                <a:gd name="connsiteY34" fmla="*/ 6097 h 68043"/>
                <a:gd name="connsiteX35" fmla="*/ 110235 w 138891"/>
                <a:gd name="connsiteY35" fmla="*/ 0 h 68043"/>
                <a:gd name="connsiteX36" fmla="*/ 85237 w 138891"/>
                <a:gd name="connsiteY36" fmla="*/ 3780 h 68043"/>
                <a:gd name="connsiteX37" fmla="*/ 84505 w 138891"/>
                <a:gd name="connsiteY37" fmla="*/ 5975 h 68043"/>
                <a:gd name="connsiteX38" fmla="*/ 83408 w 138891"/>
                <a:gd name="connsiteY38" fmla="*/ 9268 h 68043"/>
                <a:gd name="connsiteX39" fmla="*/ 82798 w 138891"/>
                <a:gd name="connsiteY39" fmla="*/ 11097 h 68043"/>
                <a:gd name="connsiteX40" fmla="*/ 81335 w 138891"/>
                <a:gd name="connsiteY40" fmla="*/ 12316 h 68043"/>
                <a:gd name="connsiteX41" fmla="*/ 72555 w 138891"/>
                <a:gd name="connsiteY41" fmla="*/ 18779 h 68043"/>
                <a:gd name="connsiteX42" fmla="*/ 74628 w 138891"/>
                <a:gd name="connsiteY42" fmla="*/ 28047 h 68043"/>
                <a:gd name="connsiteX43" fmla="*/ 75238 w 138891"/>
                <a:gd name="connsiteY43" fmla="*/ 30973 h 68043"/>
                <a:gd name="connsiteX44" fmla="*/ 73409 w 138891"/>
                <a:gd name="connsiteY44" fmla="*/ 33168 h 68043"/>
                <a:gd name="connsiteX45" fmla="*/ 69141 w 138891"/>
                <a:gd name="connsiteY45" fmla="*/ 38534 h 68043"/>
                <a:gd name="connsiteX46" fmla="*/ 66824 w 138891"/>
                <a:gd name="connsiteY46" fmla="*/ 41460 h 68043"/>
                <a:gd name="connsiteX47" fmla="*/ 63166 w 138891"/>
                <a:gd name="connsiteY47" fmla="*/ 40728 h 68043"/>
                <a:gd name="connsiteX48" fmla="*/ 51703 w 138891"/>
                <a:gd name="connsiteY48" fmla="*/ 38412 h 68043"/>
                <a:gd name="connsiteX49" fmla="*/ 40484 w 138891"/>
                <a:gd name="connsiteY49" fmla="*/ 44631 h 68043"/>
                <a:gd name="connsiteX50" fmla="*/ 39631 w 138891"/>
                <a:gd name="connsiteY50" fmla="*/ 45118 h 68043"/>
                <a:gd name="connsiteX51" fmla="*/ 38777 w 138891"/>
                <a:gd name="connsiteY51" fmla="*/ 45240 h 68043"/>
                <a:gd name="connsiteX52" fmla="*/ 28168 w 138891"/>
                <a:gd name="connsiteY52" fmla="*/ 47313 h 68043"/>
                <a:gd name="connsiteX53" fmla="*/ 18047 w 138891"/>
                <a:gd name="connsiteY53" fmla="*/ 49386 h 68043"/>
                <a:gd name="connsiteX54" fmla="*/ 17194 w 138891"/>
                <a:gd name="connsiteY54" fmla="*/ 49508 h 68043"/>
                <a:gd name="connsiteX55" fmla="*/ 16340 w 138891"/>
                <a:gd name="connsiteY55" fmla="*/ 49508 h 68043"/>
                <a:gd name="connsiteX56" fmla="*/ 1707 w 138891"/>
                <a:gd name="connsiteY56" fmla="*/ 48289 h 68043"/>
                <a:gd name="connsiteX57" fmla="*/ 1341 w 138891"/>
                <a:gd name="connsiteY57" fmla="*/ 48533 h 68043"/>
                <a:gd name="connsiteX58" fmla="*/ 1341 w 138891"/>
                <a:gd name="connsiteY58" fmla="*/ 48533 h 68043"/>
                <a:gd name="connsiteX59" fmla="*/ 610 w 138891"/>
                <a:gd name="connsiteY59" fmla="*/ 49386 h 68043"/>
                <a:gd name="connsiteX60" fmla="*/ 0 w 138891"/>
                <a:gd name="connsiteY60" fmla="*/ 49996 h 68043"/>
                <a:gd name="connsiteX61" fmla="*/ 244 w 138891"/>
                <a:gd name="connsiteY61" fmla="*/ 53045 h 68043"/>
                <a:gd name="connsiteX62" fmla="*/ 1341 w 138891"/>
                <a:gd name="connsiteY62" fmla="*/ 55118 h 68043"/>
                <a:gd name="connsiteX63" fmla="*/ 3049 w 138891"/>
                <a:gd name="connsiteY63" fmla="*/ 55727 h 68043"/>
                <a:gd name="connsiteX64" fmla="*/ 9146 w 138891"/>
                <a:gd name="connsiteY64" fmla="*/ 58044 h 68043"/>
                <a:gd name="connsiteX65" fmla="*/ 10609 w 138891"/>
                <a:gd name="connsiteY65" fmla="*/ 58532 h 6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38891" h="68043">
                  <a:moveTo>
                    <a:pt x="10609" y="58532"/>
                  </a:moveTo>
                  <a:lnTo>
                    <a:pt x="28412" y="58532"/>
                  </a:lnTo>
                  <a:lnTo>
                    <a:pt x="33778" y="54264"/>
                  </a:lnTo>
                  <a:lnTo>
                    <a:pt x="35485" y="52923"/>
                  </a:lnTo>
                  <a:lnTo>
                    <a:pt x="46094" y="52923"/>
                  </a:lnTo>
                  <a:lnTo>
                    <a:pt x="48533" y="53167"/>
                  </a:lnTo>
                  <a:lnTo>
                    <a:pt x="50118" y="54386"/>
                  </a:lnTo>
                  <a:lnTo>
                    <a:pt x="53776" y="57069"/>
                  </a:lnTo>
                  <a:lnTo>
                    <a:pt x="60117" y="57069"/>
                  </a:lnTo>
                  <a:lnTo>
                    <a:pt x="61092" y="57434"/>
                  </a:lnTo>
                  <a:lnTo>
                    <a:pt x="61702" y="57556"/>
                  </a:lnTo>
                  <a:lnTo>
                    <a:pt x="74018" y="61459"/>
                  </a:lnTo>
                  <a:lnTo>
                    <a:pt x="74018" y="60849"/>
                  </a:lnTo>
                  <a:lnTo>
                    <a:pt x="79384" y="63044"/>
                  </a:lnTo>
                  <a:lnTo>
                    <a:pt x="81945" y="63897"/>
                  </a:lnTo>
                  <a:lnTo>
                    <a:pt x="81945" y="64141"/>
                  </a:lnTo>
                  <a:lnTo>
                    <a:pt x="82432" y="64263"/>
                  </a:lnTo>
                  <a:lnTo>
                    <a:pt x="91822" y="68043"/>
                  </a:lnTo>
                  <a:lnTo>
                    <a:pt x="111211" y="56459"/>
                  </a:lnTo>
                  <a:lnTo>
                    <a:pt x="111942" y="55971"/>
                  </a:lnTo>
                  <a:lnTo>
                    <a:pt x="112796" y="55727"/>
                  </a:lnTo>
                  <a:lnTo>
                    <a:pt x="127917" y="51947"/>
                  </a:lnTo>
                  <a:lnTo>
                    <a:pt x="127917" y="51947"/>
                  </a:lnTo>
                  <a:lnTo>
                    <a:pt x="130599" y="47435"/>
                  </a:lnTo>
                  <a:lnTo>
                    <a:pt x="129502" y="37436"/>
                  </a:lnTo>
                  <a:lnTo>
                    <a:pt x="129014" y="33412"/>
                  </a:lnTo>
                  <a:lnTo>
                    <a:pt x="132550" y="31461"/>
                  </a:lnTo>
                  <a:lnTo>
                    <a:pt x="138891" y="27803"/>
                  </a:lnTo>
                  <a:lnTo>
                    <a:pt x="137916" y="20608"/>
                  </a:lnTo>
                  <a:lnTo>
                    <a:pt x="137916" y="20120"/>
                  </a:lnTo>
                  <a:lnTo>
                    <a:pt x="134380" y="19876"/>
                  </a:lnTo>
                  <a:lnTo>
                    <a:pt x="130356" y="19511"/>
                  </a:lnTo>
                  <a:lnTo>
                    <a:pt x="129136" y="15730"/>
                  </a:lnTo>
                  <a:lnTo>
                    <a:pt x="126209" y="7073"/>
                  </a:lnTo>
                  <a:lnTo>
                    <a:pt x="125843" y="6097"/>
                  </a:lnTo>
                  <a:lnTo>
                    <a:pt x="110235" y="0"/>
                  </a:lnTo>
                  <a:lnTo>
                    <a:pt x="85237" y="3780"/>
                  </a:lnTo>
                  <a:lnTo>
                    <a:pt x="84505" y="5975"/>
                  </a:lnTo>
                  <a:lnTo>
                    <a:pt x="83408" y="9268"/>
                  </a:lnTo>
                  <a:lnTo>
                    <a:pt x="82798" y="11097"/>
                  </a:lnTo>
                  <a:lnTo>
                    <a:pt x="81335" y="12316"/>
                  </a:lnTo>
                  <a:lnTo>
                    <a:pt x="72555" y="18779"/>
                  </a:lnTo>
                  <a:lnTo>
                    <a:pt x="74628" y="28047"/>
                  </a:lnTo>
                  <a:lnTo>
                    <a:pt x="75238" y="30973"/>
                  </a:lnTo>
                  <a:lnTo>
                    <a:pt x="73409" y="33168"/>
                  </a:lnTo>
                  <a:lnTo>
                    <a:pt x="69141" y="38534"/>
                  </a:lnTo>
                  <a:lnTo>
                    <a:pt x="66824" y="41460"/>
                  </a:lnTo>
                  <a:lnTo>
                    <a:pt x="63166" y="40728"/>
                  </a:lnTo>
                  <a:lnTo>
                    <a:pt x="51703" y="38412"/>
                  </a:lnTo>
                  <a:lnTo>
                    <a:pt x="40484" y="44631"/>
                  </a:lnTo>
                  <a:lnTo>
                    <a:pt x="39631" y="45118"/>
                  </a:lnTo>
                  <a:lnTo>
                    <a:pt x="38777" y="45240"/>
                  </a:lnTo>
                  <a:lnTo>
                    <a:pt x="28168" y="47313"/>
                  </a:lnTo>
                  <a:lnTo>
                    <a:pt x="18047" y="49386"/>
                  </a:lnTo>
                  <a:lnTo>
                    <a:pt x="17194" y="49508"/>
                  </a:lnTo>
                  <a:lnTo>
                    <a:pt x="16340" y="49508"/>
                  </a:lnTo>
                  <a:lnTo>
                    <a:pt x="1707" y="48289"/>
                  </a:lnTo>
                  <a:lnTo>
                    <a:pt x="1341" y="48533"/>
                  </a:lnTo>
                  <a:lnTo>
                    <a:pt x="1341" y="48533"/>
                  </a:lnTo>
                  <a:lnTo>
                    <a:pt x="610" y="49386"/>
                  </a:lnTo>
                  <a:lnTo>
                    <a:pt x="0" y="49996"/>
                  </a:lnTo>
                  <a:lnTo>
                    <a:pt x="244" y="53045"/>
                  </a:lnTo>
                  <a:lnTo>
                    <a:pt x="1341" y="55118"/>
                  </a:lnTo>
                  <a:lnTo>
                    <a:pt x="3049" y="55727"/>
                  </a:lnTo>
                  <a:lnTo>
                    <a:pt x="9146" y="58044"/>
                  </a:lnTo>
                  <a:lnTo>
                    <a:pt x="10609" y="5853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5" name="Freihandform: Form 874">
              <a:extLst>
                <a:ext uri="{FF2B5EF4-FFF2-40B4-BE49-F238E27FC236}">
                  <a16:creationId xmlns:a16="http://schemas.microsoft.com/office/drawing/2014/main" id="{8A5D2258-A80A-4C47-A5BD-38006EF05797}"/>
                </a:ext>
              </a:extLst>
            </p:cNvPr>
            <p:cNvSpPr/>
            <p:nvPr/>
          </p:nvSpPr>
          <p:spPr>
            <a:xfrm>
              <a:off x="4946604" y="2520315"/>
              <a:ext cx="45971" cy="35972"/>
            </a:xfrm>
            <a:custGeom>
              <a:avLst/>
              <a:gdLst>
                <a:gd name="connsiteX0" fmla="*/ 23169 w 45971"/>
                <a:gd name="connsiteY0" fmla="*/ 1951 h 35972"/>
                <a:gd name="connsiteX1" fmla="*/ 12926 w 45971"/>
                <a:gd name="connsiteY1" fmla="*/ 0 h 35972"/>
                <a:gd name="connsiteX2" fmla="*/ 6341 w 45971"/>
                <a:gd name="connsiteY2" fmla="*/ 2195 h 35972"/>
                <a:gd name="connsiteX3" fmla="*/ 9633 w 45971"/>
                <a:gd name="connsiteY3" fmla="*/ 6951 h 35972"/>
                <a:gd name="connsiteX4" fmla="*/ 11340 w 45971"/>
                <a:gd name="connsiteY4" fmla="*/ 9267 h 35972"/>
                <a:gd name="connsiteX5" fmla="*/ 10609 w 45971"/>
                <a:gd name="connsiteY5" fmla="*/ 12072 h 35972"/>
                <a:gd name="connsiteX6" fmla="*/ 8170 w 45971"/>
                <a:gd name="connsiteY6" fmla="*/ 21949 h 35972"/>
                <a:gd name="connsiteX7" fmla="*/ 7804 w 45971"/>
                <a:gd name="connsiteY7" fmla="*/ 23291 h 35972"/>
                <a:gd name="connsiteX8" fmla="*/ 6951 w 45971"/>
                <a:gd name="connsiteY8" fmla="*/ 24266 h 35972"/>
                <a:gd name="connsiteX9" fmla="*/ 2926 w 45971"/>
                <a:gd name="connsiteY9" fmla="*/ 29266 h 35972"/>
                <a:gd name="connsiteX10" fmla="*/ 0 w 45971"/>
                <a:gd name="connsiteY10" fmla="*/ 32924 h 35972"/>
                <a:gd name="connsiteX11" fmla="*/ 3414 w 45971"/>
                <a:gd name="connsiteY11" fmla="*/ 34266 h 35972"/>
                <a:gd name="connsiteX12" fmla="*/ 3414 w 45971"/>
                <a:gd name="connsiteY12" fmla="*/ 34266 h 35972"/>
                <a:gd name="connsiteX13" fmla="*/ 3414 w 45971"/>
                <a:gd name="connsiteY13" fmla="*/ 34266 h 35972"/>
                <a:gd name="connsiteX14" fmla="*/ 1951 w 45971"/>
                <a:gd name="connsiteY14" fmla="*/ 35973 h 35972"/>
                <a:gd name="connsiteX15" fmla="*/ 4512 w 45971"/>
                <a:gd name="connsiteY15" fmla="*/ 33168 h 35972"/>
                <a:gd name="connsiteX16" fmla="*/ 19267 w 45971"/>
                <a:gd name="connsiteY16" fmla="*/ 30485 h 35972"/>
                <a:gd name="connsiteX17" fmla="*/ 22315 w 45971"/>
                <a:gd name="connsiteY17" fmla="*/ 23291 h 35972"/>
                <a:gd name="connsiteX18" fmla="*/ 22315 w 45971"/>
                <a:gd name="connsiteY18" fmla="*/ 23291 h 35972"/>
                <a:gd name="connsiteX19" fmla="*/ 24023 w 45971"/>
                <a:gd name="connsiteY19" fmla="*/ 23657 h 35972"/>
                <a:gd name="connsiteX20" fmla="*/ 35973 w 45971"/>
                <a:gd name="connsiteY20" fmla="*/ 25486 h 35972"/>
                <a:gd name="connsiteX21" fmla="*/ 45362 w 45971"/>
                <a:gd name="connsiteY21" fmla="*/ 25486 h 35972"/>
                <a:gd name="connsiteX22" fmla="*/ 45972 w 45971"/>
                <a:gd name="connsiteY22" fmla="*/ 20852 h 35972"/>
                <a:gd name="connsiteX23" fmla="*/ 26949 w 45971"/>
                <a:gd name="connsiteY23" fmla="*/ 2561 h 35972"/>
                <a:gd name="connsiteX24" fmla="*/ 23169 w 45971"/>
                <a:gd name="connsiteY24" fmla="*/ 1951 h 35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971" h="35972">
                  <a:moveTo>
                    <a:pt x="23169" y="1951"/>
                  </a:moveTo>
                  <a:lnTo>
                    <a:pt x="12926" y="0"/>
                  </a:lnTo>
                  <a:lnTo>
                    <a:pt x="6341" y="2195"/>
                  </a:lnTo>
                  <a:lnTo>
                    <a:pt x="9633" y="6951"/>
                  </a:lnTo>
                  <a:lnTo>
                    <a:pt x="11340" y="9267"/>
                  </a:lnTo>
                  <a:lnTo>
                    <a:pt x="10609" y="12072"/>
                  </a:lnTo>
                  <a:lnTo>
                    <a:pt x="8170" y="21949"/>
                  </a:lnTo>
                  <a:lnTo>
                    <a:pt x="7804" y="23291"/>
                  </a:lnTo>
                  <a:lnTo>
                    <a:pt x="6951" y="24266"/>
                  </a:lnTo>
                  <a:lnTo>
                    <a:pt x="2926" y="29266"/>
                  </a:lnTo>
                  <a:lnTo>
                    <a:pt x="0" y="32924"/>
                  </a:lnTo>
                  <a:lnTo>
                    <a:pt x="3414" y="34266"/>
                  </a:lnTo>
                  <a:lnTo>
                    <a:pt x="3414" y="34266"/>
                  </a:lnTo>
                  <a:lnTo>
                    <a:pt x="3414" y="34266"/>
                  </a:lnTo>
                  <a:lnTo>
                    <a:pt x="1951" y="35973"/>
                  </a:lnTo>
                  <a:lnTo>
                    <a:pt x="4512" y="33168"/>
                  </a:lnTo>
                  <a:lnTo>
                    <a:pt x="19267" y="30485"/>
                  </a:lnTo>
                  <a:lnTo>
                    <a:pt x="22315" y="23291"/>
                  </a:lnTo>
                  <a:lnTo>
                    <a:pt x="22315" y="23291"/>
                  </a:lnTo>
                  <a:lnTo>
                    <a:pt x="24023" y="23657"/>
                  </a:lnTo>
                  <a:lnTo>
                    <a:pt x="35973" y="25486"/>
                  </a:lnTo>
                  <a:lnTo>
                    <a:pt x="45362" y="25486"/>
                  </a:lnTo>
                  <a:lnTo>
                    <a:pt x="45972" y="20852"/>
                  </a:lnTo>
                  <a:lnTo>
                    <a:pt x="26949" y="2561"/>
                  </a:lnTo>
                  <a:lnTo>
                    <a:pt x="23169" y="195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6" name="Freihandform: Form 875">
              <a:extLst>
                <a:ext uri="{FF2B5EF4-FFF2-40B4-BE49-F238E27FC236}">
                  <a16:creationId xmlns:a16="http://schemas.microsoft.com/office/drawing/2014/main" id="{4A786CF8-4AE2-4EEC-AE51-15806A1D6C11}"/>
                </a:ext>
              </a:extLst>
            </p:cNvPr>
            <p:cNvSpPr/>
            <p:nvPr/>
          </p:nvSpPr>
          <p:spPr>
            <a:xfrm>
              <a:off x="4838808" y="2507024"/>
              <a:ext cx="40972" cy="36460"/>
            </a:xfrm>
            <a:custGeom>
              <a:avLst/>
              <a:gdLst>
                <a:gd name="connsiteX0" fmla="*/ 39997 w 40972"/>
                <a:gd name="connsiteY0" fmla="*/ 14633 h 36460"/>
                <a:gd name="connsiteX1" fmla="*/ 34388 w 40972"/>
                <a:gd name="connsiteY1" fmla="*/ 0 h 36460"/>
                <a:gd name="connsiteX2" fmla="*/ 24998 w 40972"/>
                <a:gd name="connsiteY2" fmla="*/ 3171 h 36460"/>
                <a:gd name="connsiteX3" fmla="*/ 17438 w 40972"/>
                <a:gd name="connsiteY3" fmla="*/ 5609 h 36460"/>
                <a:gd name="connsiteX4" fmla="*/ 11097 w 40972"/>
                <a:gd name="connsiteY4" fmla="*/ 9755 h 36460"/>
                <a:gd name="connsiteX5" fmla="*/ 3902 w 40972"/>
                <a:gd name="connsiteY5" fmla="*/ 14267 h 36460"/>
                <a:gd name="connsiteX6" fmla="*/ 3292 w 40972"/>
                <a:gd name="connsiteY6" fmla="*/ 14633 h 36460"/>
                <a:gd name="connsiteX7" fmla="*/ 0 w 40972"/>
                <a:gd name="connsiteY7" fmla="*/ 25852 h 36460"/>
                <a:gd name="connsiteX8" fmla="*/ 5243 w 40972"/>
                <a:gd name="connsiteY8" fmla="*/ 36461 h 36460"/>
                <a:gd name="connsiteX9" fmla="*/ 24998 w 40972"/>
                <a:gd name="connsiteY9" fmla="*/ 36461 h 36460"/>
                <a:gd name="connsiteX10" fmla="*/ 26217 w 40972"/>
                <a:gd name="connsiteY10" fmla="*/ 34997 h 36460"/>
                <a:gd name="connsiteX11" fmla="*/ 31705 w 40972"/>
                <a:gd name="connsiteY11" fmla="*/ 28656 h 36460"/>
                <a:gd name="connsiteX12" fmla="*/ 33534 w 40972"/>
                <a:gd name="connsiteY12" fmla="*/ 26461 h 36460"/>
                <a:gd name="connsiteX13" fmla="*/ 40972 w 40972"/>
                <a:gd name="connsiteY13" fmla="*/ 26461 h 36460"/>
                <a:gd name="connsiteX14" fmla="*/ 40241 w 40972"/>
                <a:gd name="connsiteY14" fmla="*/ 16828 h 36460"/>
                <a:gd name="connsiteX15" fmla="*/ 39997 w 40972"/>
                <a:gd name="connsiteY15" fmla="*/ 14633 h 36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972" h="36460">
                  <a:moveTo>
                    <a:pt x="39997" y="14633"/>
                  </a:moveTo>
                  <a:lnTo>
                    <a:pt x="34388" y="0"/>
                  </a:lnTo>
                  <a:lnTo>
                    <a:pt x="24998" y="3171"/>
                  </a:lnTo>
                  <a:lnTo>
                    <a:pt x="17438" y="5609"/>
                  </a:lnTo>
                  <a:lnTo>
                    <a:pt x="11097" y="9755"/>
                  </a:lnTo>
                  <a:lnTo>
                    <a:pt x="3902" y="14267"/>
                  </a:lnTo>
                  <a:lnTo>
                    <a:pt x="3292" y="14633"/>
                  </a:lnTo>
                  <a:lnTo>
                    <a:pt x="0" y="25852"/>
                  </a:lnTo>
                  <a:lnTo>
                    <a:pt x="5243" y="36461"/>
                  </a:lnTo>
                  <a:lnTo>
                    <a:pt x="24998" y="36461"/>
                  </a:lnTo>
                  <a:lnTo>
                    <a:pt x="26217" y="34997"/>
                  </a:lnTo>
                  <a:lnTo>
                    <a:pt x="31705" y="28656"/>
                  </a:lnTo>
                  <a:lnTo>
                    <a:pt x="33534" y="26461"/>
                  </a:lnTo>
                  <a:lnTo>
                    <a:pt x="40972" y="26461"/>
                  </a:lnTo>
                  <a:lnTo>
                    <a:pt x="40241" y="16828"/>
                  </a:lnTo>
                  <a:lnTo>
                    <a:pt x="39997" y="146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7" name="Freihandform: Form 876">
              <a:extLst>
                <a:ext uri="{FF2B5EF4-FFF2-40B4-BE49-F238E27FC236}">
                  <a16:creationId xmlns:a16="http://schemas.microsoft.com/office/drawing/2014/main" id="{7CB1A4B0-3B6E-4D3E-9F26-AF93A8324E8D}"/>
                </a:ext>
              </a:extLst>
            </p:cNvPr>
            <p:cNvSpPr/>
            <p:nvPr/>
          </p:nvSpPr>
          <p:spPr>
            <a:xfrm>
              <a:off x="4877585" y="2463491"/>
              <a:ext cx="107186" cy="69872"/>
            </a:xfrm>
            <a:custGeom>
              <a:avLst/>
              <a:gdLst>
                <a:gd name="connsiteX0" fmla="*/ 67800 w 107186"/>
                <a:gd name="connsiteY0" fmla="*/ 48533 h 69872"/>
                <a:gd name="connsiteX1" fmla="*/ 70482 w 107186"/>
                <a:gd name="connsiteY1" fmla="*/ 52313 h 69872"/>
                <a:gd name="connsiteX2" fmla="*/ 79994 w 107186"/>
                <a:gd name="connsiteY2" fmla="*/ 49142 h 69872"/>
                <a:gd name="connsiteX3" fmla="*/ 81457 w 107186"/>
                <a:gd name="connsiteY3" fmla="*/ 48655 h 69872"/>
                <a:gd name="connsiteX4" fmla="*/ 82920 w 107186"/>
                <a:gd name="connsiteY4" fmla="*/ 48899 h 69872"/>
                <a:gd name="connsiteX5" fmla="*/ 94139 w 107186"/>
                <a:gd name="connsiteY5" fmla="*/ 50972 h 69872"/>
                <a:gd name="connsiteX6" fmla="*/ 97065 w 107186"/>
                <a:gd name="connsiteY6" fmla="*/ 45118 h 69872"/>
                <a:gd name="connsiteX7" fmla="*/ 98041 w 107186"/>
                <a:gd name="connsiteY7" fmla="*/ 22803 h 69872"/>
                <a:gd name="connsiteX8" fmla="*/ 106577 w 107186"/>
                <a:gd name="connsiteY8" fmla="*/ 17072 h 69872"/>
                <a:gd name="connsiteX9" fmla="*/ 107187 w 107186"/>
                <a:gd name="connsiteY9" fmla="*/ 10243 h 69872"/>
                <a:gd name="connsiteX10" fmla="*/ 105845 w 107186"/>
                <a:gd name="connsiteY10" fmla="*/ 9633 h 69872"/>
                <a:gd name="connsiteX11" fmla="*/ 82920 w 107186"/>
                <a:gd name="connsiteY11" fmla="*/ 244 h 69872"/>
                <a:gd name="connsiteX12" fmla="*/ 82311 w 107186"/>
                <a:gd name="connsiteY12" fmla="*/ 0 h 69872"/>
                <a:gd name="connsiteX13" fmla="*/ 74507 w 107186"/>
                <a:gd name="connsiteY13" fmla="*/ 0 h 69872"/>
                <a:gd name="connsiteX14" fmla="*/ 68165 w 107186"/>
                <a:gd name="connsiteY14" fmla="*/ 4634 h 69872"/>
                <a:gd name="connsiteX15" fmla="*/ 60361 w 107186"/>
                <a:gd name="connsiteY15" fmla="*/ 10243 h 69872"/>
                <a:gd name="connsiteX16" fmla="*/ 59142 w 107186"/>
                <a:gd name="connsiteY16" fmla="*/ 11219 h 69872"/>
                <a:gd name="connsiteX17" fmla="*/ 57556 w 107186"/>
                <a:gd name="connsiteY17" fmla="*/ 11341 h 69872"/>
                <a:gd name="connsiteX18" fmla="*/ 37314 w 107186"/>
                <a:gd name="connsiteY18" fmla="*/ 14145 h 69872"/>
                <a:gd name="connsiteX19" fmla="*/ 36095 w 107186"/>
                <a:gd name="connsiteY19" fmla="*/ 14267 h 69872"/>
                <a:gd name="connsiteX20" fmla="*/ 34875 w 107186"/>
                <a:gd name="connsiteY20" fmla="*/ 13901 h 69872"/>
                <a:gd name="connsiteX21" fmla="*/ 14389 w 107186"/>
                <a:gd name="connsiteY21" fmla="*/ 8536 h 69872"/>
                <a:gd name="connsiteX22" fmla="*/ 13414 w 107186"/>
                <a:gd name="connsiteY22" fmla="*/ 8170 h 69872"/>
                <a:gd name="connsiteX23" fmla="*/ 12560 w 107186"/>
                <a:gd name="connsiteY23" fmla="*/ 7682 h 69872"/>
                <a:gd name="connsiteX24" fmla="*/ 4634 w 107186"/>
                <a:gd name="connsiteY24" fmla="*/ 2439 h 69872"/>
                <a:gd name="connsiteX25" fmla="*/ 3780 w 107186"/>
                <a:gd name="connsiteY25" fmla="*/ 1829 h 69872"/>
                <a:gd name="connsiteX26" fmla="*/ 0 w 107186"/>
                <a:gd name="connsiteY26" fmla="*/ 9389 h 69872"/>
                <a:gd name="connsiteX27" fmla="*/ 8292 w 107186"/>
                <a:gd name="connsiteY27" fmla="*/ 17682 h 69872"/>
                <a:gd name="connsiteX28" fmla="*/ 11340 w 107186"/>
                <a:gd name="connsiteY28" fmla="*/ 20730 h 69872"/>
                <a:gd name="connsiteX29" fmla="*/ 9389 w 107186"/>
                <a:gd name="connsiteY29" fmla="*/ 24754 h 69872"/>
                <a:gd name="connsiteX30" fmla="*/ 2317 w 107186"/>
                <a:gd name="connsiteY30" fmla="*/ 38777 h 69872"/>
                <a:gd name="connsiteX31" fmla="*/ 2439 w 107186"/>
                <a:gd name="connsiteY31" fmla="*/ 39021 h 69872"/>
                <a:gd name="connsiteX32" fmla="*/ 8658 w 107186"/>
                <a:gd name="connsiteY32" fmla="*/ 55240 h 69872"/>
                <a:gd name="connsiteX33" fmla="*/ 9024 w 107186"/>
                <a:gd name="connsiteY33" fmla="*/ 56093 h 69872"/>
                <a:gd name="connsiteX34" fmla="*/ 9146 w 107186"/>
                <a:gd name="connsiteY34" fmla="*/ 56947 h 69872"/>
                <a:gd name="connsiteX35" fmla="*/ 9389 w 107186"/>
                <a:gd name="connsiteY35" fmla="*/ 59995 h 69872"/>
                <a:gd name="connsiteX36" fmla="*/ 10121 w 107186"/>
                <a:gd name="connsiteY36" fmla="*/ 68653 h 69872"/>
                <a:gd name="connsiteX37" fmla="*/ 17682 w 107186"/>
                <a:gd name="connsiteY37" fmla="*/ 66092 h 69872"/>
                <a:gd name="connsiteX38" fmla="*/ 27071 w 107186"/>
                <a:gd name="connsiteY38" fmla="*/ 62068 h 69872"/>
                <a:gd name="connsiteX39" fmla="*/ 28778 w 107186"/>
                <a:gd name="connsiteY39" fmla="*/ 61337 h 69872"/>
                <a:gd name="connsiteX40" fmla="*/ 30607 w 107186"/>
                <a:gd name="connsiteY40" fmla="*/ 61702 h 69872"/>
                <a:gd name="connsiteX41" fmla="*/ 43899 w 107186"/>
                <a:gd name="connsiteY41" fmla="*/ 64385 h 69872"/>
                <a:gd name="connsiteX42" fmla="*/ 44874 w 107186"/>
                <a:gd name="connsiteY42" fmla="*/ 64507 h 69872"/>
                <a:gd name="connsiteX43" fmla="*/ 45728 w 107186"/>
                <a:gd name="connsiteY43" fmla="*/ 64995 h 69872"/>
                <a:gd name="connsiteX44" fmla="*/ 54142 w 107186"/>
                <a:gd name="connsiteY44" fmla="*/ 69873 h 69872"/>
                <a:gd name="connsiteX45" fmla="*/ 60361 w 107186"/>
                <a:gd name="connsiteY45" fmla="*/ 69019 h 69872"/>
                <a:gd name="connsiteX46" fmla="*/ 63776 w 107186"/>
                <a:gd name="connsiteY46" fmla="*/ 59386 h 69872"/>
                <a:gd name="connsiteX47" fmla="*/ 64507 w 107186"/>
                <a:gd name="connsiteY47" fmla="*/ 57556 h 69872"/>
                <a:gd name="connsiteX48" fmla="*/ 62556 w 107186"/>
                <a:gd name="connsiteY48" fmla="*/ 54874 h 69872"/>
                <a:gd name="connsiteX49" fmla="*/ 65848 w 107186"/>
                <a:gd name="connsiteY49" fmla="*/ 53776 h 69872"/>
                <a:gd name="connsiteX50" fmla="*/ 67800 w 107186"/>
                <a:gd name="connsiteY50" fmla="*/ 48533 h 6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07186" h="69872">
                  <a:moveTo>
                    <a:pt x="67800" y="48533"/>
                  </a:moveTo>
                  <a:lnTo>
                    <a:pt x="70482" y="52313"/>
                  </a:lnTo>
                  <a:lnTo>
                    <a:pt x="79994" y="49142"/>
                  </a:lnTo>
                  <a:lnTo>
                    <a:pt x="81457" y="48655"/>
                  </a:lnTo>
                  <a:lnTo>
                    <a:pt x="82920" y="48899"/>
                  </a:lnTo>
                  <a:lnTo>
                    <a:pt x="94139" y="50972"/>
                  </a:lnTo>
                  <a:lnTo>
                    <a:pt x="97065" y="45118"/>
                  </a:lnTo>
                  <a:lnTo>
                    <a:pt x="98041" y="22803"/>
                  </a:lnTo>
                  <a:lnTo>
                    <a:pt x="106577" y="17072"/>
                  </a:lnTo>
                  <a:lnTo>
                    <a:pt x="107187" y="10243"/>
                  </a:lnTo>
                  <a:lnTo>
                    <a:pt x="105845" y="9633"/>
                  </a:lnTo>
                  <a:lnTo>
                    <a:pt x="82920" y="244"/>
                  </a:lnTo>
                  <a:lnTo>
                    <a:pt x="82311" y="0"/>
                  </a:lnTo>
                  <a:lnTo>
                    <a:pt x="74507" y="0"/>
                  </a:lnTo>
                  <a:lnTo>
                    <a:pt x="68165" y="4634"/>
                  </a:lnTo>
                  <a:lnTo>
                    <a:pt x="60361" y="10243"/>
                  </a:lnTo>
                  <a:lnTo>
                    <a:pt x="59142" y="11219"/>
                  </a:lnTo>
                  <a:lnTo>
                    <a:pt x="57556" y="11341"/>
                  </a:lnTo>
                  <a:lnTo>
                    <a:pt x="37314" y="14145"/>
                  </a:lnTo>
                  <a:lnTo>
                    <a:pt x="36095" y="14267"/>
                  </a:lnTo>
                  <a:lnTo>
                    <a:pt x="34875" y="13901"/>
                  </a:lnTo>
                  <a:lnTo>
                    <a:pt x="14389" y="8536"/>
                  </a:lnTo>
                  <a:lnTo>
                    <a:pt x="13414" y="8170"/>
                  </a:lnTo>
                  <a:lnTo>
                    <a:pt x="12560" y="7682"/>
                  </a:lnTo>
                  <a:lnTo>
                    <a:pt x="4634" y="2439"/>
                  </a:lnTo>
                  <a:lnTo>
                    <a:pt x="3780" y="1829"/>
                  </a:lnTo>
                  <a:lnTo>
                    <a:pt x="0" y="9389"/>
                  </a:lnTo>
                  <a:lnTo>
                    <a:pt x="8292" y="17682"/>
                  </a:lnTo>
                  <a:lnTo>
                    <a:pt x="11340" y="20730"/>
                  </a:lnTo>
                  <a:lnTo>
                    <a:pt x="9389" y="24754"/>
                  </a:lnTo>
                  <a:lnTo>
                    <a:pt x="2317" y="38777"/>
                  </a:lnTo>
                  <a:lnTo>
                    <a:pt x="2439" y="39021"/>
                  </a:lnTo>
                  <a:lnTo>
                    <a:pt x="8658" y="55240"/>
                  </a:lnTo>
                  <a:lnTo>
                    <a:pt x="9024" y="56093"/>
                  </a:lnTo>
                  <a:lnTo>
                    <a:pt x="9146" y="56947"/>
                  </a:lnTo>
                  <a:lnTo>
                    <a:pt x="9389" y="59995"/>
                  </a:lnTo>
                  <a:lnTo>
                    <a:pt x="10121" y="68653"/>
                  </a:lnTo>
                  <a:lnTo>
                    <a:pt x="17682" y="66092"/>
                  </a:lnTo>
                  <a:lnTo>
                    <a:pt x="27071" y="62068"/>
                  </a:lnTo>
                  <a:lnTo>
                    <a:pt x="28778" y="61337"/>
                  </a:lnTo>
                  <a:lnTo>
                    <a:pt x="30607" y="61702"/>
                  </a:lnTo>
                  <a:lnTo>
                    <a:pt x="43899" y="64385"/>
                  </a:lnTo>
                  <a:lnTo>
                    <a:pt x="44874" y="64507"/>
                  </a:lnTo>
                  <a:lnTo>
                    <a:pt x="45728" y="64995"/>
                  </a:lnTo>
                  <a:lnTo>
                    <a:pt x="54142" y="69873"/>
                  </a:lnTo>
                  <a:lnTo>
                    <a:pt x="60361" y="69019"/>
                  </a:lnTo>
                  <a:lnTo>
                    <a:pt x="63776" y="59386"/>
                  </a:lnTo>
                  <a:lnTo>
                    <a:pt x="64507" y="57556"/>
                  </a:lnTo>
                  <a:lnTo>
                    <a:pt x="62556" y="54874"/>
                  </a:lnTo>
                  <a:lnTo>
                    <a:pt x="65848" y="53776"/>
                  </a:lnTo>
                  <a:lnTo>
                    <a:pt x="67800" y="485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8" name="Freihandform: Form 877">
              <a:extLst>
                <a:ext uri="{FF2B5EF4-FFF2-40B4-BE49-F238E27FC236}">
                  <a16:creationId xmlns:a16="http://schemas.microsoft.com/office/drawing/2014/main" id="{16896097-9512-405E-940B-EC22E7598DB5}"/>
                </a:ext>
              </a:extLst>
            </p:cNvPr>
            <p:cNvSpPr/>
            <p:nvPr/>
          </p:nvSpPr>
          <p:spPr>
            <a:xfrm>
              <a:off x="4795031" y="1542953"/>
              <a:ext cx="10486" cy="1951"/>
            </a:xfrm>
            <a:custGeom>
              <a:avLst/>
              <a:gdLst>
                <a:gd name="connsiteX0" fmla="*/ 10487 w 10486"/>
                <a:gd name="connsiteY0" fmla="*/ 1097 h 1951"/>
                <a:gd name="connsiteX1" fmla="*/ 10121 w 10486"/>
                <a:gd name="connsiteY1" fmla="*/ 0 h 1951"/>
                <a:gd name="connsiteX2" fmla="*/ 1219 w 10486"/>
                <a:gd name="connsiteY2" fmla="*/ 0 h 1951"/>
                <a:gd name="connsiteX3" fmla="*/ 0 w 10486"/>
                <a:gd name="connsiteY3" fmla="*/ 1463 h 1951"/>
                <a:gd name="connsiteX4" fmla="*/ 366 w 10486"/>
                <a:gd name="connsiteY4" fmla="*/ 1951 h 1951"/>
                <a:gd name="connsiteX5" fmla="*/ 10487 w 10486"/>
                <a:gd name="connsiteY5" fmla="*/ 1097 h 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86" h="1951">
                  <a:moveTo>
                    <a:pt x="10487" y="1097"/>
                  </a:moveTo>
                  <a:lnTo>
                    <a:pt x="10121" y="0"/>
                  </a:lnTo>
                  <a:lnTo>
                    <a:pt x="1219" y="0"/>
                  </a:lnTo>
                  <a:lnTo>
                    <a:pt x="0" y="1463"/>
                  </a:lnTo>
                  <a:lnTo>
                    <a:pt x="366" y="1951"/>
                  </a:lnTo>
                  <a:lnTo>
                    <a:pt x="10487" y="109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79" name="Freihandform: Form 878">
              <a:extLst>
                <a:ext uri="{FF2B5EF4-FFF2-40B4-BE49-F238E27FC236}">
                  <a16:creationId xmlns:a16="http://schemas.microsoft.com/office/drawing/2014/main" id="{EB17EA78-276A-44E0-8016-DCF0C1203B91}"/>
                </a:ext>
              </a:extLst>
            </p:cNvPr>
            <p:cNvSpPr/>
            <p:nvPr/>
          </p:nvSpPr>
          <p:spPr>
            <a:xfrm>
              <a:off x="4896364" y="1505517"/>
              <a:ext cx="4023" cy="1829"/>
            </a:xfrm>
            <a:custGeom>
              <a:avLst/>
              <a:gdLst>
                <a:gd name="connsiteX0" fmla="*/ 4024 w 4023"/>
                <a:gd name="connsiteY0" fmla="*/ 0 h 1829"/>
                <a:gd name="connsiteX1" fmla="*/ 1707 w 4023"/>
                <a:gd name="connsiteY1" fmla="*/ 0 h 1829"/>
                <a:gd name="connsiteX2" fmla="*/ 0 w 4023"/>
                <a:gd name="connsiteY2" fmla="*/ 1219 h 1829"/>
                <a:gd name="connsiteX3" fmla="*/ 1585 w 4023"/>
                <a:gd name="connsiteY3" fmla="*/ 1829 h 1829"/>
                <a:gd name="connsiteX4" fmla="*/ 4024 w 4023"/>
                <a:gd name="connsiteY4" fmla="*/ 0 h 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3" h="1829">
                  <a:moveTo>
                    <a:pt x="4024" y="0"/>
                  </a:moveTo>
                  <a:lnTo>
                    <a:pt x="1707" y="0"/>
                  </a:lnTo>
                  <a:lnTo>
                    <a:pt x="0" y="1219"/>
                  </a:lnTo>
                  <a:lnTo>
                    <a:pt x="1585" y="1829"/>
                  </a:lnTo>
                  <a:lnTo>
                    <a:pt x="4024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0" name="Freihandform: Form 879">
              <a:extLst>
                <a:ext uri="{FF2B5EF4-FFF2-40B4-BE49-F238E27FC236}">
                  <a16:creationId xmlns:a16="http://schemas.microsoft.com/office/drawing/2014/main" id="{E096586E-F2F3-49B8-A9DD-5776DE328A7F}"/>
                </a:ext>
              </a:extLst>
            </p:cNvPr>
            <p:cNvSpPr/>
            <p:nvPr/>
          </p:nvSpPr>
          <p:spPr>
            <a:xfrm>
              <a:off x="4859538" y="1515272"/>
              <a:ext cx="20364" cy="6462"/>
            </a:xfrm>
            <a:custGeom>
              <a:avLst/>
              <a:gdLst>
                <a:gd name="connsiteX0" fmla="*/ 4512 w 20364"/>
                <a:gd name="connsiteY0" fmla="*/ 6463 h 6462"/>
                <a:gd name="connsiteX1" fmla="*/ 20121 w 20364"/>
                <a:gd name="connsiteY1" fmla="*/ 732 h 6462"/>
                <a:gd name="connsiteX2" fmla="*/ 20364 w 20364"/>
                <a:gd name="connsiteY2" fmla="*/ 0 h 6462"/>
                <a:gd name="connsiteX3" fmla="*/ 17682 w 20364"/>
                <a:gd name="connsiteY3" fmla="*/ 366 h 6462"/>
                <a:gd name="connsiteX4" fmla="*/ 8780 w 20364"/>
                <a:gd name="connsiteY4" fmla="*/ 4512 h 6462"/>
                <a:gd name="connsiteX5" fmla="*/ 0 w 20364"/>
                <a:gd name="connsiteY5" fmla="*/ 5731 h 6462"/>
                <a:gd name="connsiteX6" fmla="*/ 244 w 20364"/>
                <a:gd name="connsiteY6" fmla="*/ 5975 h 6462"/>
                <a:gd name="connsiteX7" fmla="*/ 4512 w 20364"/>
                <a:gd name="connsiteY7" fmla="*/ 6463 h 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64" h="6462">
                  <a:moveTo>
                    <a:pt x="4512" y="6463"/>
                  </a:moveTo>
                  <a:lnTo>
                    <a:pt x="20121" y="732"/>
                  </a:lnTo>
                  <a:lnTo>
                    <a:pt x="20364" y="0"/>
                  </a:lnTo>
                  <a:lnTo>
                    <a:pt x="17682" y="366"/>
                  </a:lnTo>
                  <a:lnTo>
                    <a:pt x="8780" y="4512"/>
                  </a:lnTo>
                  <a:lnTo>
                    <a:pt x="0" y="5731"/>
                  </a:lnTo>
                  <a:lnTo>
                    <a:pt x="244" y="5975"/>
                  </a:lnTo>
                  <a:lnTo>
                    <a:pt x="4512" y="646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1" name="Freihandform: Form 880">
              <a:extLst>
                <a:ext uri="{FF2B5EF4-FFF2-40B4-BE49-F238E27FC236}">
                  <a16:creationId xmlns:a16="http://schemas.microsoft.com/office/drawing/2014/main" id="{AAC31905-97B7-493F-9D8B-25BF9785B46A}"/>
                </a:ext>
              </a:extLst>
            </p:cNvPr>
            <p:cNvSpPr/>
            <p:nvPr/>
          </p:nvSpPr>
          <p:spPr>
            <a:xfrm>
              <a:off x="4930874" y="1502956"/>
              <a:ext cx="3658" cy="1097"/>
            </a:xfrm>
            <a:custGeom>
              <a:avLst/>
              <a:gdLst>
                <a:gd name="connsiteX0" fmla="*/ 3658 w 3658"/>
                <a:gd name="connsiteY0" fmla="*/ 610 h 1097"/>
                <a:gd name="connsiteX1" fmla="*/ 3293 w 3658"/>
                <a:gd name="connsiteY1" fmla="*/ 0 h 1097"/>
                <a:gd name="connsiteX2" fmla="*/ 0 w 3658"/>
                <a:gd name="connsiteY2" fmla="*/ 732 h 1097"/>
                <a:gd name="connsiteX3" fmla="*/ 366 w 3658"/>
                <a:gd name="connsiteY3" fmla="*/ 1097 h 1097"/>
                <a:gd name="connsiteX4" fmla="*/ 3658 w 3658"/>
                <a:gd name="connsiteY4" fmla="*/ 610 h 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8" h="1097">
                  <a:moveTo>
                    <a:pt x="3658" y="610"/>
                  </a:moveTo>
                  <a:lnTo>
                    <a:pt x="3293" y="0"/>
                  </a:lnTo>
                  <a:lnTo>
                    <a:pt x="0" y="732"/>
                  </a:lnTo>
                  <a:lnTo>
                    <a:pt x="366" y="1097"/>
                  </a:lnTo>
                  <a:lnTo>
                    <a:pt x="3658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2" name="Freihandform: Form 881">
              <a:extLst>
                <a:ext uri="{FF2B5EF4-FFF2-40B4-BE49-F238E27FC236}">
                  <a16:creationId xmlns:a16="http://schemas.microsoft.com/office/drawing/2014/main" id="{03A2C33C-187A-4196-8B9C-BBBB7118827A}"/>
                </a:ext>
              </a:extLst>
            </p:cNvPr>
            <p:cNvSpPr/>
            <p:nvPr/>
          </p:nvSpPr>
          <p:spPr>
            <a:xfrm>
              <a:off x="4890145" y="1523321"/>
              <a:ext cx="975" cy="487"/>
            </a:xfrm>
            <a:custGeom>
              <a:avLst/>
              <a:gdLst>
                <a:gd name="connsiteX0" fmla="*/ 976 w 975"/>
                <a:gd name="connsiteY0" fmla="*/ 122 h 487"/>
                <a:gd name="connsiteX1" fmla="*/ 854 w 975"/>
                <a:gd name="connsiteY1" fmla="*/ 0 h 487"/>
                <a:gd name="connsiteX2" fmla="*/ 0 w 975"/>
                <a:gd name="connsiteY2" fmla="*/ 244 h 487"/>
                <a:gd name="connsiteX3" fmla="*/ 488 w 975"/>
                <a:gd name="connsiteY3" fmla="*/ 488 h 487"/>
                <a:gd name="connsiteX4" fmla="*/ 976 w 975"/>
                <a:gd name="connsiteY4" fmla="*/ 122 h 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5" h="487">
                  <a:moveTo>
                    <a:pt x="976" y="122"/>
                  </a:moveTo>
                  <a:lnTo>
                    <a:pt x="854" y="0"/>
                  </a:lnTo>
                  <a:lnTo>
                    <a:pt x="0" y="244"/>
                  </a:lnTo>
                  <a:lnTo>
                    <a:pt x="488" y="488"/>
                  </a:lnTo>
                  <a:lnTo>
                    <a:pt x="976" y="1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3" name="Freihandform: Form 882">
              <a:extLst>
                <a:ext uri="{FF2B5EF4-FFF2-40B4-BE49-F238E27FC236}">
                  <a16:creationId xmlns:a16="http://schemas.microsoft.com/office/drawing/2014/main" id="{D0327A45-39BA-4BA3-BF9D-828094F81B27}"/>
                </a:ext>
              </a:extLst>
            </p:cNvPr>
            <p:cNvSpPr/>
            <p:nvPr/>
          </p:nvSpPr>
          <p:spPr>
            <a:xfrm>
              <a:off x="4828565" y="2528973"/>
              <a:ext cx="120722" cy="129624"/>
            </a:xfrm>
            <a:custGeom>
              <a:avLst/>
              <a:gdLst>
                <a:gd name="connsiteX0" fmla="*/ 118771 w 120722"/>
                <a:gd name="connsiteY0" fmla="*/ 10243 h 129624"/>
                <a:gd name="connsiteX1" fmla="*/ 120722 w 120722"/>
                <a:gd name="connsiteY1" fmla="*/ 2317 h 129624"/>
                <a:gd name="connsiteX2" fmla="*/ 119137 w 120722"/>
                <a:gd name="connsiteY2" fmla="*/ 0 h 129624"/>
                <a:gd name="connsiteX3" fmla="*/ 116454 w 120722"/>
                <a:gd name="connsiteY3" fmla="*/ 7317 h 129624"/>
                <a:gd name="connsiteX4" fmla="*/ 115235 w 120722"/>
                <a:gd name="connsiteY4" fmla="*/ 10731 h 129624"/>
                <a:gd name="connsiteX5" fmla="*/ 111577 w 120722"/>
                <a:gd name="connsiteY5" fmla="*/ 11219 h 129624"/>
                <a:gd name="connsiteX6" fmla="*/ 103650 w 120722"/>
                <a:gd name="connsiteY6" fmla="*/ 12316 h 129624"/>
                <a:gd name="connsiteX7" fmla="*/ 101577 w 120722"/>
                <a:gd name="connsiteY7" fmla="*/ 12682 h 129624"/>
                <a:gd name="connsiteX8" fmla="*/ 99748 w 120722"/>
                <a:gd name="connsiteY8" fmla="*/ 11584 h 129624"/>
                <a:gd name="connsiteX9" fmla="*/ 90968 w 120722"/>
                <a:gd name="connsiteY9" fmla="*/ 6585 h 129624"/>
                <a:gd name="connsiteX10" fmla="*/ 78652 w 120722"/>
                <a:gd name="connsiteY10" fmla="*/ 4146 h 129624"/>
                <a:gd name="connsiteX11" fmla="*/ 69629 w 120722"/>
                <a:gd name="connsiteY11" fmla="*/ 8048 h 129624"/>
                <a:gd name="connsiteX12" fmla="*/ 59751 w 120722"/>
                <a:gd name="connsiteY12" fmla="*/ 11341 h 129624"/>
                <a:gd name="connsiteX13" fmla="*/ 59873 w 120722"/>
                <a:gd name="connsiteY13" fmla="*/ 12560 h 129624"/>
                <a:gd name="connsiteX14" fmla="*/ 56215 w 120722"/>
                <a:gd name="connsiteY14" fmla="*/ 12560 h 129624"/>
                <a:gd name="connsiteX15" fmla="*/ 52069 w 120722"/>
                <a:gd name="connsiteY15" fmla="*/ 13901 h 129624"/>
                <a:gd name="connsiteX16" fmla="*/ 51947 w 120722"/>
                <a:gd name="connsiteY16" fmla="*/ 12560 h 129624"/>
                <a:gd name="connsiteX17" fmla="*/ 47435 w 120722"/>
                <a:gd name="connsiteY17" fmla="*/ 12560 h 129624"/>
                <a:gd name="connsiteX18" fmla="*/ 42923 w 120722"/>
                <a:gd name="connsiteY18" fmla="*/ 17804 h 129624"/>
                <a:gd name="connsiteX19" fmla="*/ 40728 w 120722"/>
                <a:gd name="connsiteY19" fmla="*/ 20242 h 129624"/>
                <a:gd name="connsiteX20" fmla="*/ 38899 w 120722"/>
                <a:gd name="connsiteY20" fmla="*/ 22437 h 129624"/>
                <a:gd name="connsiteX21" fmla="*/ 18047 w 120722"/>
                <a:gd name="connsiteY21" fmla="*/ 22437 h 129624"/>
                <a:gd name="connsiteX22" fmla="*/ 19511 w 120722"/>
                <a:gd name="connsiteY22" fmla="*/ 27925 h 129624"/>
                <a:gd name="connsiteX23" fmla="*/ 20120 w 120722"/>
                <a:gd name="connsiteY23" fmla="*/ 30485 h 129624"/>
                <a:gd name="connsiteX24" fmla="*/ 18779 w 120722"/>
                <a:gd name="connsiteY24" fmla="*/ 32558 h 129624"/>
                <a:gd name="connsiteX25" fmla="*/ 16584 w 120722"/>
                <a:gd name="connsiteY25" fmla="*/ 36217 h 129624"/>
                <a:gd name="connsiteX26" fmla="*/ 10975 w 120722"/>
                <a:gd name="connsiteY26" fmla="*/ 45728 h 129624"/>
                <a:gd name="connsiteX27" fmla="*/ 10365 w 120722"/>
                <a:gd name="connsiteY27" fmla="*/ 46582 h 129624"/>
                <a:gd name="connsiteX28" fmla="*/ 9511 w 120722"/>
                <a:gd name="connsiteY28" fmla="*/ 47313 h 129624"/>
                <a:gd name="connsiteX29" fmla="*/ 5487 w 120722"/>
                <a:gd name="connsiteY29" fmla="*/ 50362 h 129624"/>
                <a:gd name="connsiteX30" fmla="*/ 975 w 120722"/>
                <a:gd name="connsiteY30" fmla="*/ 53898 h 129624"/>
                <a:gd name="connsiteX31" fmla="*/ 0 w 120722"/>
                <a:gd name="connsiteY31" fmla="*/ 54630 h 129624"/>
                <a:gd name="connsiteX32" fmla="*/ 1585 w 120722"/>
                <a:gd name="connsiteY32" fmla="*/ 59386 h 129624"/>
                <a:gd name="connsiteX33" fmla="*/ 9146 w 120722"/>
                <a:gd name="connsiteY33" fmla="*/ 66946 h 129624"/>
                <a:gd name="connsiteX34" fmla="*/ 12438 w 120722"/>
                <a:gd name="connsiteY34" fmla="*/ 76823 h 129624"/>
                <a:gd name="connsiteX35" fmla="*/ 13047 w 120722"/>
                <a:gd name="connsiteY35" fmla="*/ 76214 h 129624"/>
                <a:gd name="connsiteX36" fmla="*/ 13047 w 120722"/>
                <a:gd name="connsiteY36" fmla="*/ 78287 h 129624"/>
                <a:gd name="connsiteX37" fmla="*/ 21096 w 120722"/>
                <a:gd name="connsiteY37" fmla="*/ 85603 h 129624"/>
                <a:gd name="connsiteX38" fmla="*/ 31705 w 120722"/>
                <a:gd name="connsiteY38" fmla="*/ 82920 h 129624"/>
                <a:gd name="connsiteX39" fmla="*/ 49264 w 120722"/>
                <a:gd name="connsiteY39" fmla="*/ 84018 h 129624"/>
                <a:gd name="connsiteX40" fmla="*/ 55483 w 120722"/>
                <a:gd name="connsiteY40" fmla="*/ 94871 h 129624"/>
                <a:gd name="connsiteX41" fmla="*/ 55483 w 120722"/>
                <a:gd name="connsiteY41" fmla="*/ 94871 h 129624"/>
                <a:gd name="connsiteX42" fmla="*/ 55483 w 120722"/>
                <a:gd name="connsiteY42" fmla="*/ 94871 h 129624"/>
                <a:gd name="connsiteX43" fmla="*/ 33046 w 120722"/>
                <a:gd name="connsiteY43" fmla="*/ 93773 h 129624"/>
                <a:gd name="connsiteX44" fmla="*/ 22681 w 120722"/>
                <a:gd name="connsiteY44" fmla="*/ 96212 h 129624"/>
                <a:gd name="connsiteX45" fmla="*/ 22681 w 120722"/>
                <a:gd name="connsiteY45" fmla="*/ 101212 h 129624"/>
                <a:gd name="connsiteX46" fmla="*/ 30485 w 120722"/>
                <a:gd name="connsiteY46" fmla="*/ 109016 h 129624"/>
                <a:gd name="connsiteX47" fmla="*/ 27559 w 120722"/>
                <a:gd name="connsiteY47" fmla="*/ 119625 h 129624"/>
                <a:gd name="connsiteX48" fmla="*/ 29266 w 120722"/>
                <a:gd name="connsiteY48" fmla="*/ 121820 h 129624"/>
                <a:gd name="connsiteX49" fmla="*/ 37680 w 120722"/>
                <a:gd name="connsiteY49" fmla="*/ 122795 h 129624"/>
                <a:gd name="connsiteX50" fmla="*/ 42314 w 120722"/>
                <a:gd name="connsiteY50" fmla="*/ 128283 h 129624"/>
                <a:gd name="connsiteX51" fmla="*/ 49386 w 120722"/>
                <a:gd name="connsiteY51" fmla="*/ 128405 h 129624"/>
                <a:gd name="connsiteX52" fmla="*/ 49508 w 120722"/>
                <a:gd name="connsiteY52" fmla="*/ 128405 h 129624"/>
                <a:gd name="connsiteX53" fmla="*/ 54264 w 120722"/>
                <a:gd name="connsiteY53" fmla="*/ 129624 h 129624"/>
                <a:gd name="connsiteX54" fmla="*/ 53532 w 120722"/>
                <a:gd name="connsiteY54" fmla="*/ 119015 h 129624"/>
                <a:gd name="connsiteX55" fmla="*/ 47191 w 120722"/>
                <a:gd name="connsiteY55" fmla="*/ 112796 h 129624"/>
                <a:gd name="connsiteX56" fmla="*/ 50849 w 120722"/>
                <a:gd name="connsiteY56" fmla="*/ 107309 h 129624"/>
                <a:gd name="connsiteX57" fmla="*/ 50849 w 120722"/>
                <a:gd name="connsiteY57" fmla="*/ 107309 h 129624"/>
                <a:gd name="connsiteX58" fmla="*/ 58532 w 120722"/>
                <a:gd name="connsiteY58" fmla="*/ 109016 h 129624"/>
                <a:gd name="connsiteX59" fmla="*/ 60361 w 120722"/>
                <a:gd name="connsiteY59" fmla="*/ 98285 h 129624"/>
                <a:gd name="connsiteX60" fmla="*/ 71336 w 120722"/>
                <a:gd name="connsiteY60" fmla="*/ 97309 h 129624"/>
                <a:gd name="connsiteX61" fmla="*/ 71336 w 120722"/>
                <a:gd name="connsiteY61" fmla="*/ 91578 h 129624"/>
                <a:gd name="connsiteX62" fmla="*/ 62922 w 120722"/>
                <a:gd name="connsiteY62" fmla="*/ 83164 h 129624"/>
                <a:gd name="connsiteX63" fmla="*/ 48411 w 120722"/>
                <a:gd name="connsiteY63" fmla="*/ 78043 h 129624"/>
                <a:gd name="connsiteX64" fmla="*/ 48411 w 120722"/>
                <a:gd name="connsiteY64" fmla="*/ 78043 h 129624"/>
                <a:gd name="connsiteX65" fmla="*/ 51459 w 120722"/>
                <a:gd name="connsiteY65" fmla="*/ 59142 h 129624"/>
                <a:gd name="connsiteX66" fmla="*/ 39143 w 120722"/>
                <a:gd name="connsiteY66" fmla="*/ 43167 h 129624"/>
                <a:gd name="connsiteX67" fmla="*/ 40363 w 120722"/>
                <a:gd name="connsiteY67" fmla="*/ 31583 h 129624"/>
                <a:gd name="connsiteX68" fmla="*/ 49142 w 120722"/>
                <a:gd name="connsiteY68" fmla="*/ 27925 h 129624"/>
                <a:gd name="connsiteX69" fmla="*/ 49142 w 120722"/>
                <a:gd name="connsiteY69" fmla="*/ 27925 h 129624"/>
                <a:gd name="connsiteX70" fmla="*/ 55605 w 120722"/>
                <a:gd name="connsiteY70" fmla="*/ 31827 h 129624"/>
                <a:gd name="connsiteX71" fmla="*/ 56581 w 120722"/>
                <a:gd name="connsiteY71" fmla="*/ 37802 h 129624"/>
                <a:gd name="connsiteX72" fmla="*/ 61215 w 120722"/>
                <a:gd name="connsiteY72" fmla="*/ 43045 h 129624"/>
                <a:gd name="connsiteX73" fmla="*/ 59873 w 120722"/>
                <a:gd name="connsiteY73" fmla="*/ 38534 h 129624"/>
                <a:gd name="connsiteX74" fmla="*/ 59508 w 120722"/>
                <a:gd name="connsiteY74" fmla="*/ 37314 h 129624"/>
                <a:gd name="connsiteX75" fmla="*/ 59508 w 120722"/>
                <a:gd name="connsiteY75" fmla="*/ 37314 h 129624"/>
                <a:gd name="connsiteX76" fmla="*/ 67555 w 120722"/>
                <a:gd name="connsiteY76" fmla="*/ 35241 h 129624"/>
                <a:gd name="connsiteX77" fmla="*/ 67921 w 120722"/>
                <a:gd name="connsiteY77" fmla="*/ 36826 h 129624"/>
                <a:gd name="connsiteX78" fmla="*/ 74384 w 120722"/>
                <a:gd name="connsiteY78" fmla="*/ 39021 h 129624"/>
                <a:gd name="connsiteX79" fmla="*/ 74506 w 120722"/>
                <a:gd name="connsiteY79" fmla="*/ 38655 h 129624"/>
                <a:gd name="connsiteX80" fmla="*/ 70116 w 120722"/>
                <a:gd name="connsiteY80" fmla="*/ 36217 h 129624"/>
                <a:gd name="connsiteX81" fmla="*/ 66702 w 120722"/>
                <a:gd name="connsiteY81" fmla="*/ 34388 h 129624"/>
                <a:gd name="connsiteX82" fmla="*/ 66702 w 120722"/>
                <a:gd name="connsiteY82" fmla="*/ 34388 h 129624"/>
                <a:gd name="connsiteX83" fmla="*/ 66702 w 120722"/>
                <a:gd name="connsiteY83" fmla="*/ 22803 h 129624"/>
                <a:gd name="connsiteX84" fmla="*/ 78774 w 120722"/>
                <a:gd name="connsiteY84" fmla="*/ 20608 h 129624"/>
                <a:gd name="connsiteX85" fmla="*/ 86822 w 120722"/>
                <a:gd name="connsiteY85" fmla="*/ 18657 h 129624"/>
                <a:gd name="connsiteX86" fmla="*/ 92432 w 120722"/>
                <a:gd name="connsiteY86" fmla="*/ 20486 h 129624"/>
                <a:gd name="connsiteX87" fmla="*/ 101943 w 120722"/>
                <a:gd name="connsiteY87" fmla="*/ 17682 h 129624"/>
                <a:gd name="connsiteX88" fmla="*/ 110357 w 120722"/>
                <a:gd name="connsiteY88" fmla="*/ 21096 h 129624"/>
                <a:gd name="connsiteX89" fmla="*/ 111454 w 120722"/>
                <a:gd name="connsiteY89" fmla="*/ 19633 h 129624"/>
                <a:gd name="connsiteX90" fmla="*/ 114381 w 120722"/>
                <a:gd name="connsiteY90" fmla="*/ 16096 h 129624"/>
                <a:gd name="connsiteX91" fmla="*/ 118527 w 120722"/>
                <a:gd name="connsiteY91" fmla="*/ 10975 h 129624"/>
                <a:gd name="connsiteX92" fmla="*/ 118771 w 120722"/>
                <a:gd name="connsiteY92" fmla="*/ 10243 h 129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20722" h="129624">
                  <a:moveTo>
                    <a:pt x="118771" y="10243"/>
                  </a:moveTo>
                  <a:lnTo>
                    <a:pt x="120722" y="2317"/>
                  </a:lnTo>
                  <a:lnTo>
                    <a:pt x="119137" y="0"/>
                  </a:lnTo>
                  <a:lnTo>
                    <a:pt x="116454" y="7317"/>
                  </a:lnTo>
                  <a:lnTo>
                    <a:pt x="115235" y="10731"/>
                  </a:lnTo>
                  <a:lnTo>
                    <a:pt x="111577" y="11219"/>
                  </a:lnTo>
                  <a:lnTo>
                    <a:pt x="103650" y="12316"/>
                  </a:lnTo>
                  <a:lnTo>
                    <a:pt x="101577" y="12682"/>
                  </a:lnTo>
                  <a:lnTo>
                    <a:pt x="99748" y="11584"/>
                  </a:lnTo>
                  <a:lnTo>
                    <a:pt x="90968" y="6585"/>
                  </a:lnTo>
                  <a:lnTo>
                    <a:pt x="78652" y="4146"/>
                  </a:lnTo>
                  <a:lnTo>
                    <a:pt x="69629" y="8048"/>
                  </a:lnTo>
                  <a:lnTo>
                    <a:pt x="59751" y="11341"/>
                  </a:lnTo>
                  <a:lnTo>
                    <a:pt x="59873" y="12560"/>
                  </a:lnTo>
                  <a:lnTo>
                    <a:pt x="56215" y="12560"/>
                  </a:lnTo>
                  <a:lnTo>
                    <a:pt x="52069" y="13901"/>
                  </a:lnTo>
                  <a:lnTo>
                    <a:pt x="51947" y="12560"/>
                  </a:lnTo>
                  <a:lnTo>
                    <a:pt x="47435" y="12560"/>
                  </a:lnTo>
                  <a:lnTo>
                    <a:pt x="42923" y="17804"/>
                  </a:lnTo>
                  <a:lnTo>
                    <a:pt x="40728" y="20242"/>
                  </a:lnTo>
                  <a:lnTo>
                    <a:pt x="38899" y="22437"/>
                  </a:lnTo>
                  <a:lnTo>
                    <a:pt x="18047" y="22437"/>
                  </a:lnTo>
                  <a:lnTo>
                    <a:pt x="19511" y="27925"/>
                  </a:lnTo>
                  <a:lnTo>
                    <a:pt x="20120" y="30485"/>
                  </a:lnTo>
                  <a:lnTo>
                    <a:pt x="18779" y="32558"/>
                  </a:lnTo>
                  <a:lnTo>
                    <a:pt x="16584" y="36217"/>
                  </a:lnTo>
                  <a:lnTo>
                    <a:pt x="10975" y="45728"/>
                  </a:lnTo>
                  <a:lnTo>
                    <a:pt x="10365" y="46582"/>
                  </a:lnTo>
                  <a:lnTo>
                    <a:pt x="9511" y="47313"/>
                  </a:lnTo>
                  <a:lnTo>
                    <a:pt x="5487" y="50362"/>
                  </a:lnTo>
                  <a:lnTo>
                    <a:pt x="975" y="53898"/>
                  </a:lnTo>
                  <a:lnTo>
                    <a:pt x="0" y="54630"/>
                  </a:lnTo>
                  <a:lnTo>
                    <a:pt x="1585" y="59386"/>
                  </a:lnTo>
                  <a:lnTo>
                    <a:pt x="9146" y="66946"/>
                  </a:lnTo>
                  <a:lnTo>
                    <a:pt x="12438" y="76823"/>
                  </a:lnTo>
                  <a:lnTo>
                    <a:pt x="13047" y="76214"/>
                  </a:lnTo>
                  <a:lnTo>
                    <a:pt x="13047" y="78287"/>
                  </a:lnTo>
                  <a:lnTo>
                    <a:pt x="21096" y="85603"/>
                  </a:lnTo>
                  <a:lnTo>
                    <a:pt x="31705" y="82920"/>
                  </a:lnTo>
                  <a:lnTo>
                    <a:pt x="49264" y="84018"/>
                  </a:lnTo>
                  <a:lnTo>
                    <a:pt x="55483" y="94871"/>
                  </a:lnTo>
                  <a:lnTo>
                    <a:pt x="55483" y="94871"/>
                  </a:lnTo>
                  <a:lnTo>
                    <a:pt x="55483" y="94871"/>
                  </a:lnTo>
                  <a:lnTo>
                    <a:pt x="33046" y="93773"/>
                  </a:lnTo>
                  <a:lnTo>
                    <a:pt x="22681" y="96212"/>
                  </a:lnTo>
                  <a:lnTo>
                    <a:pt x="22681" y="101212"/>
                  </a:lnTo>
                  <a:lnTo>
                    <a:pt x="30485" y="109016"/>
                  </a:lnTo>
                  <a:lnTo>
                    <a:pt x="27559" y="119625"/>
                  </a:lnTo>
                  <a:lnTo>
                    <a:pt x="29266" y="121820"/>
                  </a:lnTo>
                  <a:lnTo>
                    <a:pt x="37680" y="122795"/>
                  </a:lnTo>
                  <a:lnTo>
                    <a:pt x="42314" y="128283"/>
                  </a:lnTo>
                  <a:lnTo>
                    <a:pt x="49386" y="128405"/>
                  </a:lnTo>
                  <a:lnTo>
                    <a:pt x="49508" y="128405"/>
                  </a:lnTo>
                  <a:lnTo>
                    <a:pt x="54264" y="129624"/>
                  </a:lnTo>
                  <a:lnTo>
                    <a:pt x="53532" y="119015"/>
                  </a:lnTo>
                  <a:lnTo>
                    <a:pt x="47191" y="112796"/>
                  </a:lnTo>
                  <a:lnTo>
                    <a:pt x="50849" y="107309"/>
                  </a:lnTo>
                  <a:lnTo>
                    <a:pt x="50849" y="107309"/>
                  </a:lnTo>
                  <a:lnTo>
                    <a:pt x="58532" y="109016"/>
                  </a:lnTo>
                  <a:lnTo>
                    <a:pt x="60361" y="98285"/>
                  </a:lnTo>
                  <a:lnTo>
                    <a:pt x="71336" y="97309"/>
                  </a:lnTo>
                  <a:lnTo>
                    <a:pt x="71336" y="91578"/>
                  </a:lnTo>
                  <a:lnTo>
                    <a:pt x="62922" y="83164"/>
                  </a:lnTo>
                  <a:lnTo>
                    <a:pt x="48411" y="78043"/>
                  </a:lnTo>
                  <a:lnTo>
                    <a:pt x="48411" y="78043"/>
                  </a:lnTo>
                  <a:lnTo>
                    <a:pt x="51459" y="59142"/>
                  </a:lnTo>
                  <a:lnTo>
                    <a:pt x="39143" y="43167"/>
                  </a:lnTo>
                  <a:lnTo>
                    <a:pt x="40363" y="31583"/>
                  </a:lnTo>
                  <a:lnTo>
                    <a:pt x="49142" y="27925"/>
                  </a:lnTo>
                  <a:lnTo>
                    <a:pt x="49142" y="27925"/>
                  </a:lnTo>
                  <a:lnTo>
                    <a:pt x="55605" y="31827"/>
                  </a:lnTo>
                  <a:lnTo>
                    <a:pt x="56581" y="37802"/>
                  </a:lnTo>
                  <a:lnTo>
                    <a:pt x="61215" y="43045"/>
                  </a:lnTo>
                  <a:lnTo>
                    <a:pt x="59873" y="38534"/>
                  </a:lnTo>
                  <a:lnTo>
                    <a:pt x="59508" y="37314"/>
                  </a:lnTo>
                  <a:lnTo>
                    <a:pt x="59508" y="37314"/>
                  </a:lnTo>
                  <a:lnTo>
                    <a:pt x="67555" y="35241"/>
                  </a:lnTo>
                  <a:lnTo>
                    <a:pt x="67921" y="36826"/>
                  </a:lnTo>
                  <a:lnTo>
                    <a:pt x="74384" y="39021"/>
                  </a:lnTo>
                  <a:lnTo>
                    <a:pt x="74506" y="38655"/>
                  </a:lnTo>
                  <a:lnTo>
                    <a:pt x="70116" y="36217"/>
                  </a:lnTo>
                  <a:lnTo>
                    <a:pt x="66702" y="34388"/>
                  </a:lnTo>
                  <a:lnTo>
                    <a:pt x="66702" y="34388"/>
                  </a:lnTo>
                  <a:lnTo>
                    <a:pt x="66702" y="22803"/>
                  </a:lnTo>
                  <a:lnTo>
                    <a:pt x="78774" y="20608"/>
                  </a:lnTo>
                  <a:lnTo>
                    <a:pt x="86822" y="18657"/>
                  </a:lnTo>
                  <a:lnTo>
                    <a:pt x="92432" y="20486"/>
                  </a:lnTo>
                  <a:lnTo>
                    <a:pt x="101943" y="17682"/>
                  </a:lnTo>
                  <a:lnTo>
                    <a:pt x="110357" y="21096"/>
                  </a:lnTo>
                  <a:lnTo>
                    <a:pt x="111454" y="19633"/>
                  </a:lnTo>
                  <a:lnTo>
                    <a:pt x="114381" y="16096"/>
                  </a:lnTo>
                  <a:lnTo>
                    <a:pt x="118527" y="10975"/>
                  </a:lnTo>
                  <a:lnTo>
                    <a:pt x="118771" y="1024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4" name="Freihandform: Form 883">
              <a:extLst>
                <a:ext uri="{FF2B5EF4-FFF2-40B4-BE49-F238E27FC236}">
                  <a16:creationId xmlns:a16="http://schemas.microsoft.com/office/drawing/2014/main" id="{3B49EA74-7CE1-45D2-B2DD-67DE1B2FB8A6}"/>
                </a:ext>
              </a:extLst>
            </p:cNvPr>
            <p:cNvSpPr/>
            <p:nvPr/>
          </p:nvSpPr>
          <p:spPr>
            <a:xfrm>
              <a:off x="4244586" y="2475441"/>
              <a:ext cx="238274" cy="198643"/>
            </a:xfrm>
            <a:custGeom>
              <a:avLst/>
              <a:gdLst>
                <a:gd name="connsiteX0" fmla="*/ 238274 w 238274"/>
                <a:gd name="connsiteY0" fmla="*/ 41948 h 198643"/>
                <a:gd name="connsiteX1" fmla="*/ 237177 w 238274"/>
                <a:gd name="connsiteY1" fmla="*/ 35241 h 198643"/>
                <a:gd name="connsiteX2" fmla="*/ 237177 w 238274"/>
                <a:gd name="connsiteY2" fmla="*/ 34875 h 198643"/>
                <a:gd name="connsiteX3" fmla="*/ 215958 w 238274"/>
                <a:gd name="connsiteY3" fmla="*/ 34875 h 198643"/>
                <a:gd name="connsiteX4" fmla="*/ 214617 w 238274"/>
                <a:gd name="connsiteY4" fmla="*/ 34144 h 198643"/>
                <a:gd name="connsiteX5" fmla="*/ 209374 w 238274"/>
                <a:gd name="connsiteY5" fmla="*/ 31583 h 198643"/>
                <a:gd name="connsiteX6" fmla="*/ 207789 w 238274"/>
                <a:gd name="connsiteY6" fmla="*/ 30729 h 198643"/>
                <a:gd name="connsiteX7" fmla="*/ 206569 w 238274"/>
                <a:gd name="connsiteY7" fmla="*/ 30364 h 198643"/>
                <a:gd name="connsiteX8" fmla="*/ 203643 w 238274"/>
                <a:gd name="connsiteY8" fmla="*/ 29632 h 198643"/>
                <a:gd name="connsiteX9" fmla="*/ 202545 w 238274"/>
                <a:gd name="connsiteY9" fmla="*/ 29144 h 198643"/>
                <a:gd name="connsiteX10" fmla="*/ 201204 w 238274"/>
                <a:gd name="connsiteY10" fmla="*/ 29266 h 198643"/>
                <a:gd name="connsiteX11" fmla="*/ 179132 w 238274"/>
                <a:gd name="connsiteY11" fmla="*/ 30120 h 198643"/>
                <a:gd name="connsiteX12" fmla="*/ 176694 w 238274"/>
                <a:gd name="connsiteY12" fmla="*/ 30241 h 198643"/>
                <a:gd name="connsiteX13" fmla="*/ 174864 w 238274"/>
                <a:gd name="connsiteY13" fmla="*/ 28656 h 198643"/>
                <a:gd name="connsiteX14" fmla="*/ 169987 w 238274"/>
                <a:gd name="connsiteY14" fmla="*/ 24510 h 198643"/>
                <a:gd name="connsiteX15" fmla="*/ 164621 w 238274"/>
                <a:gd name="connsiteY15" fmla="*/ 24510 h 198643"/>
                <a:gd name="connsiteX16" fmla="*/ 163036 w 238274"/>
                <a:gd name="connsiteY16" fmla="*/ 23413 h 198643"/>
                <a:gd name="connsiteX17" fmla="*/ 149866 w 238274"/>
                <a:gd name="connsiteY17" fmla="*/ 14267 h 198643"/>
                <a:gd name="connsiteX18" fmla="*/ 146452 w 238274"/>
                <a:gd name="connsiteY18" fmla="*/ 12072 h 198643"/>
                <a:gd name="connsiteX19" fmla="*/ 127551 w 238274"/>
                <a:gd name="connsiteY19" fmla="*/ 11219 h 198643"/>
                <a:gd name="connsiteX20" fmla="*/ 108162 w 238274"/>
                <a:gd name="connsiteY20" fmla="*/ 6585 h 198643"/>
                <a:gd name="connsiteX21" fmla="*/ 93773 w 238274"/>
                <a:gd name="connsiteY21" fmla="*/ 9390 h 198643"/>
                <a:gd name="connsiteX22" fmla="*/ 74019 w 238274"/>
                <a:gd name="connsiteY22" fmla="*/ 2805 h 198643"/>
                <a:gd name="connsiteX23" fmla="*/ 65117 w 238274"/>
                <a:gd name="connsiteY23" fmla="*/ 4634 h 198643"/>
                <a:gd name="connsiteX24" fmla="*/ 58288 w 238274"/>
                <a:gd name="connsiteY24" fmla="*/ 6463 h 198643"/>
                <a:gd name="connsiteX25" fmla="*/ 58288 w 238274"/>
                <a:gd name="connsiteY25" fmla="*/ 6463 h 198643"/>
                <a:gd name="connsiteX26" fmla="*/ 32314 w 238274"/>
                <a:gd name="connsiteY26" fmla="*/ 5487 h 198643"/>
                <a:gd name="connsiteX27" fmla="*/ 28656 w 238274"/>
                <a:gd name="connsiteY27" fmla="*/ 0 h 198643"/>
                <a:gd name="connsiteX28" fmla="*/ 21584 w 238274"/>
                <a:gd name="connsiteY28" fmla="*/ 732 h 198643"/>
                <a:gd name="connsiteX29" fmla="*/ 16950 w 238274"/>
                <a:gd name="connsiteY29" fmla="*/ 8902 h 198643"/>
                <a:gd name="connsiteX30" fmla="*/ 5609 w 238274"/>
                <a:gd name="connsiteY30" fmla="*/ 13657 h 198643"/>
                <a:gd name="connsiteX31" fmla="*/ 0 w 238274"/>
                <a:gd name="connsiteY31" fmla="*/ 22315 h 198643"/>
                <a:gd name="connsiteX32" fmla="*/ 9999 w 238274"/>
                <a:gd name="connsiteY32" fmla="*/ 37680 h 198643"/>
                <a:gd name="connsiteX33" fmla="*/ 10609 w 238274"/>
                <a:gd name="connsiteY33" fmla="*/ 44265 h 198643"/>
                <a:gd name="connsiteX34" fmla="*/ 11950 w 238274"/>
                <a:gd name="connsiteY34" fmla="*/ 44753 h 198643"/>
                <a:gd name="connsiteX35" fmla="*/ 18779 w 238274"/>
                <a:gd name="connsiteY35" fmla="*/ 47191 h 198643"/>
                <a:gd name="connsiteX36" fmla="*/ 19754 w 238274"/>
                <a:gd name="connsiteY36" fmla="*/ 47557 h 198643"/>
                <a:gd name="connsiteX37" fmla="*/ 32802 w 238274"/>
                <a:gd name="connsiteY37" fmla="*/ 46338 h 198643"/>
                <a:gd name="connsiteX38" fmla="*/ 37192 w 238274"/>
                <a:gd name="connsiteY38" fmla="*/ 45850 h 198643"/>
                <a:gd name="connsiteX39" fmla="*/ 43289 w 238274"/>
                <a:gd name="connsiteY39" fmla="*/ 43167 h 198643"/>
                <a:gd name="connsiteX40" fmla="*/ 43655 w 238274"/>
                <a:gd name="connsiteY40" fmla="*/ 43045 h 198643"/>
                <a:gd name="connsiteX41" fmla="*/ 48045 w 238274"/>
                <a:gd name="connsiteY41" fmla="*/ 41094 h 198643"/>
                <a:gd name="connsiteX42" fmla="*/ 50972 w 238274"/>
                <a:gd name="connsiteY42" fmla="*/ 44996 h 198643"/>
                <a:gd name="connsiteX43" fmla="*/ 56947 w 238274"/>
                <a:gd name="connsiteY43" fmla="*/ 53288 h 198643"/>
                <a:gd name="connsiteX44" fmla="*/ 58410 w 238274"/>
                <a:gd name="connsiteY44" fmla="*/ 55362 h 198643"/>
                <a:gd name="connsiteX45" fmla="*/ 58044 w 238274"/>
                <a:gd name="connsiteY45" fmla="*/ 57922 h 198643"/>
                <a:gd name="connsiteX46" fmla="*/ 55362 w 238274"/>
                <a:gd name="connsiteY46" fmla="*/ 73653 h 198643"/>
                <a:gd name="connsiteX47" fmla="*/ 55240 w 238274"/>
                <a:gd name="connsiteY47" fmla="*/ 74872 h 198643"/>
                <a:gd name="connsiteX48" fmla="*/ 54508 w 238274"/>
                <a:gd name="connsiteY48" fmla="*/ 75970 h 198643"/>
                <a:gd name="connsiteX49" fmla="*/ 49630 w 238274"/>
                <a:gd name="connsiteY49" fmla="*/ 83164 h 198643"/>
                <a:gd name="connsiteX50" fmla="*/ 48777 w 238274"/>
                <a:gd name="connsiteY50" fmla="*/ 102187 h 198643"/>
                <a:gd name="connsiteX51" fmla="*/ 48655 w 238274"/>
                <a:gd name="connsiteY51" fmla="*/ 104138 h 198643"/>
                <a:gd name="connsiteX52" fmla="*/ 47557 w 238274"/>
                <a:gd name="connsiteY52" fmla="*/ 105601 h 198643"/>
                <a:gd name="connsiteX53" fmla="*/ 43533 w 238274"/>
                <a:gd name="connsiteY53" fmla="*/ 111089 h 198643"/>
                <a:gd name="connsiteX54" fmla="*/ 48533 w 238274"/>
                <a:gd name="connsiteY54" fmla="*/ 127551 h 198643"/>
                <a:gd name="connsiteX55" fmla="*/ 48899 w 238274"/>
                <a:gd name="connsiteY55" fmla="*/ 128892 h 198643"/>
                <a:gd name="connsiteX56" fmla="*/ 48655 w 238274"/>
                <a:gd name="connsiteY56" fmla="*/ 130234 h 198643"/>
                <a:gd name="connsiteX57" fmla="*/ 47191 w 238274"/>
                <a:gd name="connsiteY57" fmla="*/ 139014 h 198643"/>
                <a:gd name="connsiteX58" fmla="*/ 44996 w 238274"/>
                <a:gd name="connsiteY58" fmla="*/ 152061 h 198643"/>
                <a:gd name="connsiteX59" fmla="*/ 44753 w 238274"/>
                <a:gd name="connsiteY59" fmla="*/ 153281 h 198643"/>
                <a:gd name="connsiteX60" fmla="*/ 44143 w 238274"/>
                <a:gd name="connsiteY60" fmla="*/ 154378 h 198643"/>
                <a:gd name="connsiteX61" fmla="*/ 40241 w 238274"/>
                <a:gd name="connsiteY61" fmla="*/ 160353 h 198643"/>
                <a:gd name="connsiteX62" fmla="*/ 38290 w 238274"/>
                <a:gd name="connsiteY62" fmla="*/ 163524 h 198643"/>
                <a:gd name="connsiteX63" fmla="*/ 37680 w 238274"/>
                <a:gd name="connsiteY63" fmla="*/ 170596 h 198643"/>
                <a:gd name="connsiteX64" fmla="*/ 38168 w 238274"/>
                <a:gd name="connsiteY64" fmla="*/ 170474 h 198643"/>
                <a:gd name="connsiteX65" fmla="*/ 48289 w 238274"/>
                <a:gd name="connsiteY65" fmla="*/ 172669 h 198643"/>
                <a:gd name="connsiteX66" fmla="*/ 54996 w 238274"/>
                <a:gd name="connsiteY66" fmla="*/ 189131 h 198643"/>
                <a:gd name="connsiteX67" fmla="*/ 63288 w 238274"/>
                <a:gd name="connsiteY67" fmla="*/ 193765 h 198643"/>
                <a:gd name="connsiteX68" fmla="*/ 66702 w 238274"/>
                <a:gd name="connsiteY68" fmla="*/ 197180 h 198643"/>
                <a:gd name="connsiteX69" fmla="*/ 73531 w 238274"/>
                <a:gd name="connsiteY69" fmla="*/ 198643 h 198643"/>
                <a:gd name="connsiteX70" fmla="*/ 85359 w 238274"/>
                <a:gd name="connsiteY70" fmla="*/ 187668 h 198643"/>
                <a:gd name="connsiteX71" fmla="*/ 104260 w 238274"/>
                <a:gd name="connsiteY71" fmla="*/ 182791 h 198643"/>
                <a:gd name="connsiteX72" fmla="*/ 116332 w 238274"/>
                <a:gd name="connsiteY72" fmla="*/ 184742 h 198643"/>
                <a:gd name="connsiteX73" fmla="*/ 126698 w 238274"/>
                <a:gd name="connsiteY73" fmla="*/ 188278 h 198643"/>
                <a:gd name="connsiteX74" fmla="*/ 137672 w 238274"/>
                <a:gd name="connsiteY74" fmla="*/ 180718 h 198643"/>
                <a:gd name="connsiteX75" fmla="*/ 140599 w 238274"/>
                <a:gd name="connsiteY75" fmla="*/ 173889 h 198643"/>
                <a:gd name="connsiteX76" fmla="*/ 149378 w 238274"/>
                <a:gd name="connsiteY76" fmla="*/ 169865 h 198643"/>
                <a:gd name="connsiteX77" fmla="*/ 155963 w 238274"/>
                <a:gd name="connsiteY77" fmla="*/ 162426 h 198643"/>
                <a:gd name="connsiteX78" fmla="*/ 167792 w 238274"/>
                <a:gd name="connsiteY78" fmla="*/ 156939 h 198643"/>
                <a:gd name="connsiteX79" fmla="*/ 170475 w 238274"/>
                <a:gd name="connsiteY79" fmla="*/ 145233 h 198643"/>
                <a:gd name="connsiteX80" fmla="*/ 180595 w 238274"/>
                <a:gd name="connsiteY80" fmla="*/ 133160 h 198643"/>
                <a:gd name="connsiteX81" fmla="*/ 180474 w 238274"/>
                <a:gd name="connsiteY81" fmla="*/ 131575 h 198643"/>
                <a:gd name="connsiteX82" fmla="*/ 178889 w 238274"/>
                <a:gd name="connsiteY82" fmla="*/ 114137 h 198643"/>
                <a:gd name="connsiteX83" fmla="*/ 179864 w 238274"/>
                <a:gd name="connsiteY83" fmla="*/ 93285 h 198643"/>
                <a:gd name="connsiteX84" fmla="*/ 190351 w 238274"/>
                <a:gd name="connsiteY84" fmla="*/ 82798 h 198643"/>
                <a:gd name="connsiteX85" fmla="*/ 191204 w 238274"/>
                <a:gd name="connsiteY85" fmla="*/ 76092 h 198643"/>
                <a:gd name="connsiteX86" fmla="*/ 203764 w 238274"/>
                <a:gd name="connsiteY86" fmla="*/ 64751 h 198643"/>
                <a:gd name="connsiteX87" fmla="*/ 215471 w 238274"/>
                <a:gd name="connsiteY87" fmla="*/ 63775 h 198643"/>
                <a:gd name="connsiteX88" fmla="*/ 232299 w 238274"/>
                <a:gd name="connsiteY88" fmla="*/ 56703 h 198643"/>
                <a:gd name="connsiteX89" fmla="*/ 238274 w 238274"/>
                <a:gd name="connsiteY89" fmla="*/ 41948 h 19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38274" h="198643">
                  <a:moveTo>
                    <a:pt x="238274" y="41948"/>
                  </a:moveTo>
                  <a:lnTo>
                    <a:pt x="237177" y="35241"/>
                  </a:lnTo>
                  <a:lnTo>
                    <a:pt x="237177" y="34875"/>
                  </a:lnTo>
                  <a:lnTo>
                    <a:pt x="215958" y="34875"/>
                  </a:lnTo>
                  <a:lnTo>
                    <a:pt x="214617" y="34144"/>
                  </a:lnTo>
                  <a:lnTo>
                    <a:pt x="209374" y="31583"/>
                  </a:lnTo>
                  <a:lnTo>
                    <a:pt x="207789" y="30729"/>
                  </a:lnTo>
                  <a:lnTo>
                    <a:pt x="206569" y="30364"/>
                  </a:lnTo>
                  <a:lnTo>
                    <a:pt x="203643" y="29632"/>
                  </a:lnTo>
                  <a:lnTo>
                    <a:pt x="202545" y="29144"/>
                  </a:lnTo>
                  <a:lnTo>
                    <a:pt x="201204" y="29266"/>
                  </a:lnTo>
                  <a:lnTo>
                    <a:pt x="179132" y="30120"/>
                  </a:lnTo>
                  <a:lnTo>
                    <a:pt x="176694" y="30241"/>
                  </a:lnTo>
                  <a:lnTo>
                    <a:pt x="174864" y="28656"/>
                  </a:lnTo>
                  <a:lnTo>
                    <a:pt x="169987" y="24510"/>
                  </a:lnTo>
                  <a:lnTo>
                    <a:pt x="164621" y="24510"/>
                  </a:lnTo>
                  <a:lnTo>
                    <a:pt x="163036" y="23413"/>
                  </a:lnTo>
                  <a:lnTo>
                    <a:pt x="149866" y="14267"/>
                  </a:lnTo>
                  <a:lnTo>
                    <a:pt x="146452" y="12072"/>
                  </a:lnTo>
                  <a:lnTo>
                    <a:pt x="127551" y="11219"/>
                  </a:lnTo>
                  <a:lnTo>
                    <a:pt x="108162" y="6585"/>
                  </a:lnTo>
                  <a:lnTo>
                    <a:pt x="93773" y="9390"/>
                  </a:lnTo>
                  <a:lnTo>
                    <a:pt x="74019" y="2805"/>
                  </a:lnTo>
                  <a:lnTo>
                    <a:pt x="65117" y="4634"/>
                  </a:lnTo>
                  <a:lnTo>
                    <a:pt x="58288" y="6463"/>
                  </a:lnTo>
                  <a:lnTo>
                    <a:pt x="58288" y="6463"/>
                  </a:lnTo>
                  <a:lnTo>
                    <a:pt x="32314" y="5487"/>
                  </a:lnTo>
                  <a:lnTo>
                    <a:pt x="28656" y="0"/>
                  </a:lnTo>
                  <a:lnTo>
                    <a:pt x="21584" y="732"/>
                  </a:lnTo>
                  <a:lnTo>
                    <a:pt x="16950" y="8902"/>
                  </a:lnTo>
                  <a:lnTo>
                    <a:pt x="5609" y="13657"/>
                  </a:lnTo>
                  <a:lnTo>
                    <a:pt x="0" y="22315"/>
                  </a:lnTo>
                  <a:lnTo>
                    <a:pt x="9999" y="37680"/>
                  </a:lnTo>
                  <a:lnTo>
                    <a:pt x="10609" y="44265"/>
                  </a:lnTo>
                  <a:lnTo>
                    <a:pt x="11950" y="44753"/>
                  </a:lnTo>
                  <a:lnTo>
                    <a:pt x="18779" y="47191"/>
                  </a:lnTo>
                  <a:lnTo>
                    <a:pt x="19754" y="47557"/>
                  </a:lnTo>
                  <a:lnTo>
                    <a:pt x="32802" y="46338"/>
                  </a:lnTo>
                  <a:lnTo>
                    <a:pt x="37192" y="45850"/>
                  </a:lnTo>
                  <a:lnTo>
                    <a:pt x="43289" y="43167"/>
                  </a:lnTo>
                  <a:lnTo>
                    <a:pt x="43655" y="43045"/>
                  </a:lnTo>
                  <a:lnTo>
                    <a:pt x="48045" y="41094"/>
                  </a:lnTo>
                  <a:lnTo>
                    <a:pt x="50972" y="44996"/>
                  </a:lnTo>
                  <a:lnTo>
                    <a:pt x="56947" y="53288"/>
                  </a:lnTo>
                  <a:lnTo>
                    <a:pt x="58410" y="55362"/>
                  </a:lnTo>
                  <a:lnTo>
                    <a:pt x="58044" y="57922"/>
                  </a:lnTo>
                  <a:lnTo>
                    <a:pt x="55362" y="73653"/>
                  </a:lnTo>
                  <a:lnTo>
                    <a:pt x="55240" y="74872"/>
                  </a:lnTo>
                  <a:lnTo>
                    <a:pt x="54508" y="75970"/>
                  </a:lnTo>
                  <a:lnTo>
                    <a:pt x="49630" y="83164"/>
                  </a:lnTo>
                  <a:lnTo>
                    <a:pt x="48777" y="102187"/>
                  </a:lnTo>
                  <a:lnTo>
                    <a:pt x="48655" y="104138"/>
                  </a:lnTo>
                  <a:lnTo>
                    <a:pt x="47557" y="105601"/>
                  </a:lnTo>
                  <a:lnTo>
                    <a:pt x="43533" y="111089"/>
                  </a:lnTo>
                  <a:lnTo>
                    <a:pt x="48533" y="127551"/>
                  </a:lnTo>
                  <a:lnTo>
                    <a:pt x="48899" y="128892"/>
                  </a:lnTo>
                  <a:lnTo>
                    <a:pt x="48655" y="130234"/>
                  </a:lnTo>
                  <a:lnTo>
                    <a:pt x="47191" y="139014"/>
                  </a:lnTo>
                  <a:lnTo>
                    <a:pt x="44996" y="152061"/>
                  </a:lnTo>
                  <a:lnTo>
                    <a:pt x="44753" y="153281"/>
                  </a:lnTo>
                  <a:lnTo>
                    <a:pt x="44143" y="154378"/>
                  </a:lnTo>
                  <a:lnTo>
                    <a:pt x="40241" y="160353"/>
                  </a:lnTo>
                  <a:lnTo>
                    <a:pt x="38290" y="163524"/>
                  </a:lnTo>
                  <a:lnTo>
                    <a:pt x="37680" y="170596"/>
                  </a:lnTo>
                  <a:lnTo>
                    <a:pt x="38168" y="170474"/>
                  </a:lnTo>
                  <a:lnTo>
                    <a:pt x="48289" y="172669"/>
                  </a:lnTo>
                  <a:lnTo>
                    <a:pt x="54996" y="189131"/>
                  </a:lnTo>
                  <a:lnTo>
                    <a:pt x="63288" y="193765"/>
                  </a:lnTo>
                  <a:lnTo>
                    <a:pt x="66702" y="197180"/>
                  </a:lnTo>
                  <a:lnTo>
                    <a:pt x="73531" y="198643"/>
                  </a:lnTo>
                  <a:lnTo>
                    <a:pt x="85359" y="187668"/>
                  </a:lnTo>
                  <a:lnTo>
                    <a:pt x="104260" y="182791"/>
                  </a:lnTo>
                  <a:lnTo>
                    <a:pt x="116332" y="184742"/>
                  </a:lnTo>
                  <a:lnTo>
                    <a:pt x="126698" y="188278"/>
                  </a:lnTo>
                  <a:lnTo>
                    <a:pt x="137672" y="180718"/>
                  </a:lnTo>
                  <a:lnTo>
                    <a:pt x="140599" y="173889"/>
                  </a:lnTo>
                  <a:lnTo>
                    <a:pt x="149378" y="169865"/>
                  </a:lnTo>
                  <a:lnTo>
                    <a:pt x="155963" y="162426"/>
                  </a:lnTo>
                  <a:lnTo>
                    <a:pt x="167792" y="156939"/>
                  </a:lnTo>
                  <a:lnTo>
                    <a:pt x="170475" y="145233"/>
                  </a:lnTo>
                  <a:lnTo>
                    <a:pt x="180595" y="133160"/>
                  </a:lnTo>
                  <a:lnTo>
                    <a:pt x="180474" y="131575"/>
                  </a:lnTo>
                  <a:lnTo>
                    <a:pt x="178889" y="114137"/>
                  </a:lnTo>
                  <a:lnTo>
                    <a:pt x="179864" y="93285"/>
                  </a:lnTo>
                  <a:lnTo>
                    <a:pt x="190351" y="82798"/>
                  </a:lnTo>
                  <a:lnTo>
                    <a:pt x="191204" y="76092"/>
                  </a:lnTo>
                  <a:lnTo>
                    <a:pt x="203764" y="64751"/>
                  </a:lnTo>
                  <a:lnTo>
                    <a:pt x="215471" y="63775"/>
                  </a:lnTo>
                  <a:lnTo>
                    <a:pt x="232299" y="56703"/>
                  </a:lnTo>
                  <a:lnTo>
                    <a:pt x="238274" y="4194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5" name="Freihandform: Form 884">
              <a:extLst>
                <a:ext uri="{FF2B5EF4-FFF2-40B4-BE49-F238E27FC236}">
                  <a16:creationId xmlns:a16="http://schemas.microsoft.com/office/drawing/2014/main" id="{A22B92FE-A082-48C1-8CDB-AC19D83DD9A2}"/>
                </a:ext>
              </a:extLst>
            </p:cNvPr>
            <p:cNvSpPr/>
            <p:nvPr/>
          </p:nvSpPr>
          <p:spPr>
            <a:xfrm>
              <a:off x="4474934" y="2585066"/>
              <a:ext cx="12315" cy="9511"/>
            </a:xfrm>
            <a:custGeom>
              <a:avLst/>
              <a:gdLst>
                <a:gd name="connsiteX0" fmla="*/ 0 w 12315"/>
                <a:gd name="connsiteY0" fmla="*/ 488 h 9511"/>
                <a:gd name="connsiteX1" fmla="*/ 0 w 12315"/>
                <a:gd name="connsiteY1" fmla="*/ 7438 h 9511"/>
                <a:gd name="connsiteX2" fmla="*/ 2439 w 12315"/>
                <a:gd name="connsiteY2" fmla="*/ 9511 h 9511"/>
                <a:gd name="connsiteX3" fmla="*/ 10609 w 12315"/>
                <a:gd name="connsiteY3" fmla="*/ 6097 h 9511"/>
                <a:gd name="connsiteX4" fmla="*/ 12316 w 12315"/>
                <a:gd name="connsiteY4" fmla="*/ 3049 h 9511"/>
                <a:gd name="connsiteX5" fmla="*/ 9146 w 12315"/>
                <a:gd name="connsiteY5" fmla="*/ 0 h 9511"/>
                <a:gd name="connsiteX6" fmla="*/ 0 w 12315"/>
                <a:gd name="connsiteY6" fmla="*/ 488 h 9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15" h="9511">
                  <a:moveTo>
                    <a:pt x="0" y="488"/>
                  </a:moveTo>
                  <a:lnTo>
                    <a:pt x="0" y="7438"/>
                  </a:lnTo>
                  <a:lnTo>
                    <a:pt x="2439" y="9511"/>
                  </a:lnTo>
                  <a:lnTo>
                    <a:pt x="10609" y="6097"/>
                  </a:lnTo>
                  <a:lnTo>
                    <a:pt x="12316" y="3049"/>
                  </a:lnTo>
                  <a:lnTo>
                    <a:pt x="9146" y="0"/>
                  </a:lnTo>
                  <a:lnTo>
                    <a:pt x="0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6" name="Freihandform: Form 885">
              <a:extLst>
                <a:ext uri="{FF2B5EF4-FFF2-40B4-BE49-F238E27FC236}">
                  <a16:creationId xmlns:a16="http://schemas.microsoft.com/office/drawing/2014/main" id="{F657AB4B-FCC4-4DEC-B060-8899E52AB88F}"/>
                </a:ext>
              </a:extLst>
            </p:cNvPr>
            <p:cNvSpPr/>
            <p:nvPr/>
          </p:nvSpPr>
          <p:spPr>
            <a:xfrm>
              <a:off x="4243367" y="2526412"/>
              <a:ext cx="51215" cy="126087"/>
            </a:xfrm>
            <a:custGeom>
              <a:avLst/>
              <a:gdLst>
                <a:gd name="connsiteX0" fmla="*/ 41948 w 51215"/>
                <a:gd name="connsiteY0" fmla="*/ 78408 h 126087"/>
                <a:gd name="connsiteX1" fmla="*/ 36827 w 51215"/>
                <a:gd name="connsiteY1" fmla="*/ 61459 h 126087"/>
                <a:gd name="connsiteX2" fmla="*/ 35973 w 51215"/>
                <a:gd name="connsiteY2" fmla="*/ 58532 h 126087"/>
                <a:gd name="connsiteX3" fmla="*/ 37802 w 51215"/>
                <a:gd name="connsiteY3" fmla="*/ 55971 h 126087"/>
                <a:gd name="connsiteX4" fmla="*/ 42070 w 51215"/>
                <a:gd name="connsiteY4" fmla="*/ 50240 h 126087"/>
                <a:gd name="connsiteX5" fmla="*/ 42924 w 51215"/>
                <a:gd name="connsiteY5" fmla="*/ 31339 h 126087"/>
                <a:gd name="connsiteX6" fmla="*/ 43045 w 51215"/>
                <a:gd name="connsiteY6" fmla="*/ 29632 h 126087"/>
                <a:gd name="connsiteX7" fmla="*/ 44021 w 51215"/>
                <a:gd name="connsiteY7" fmla="*/ 28168 h 126087"/>
                <a:gd name="connsiteX8" fmla="*/ 48899 w 51215"/>
                <a:gd name="connsiteY8" fmla="*/ 20852 h 126087"/>
                <a:gd name="connsiteX9" fmla="*/ 51216 w 51215"/>
                <a:gd name="connsiteY9" fmla="*/ 6463 h 126087"/>
                <a:gd name="connsiteX10" fmla="*/ 46582 w 51215"/>
                <a:gd name="connsiteY10" fmla="*/ 0 h 126087"/>
                <a:gd name="connsiteX11" fmla="*/ 42314 w 51215"/>
                <a:gd name="connsiteY11" fmla="*/ 1829 h 126087"/>
                <a:gd name="connsiteX12" fmla="*/ 41338 w 51215"/>
                <a:gd name="connsiteY12" fmla="*/ 2317 h 126087"/>
                <a:gd name="connsiteX13" fmla="*/ 40485 w 51215"/>
                <a:gd name="connsiteY13" fmla="*/ 2683 h 126087"/>
                <a:gd name="connsiteX14" fmla="*/ 39509 w 51215"/>
                <a:gd name="connsiteY14" fmla="*/ 2805 h 126087"/>
                <a:gd name="connsiteX15" fmla="*/ 34753 w 51215"/>
                <a:gd name="connsiteY15" fmla="*/ 3292 h 126087"/>
                <a:gd name="connsiteX16" fmla="*/ 21340 w 51215"/>
                <a:gd name="connsiteY16" fmla="*/ 4634 h 126087"/>
                <a:gd name="connsiteX17" fmla="*/ 19511 w 51215"/>
                <a:gd name="connsiteY17" fmla="*/ 4512 h 126087"/>
                <a:gd name="connsiteX18" fmla="*/ 18291 w 51215"/>
                <a:gd name="connsiteY18" fmla="*/ 4146 h 126087"/>
                <a:gd name="connsiteX19" fmla="*/ 10243 w 51215"/>
                <a:gd name="connsiteY19" fmla="*/ 1219 h 126087"/>
                <a:gd name="connsiteX20" fmla="*/ 8536 w 51215"/>
                <a:gd name="connsiteY20" fmla="*/ 4634 h 126087"/>
                <a:gd name="connsiteX21" fmla="*/ 11219 w 51215"/>
                <a:gd name="connsiteY21" fmla="*/ 14267 h 126087"/>
                <a:gd name="connsiteX22" fmla="*/ 15121 w 51215"/>
                <a:gd name="connsiteY22" fmla="*/ 27925 h 126087"/>
                <a:gd name="connsiteX23" fmla="*/ 12072 w 51215"/>
                <a:gd name="connsiteY23" fmla="*/ 47069 h 126087"/>
                <a:gd name="connsiteX24" fmla="*/ 7317 w 51215"/>
                <a:gd name="connsiteY24" fmla="*/ 51825 h 126087"/>
                <a:gd name="connsiteX25" fmla="*/ 5488 w 51215"/>
                <a:gd name="connsiteY25" fmla="*/ 62068 h 126087"/>
                <a:gd name="connsiteX26" fmla="*/ 0 w 51215"/>
                <a:gd name="connsiteY26" fmla="*/ 68531 h 126087"/>
                <a:gd name="connsiteX27" fmla="*/ 732 w 51215"/>
                <a:gd name="connsiteY27" fmla="*/ 85481 h 126087"/>
                <a:gd name="connsiteX28" fmla="*/ 7073 w 51215"/>
                <a:gd name="connsiteY28" fmla="*/ 85481 h 126087"/>
                <a:gd name="connsiteX29" fmla="*/ 9390 w 51215"/>
                <a:gd name="connsiteY29" fmla="*/ 94992 h 126087"/>
                <a:gd name="connsiteX30" fmla="*/ 8414 w 51215"/>
                <a:gd name="connsiteY30" fmla="*/ 114381 h 126087"/>
                <a:gd name="connsiteX31" fmla="*/ 6829 w 51215"/>
                <a:gd name="connsiteY31" fmla="*/ 123527 h 126087"/>
                <a:gd name="connsiteX32" fmla="*/ 16218 w 51215"/>
                <a:gd name="connsiteY32" fmla="*/ 124258 h 126087"/>
                <a:gd name="connsiteX33" fmla="*/ 24754 w 51215"/>
                <a:gd name="connsiteY33" fmla="*/ 126088 h 126087"/>
                <a:gd name="connsiteX34" fmla="*/ 30607 w 51215"/>
                <a:gd name="connsiteY34" fmla="*/ 122551 h 126087"/>
                <a:gd name="connsiteX35" fmla="*/ 30973 w 51215"/>
                <a:gd name="connsiteY35" fmla="*/ 119503 h 126087"/>
                <a:gd name="connsiteX36" fmla="*/ 31583 w 51215"/>
                <a:gd name="connsiteY36" fmla="*/ 111455 h 126087"/>
                <a:gd name="connsiteX37" fmla="*/ 31705 w 51215"/>
                <a:gd name="connsiteY37" fmla="*/ 109991 h 126087"/>
                <a:gd name="connsiteX38" fmla="*/ 32559 w 51215"/>
                <a:gd name="connsiteY38" fmla="*/ 108650 h 126087"/>
                <a:gd name="connsiteX39" fmla="*/ 34875 w 51215"/>
                <a:gd name="connsiteY39" fmla="*/ 104992 h 126087"/>
                <a:gd name="connsiteX40" fmla="*/ 38412 w 51215"/>
                <a:gd name="connsiteY40" fmla="*/ 99382 h 126087"/>
                <a:gd name="connsiteX41" fmla="*/ 40607 w 51215"/>
                <a:gd name="connsiteY41" fmla="*/ 86578 h 126087"/>
                <a:gd name="connsiteX42" fmla="*/ 41948 w 51215"/>
                <a:gd name="connsiteY42" fmla="*/ 78408 h 12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1215" h="126087">
                  <a:moveTo>
                    <a:pt x="41948" y="78408"/>
                  </a:moveTo>
                  <a:lnTo>
                    <a:pt x="36827" y="61459"/>
                  </a:lnTo>
                  <a:lnTo>
                    <a:pt x="35973" y="58532"/>
                  </a:lnTo>
                  <a:lnTo>
                    <a:pt x="37802" y="55971"/>
                  </a:lnTo>
                  <a:lnTo>
                    <a:pt x="42070" y="50240"/>
                  </a:lnTo>
                  <a:lnTo>
                    <a:pt x="42924" y="31339"/>
                  </a:lnTo>
                  <a:lnTo>
                    <a:pt x="43045" y="29632"/>
                  </a:lnTo>
                  <a:lnTo>
                    <a:pt x="44021" y="28168"/>
                  </a:lnTo>
                  <a:lnTo>
                    <a:pt x="48899" y="20852"/>
                  </a:lnTo>
                  <a:lnTo>
                    <a:pt x="51216" y="6463"/>
                  </a:lnTo>
                  <a:lnTo>
                    <a:pt x="46582" y="0"/>
                  </a:lnTo>
                  <a:lnTo>
                    <a:pt x="42314" y="1829"/>
                  </a:lnTo>
                  <a:lnTo>
                    <a:pt x="41338" y="2317"/>
                  </a:lnTo>
                  <a:lnTo>
                    <a:pt x="40485" y="2683"/>
                  </a:lnTo>
                  <a:lnTo>
                    <a:pt x="39509" y="2805"/>
                  </a:lnTo>
                  <a:lnTo>
                    <a:pt x="34753" y="3292"/>
                  </a:lnTo>
                  <a:lnTo>
                    <a:pt x="21340" y="4634"/>
                  </a:lnTo>
                  <a:lnTo>
                    <a:pt x="19511" y="4512"/>
                  </a:lnTo>
                  <a:lnTo>
                    <a:pt x="18291" y="4146"/>
                  </a:lnTo>
                  <a:lnTo>
                    <a:pt x="10243" y="1219"/>
                  </a:lnTo>
                  <a:lnTo>
                    <a:pt x="8536" y="4634"/>
                  </a:lnTo>
                  <a:lnTo>
                    <a:pt x="11219" y="14267"/>
                  </a:lnTo>
                  <a:lnTo>
                    <a:pt x="15121" y="27925"/>
                  </a:lnTo>
                  <a:lnTo>
                    <a:pt x="12072" y="47069"/>
                  </a:lnTo>
                  <a:lnTo>
                    <a:pt x="7317" y="51825"/>
                  </a:lnTo>
                  <a:lnTo>
                    <a:pt x="5488" y="62068"/>
                  </a:lnTo>
                  <a:lnTo>
                    <a:pt x="0" y="68531"/>
                  </a:lnTo>
                  <a:lnTo>
                    <a:pt x="732" y="85481"/>
                  </a:lnTo>
                  <a:lnTo>
                    <a:pt x="7073" y="85481"/>
                  </a:lnTo>
                  <a:lnTo>
                    <a:pt x="9390" y="94992"/>
                  </a:lnTo>
                  <a:lnTo>
                    <a:pt x="8414" y="114381"/>
                  </a:lnTo>
                  <a:lnTo>
                    <a:pt x="6829" y="123527"/>
                  </a:lnTo>
                  <a:lnTo>
                    <a:pt x="16218" y="124258"/>
                  </a:lnTo>
                  <a:lnTo>
                    <a:pt x="24754" y="126088"/>
                  </a:lnTo>
                  <a:lnTo>
                    <a:pt x="30607" y="122551"/>
                  </a:lnTo>
                  <a:lnTo>
                    <a:pt x="30973" y="119503"/>
                  </a:lnTo>
                  <a:lnTo>
                    <a:pt x="31583" y="111455"/>
                  </a:lnTo>
                  <a:lnTo>
                    <a:pt x="31705" y="109991"/>
                  </a:lnTo>
                  <a:lnTo>
                    <a:pt x="32559" y="108650"/>
                  </a:lnTo>
                  <a:lnTo>
                    <a:pt x="34875" y="104992"/>
                  </a:lnTo>
                  <a:lnTo>
                    <a:pt x="38412" y="99382"/>
                  </a:lnTo>
                  <a:lnTo>
                    <a:pt x="40607" y="86578"/>
                  </a:lnTo>
                  <a:lnTo>
                    <a:pt x="41948" y="7840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7" name="Freihandform: Form 886">
              <a:extLst>
                <a:ext uri="{FF2B5EF4-FFF2-40B4-BE49-F238E27FC236}">
                  <a16:creationId xmlns:a16="http://schemas.microsoft.com/office/drawing/2014/main" id="{CB45ABE2-646B-4DFC-A52C-72084940D708}"/>
                </a:ext>
              </a:extLst>
            </p:cNvPr>
            <p:cNvSpPr/>
            <p:nvPr/>
          </p:nvSpPr>
          <p:spPr>
            <a:xfrm>
              <a:off x="4779178" y="1552587"/>
              <a:ext cx="13901" cy="4755"/>
            </a:xfrm>
            <a:custGeom>
              <a:avLst/>
              <a:gdLst>
                <a:gd name="connsiteX0" fmla="*/ 13902 w 13901"/>
                <a:gd name="connsiteY0" fmla="*/ 1219 h 4755"/>
                <a:gd name="connsiteX1" fmla="*/ 13902 w 13901"/>
                <a:gd name="connsiteY1" fmla="*/ 488 h 4755"/>
                <a:gd name="connsiteX2" fmla="*/ 8658 w 13901"/>
                <a:gd name="connsiteY2" fmla="*/ 0 h 4755"/>
                <a:gd name="connsiteX3" fmla="*/ 1219 w 13901"/>
                <a:gd name="connsiteY3" fmla="*/ 2073 h 4755"/>
                <a:gd name="connsiteX4" fmla="*/ 0 w 13901"/>
                <a:gd name="connsiteY4" fmla="*/ 3658 h 4755"/>
                <a:gd name="connsiteX5" fmla="*/ 8048 w 13901"/>
                <a:gd name="connsiteY5" fmla="*/ 4756 h 4755"/>
                <a:gd name="connsiteX6" fmla="*/ 13902 w 13901"/>
                <a:gd name="connsiteY6" fmla="*/ 1219 h 4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01" h="4755">
                  <a:moveTo>
                    <a:pt x="13902" y="1219"/>
                  </a:moveTo>
                  <a:lnTo>
                    <a:pt x="13902" y="488"/>
                  </a:lnTo>
                  <a:lnTo>
                    <a:pt x="8658" y="0"/>
                  </a:lnTo>
                  <a:lnTo>
                    <a:pt x="1219" y="2073"/>
                  </a:lnTo>
                  <a:lnTo>
                    <a:pt x="0" y="3658"/>
                  </a:lnTo>
                  <a:lnTo>
                    <a:pt x="8048" y="4756"/>
                  </a:lnTo>
                  <a:lnTo>
                    <a:pt x="13902" y="1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8" name="Freihandform: Form 887">
              <a:extLst>
                <a:ext uri="{FF2B5EF4-FFF2-40B4-BE49-F238E27FC236}">
                  <a16:creationId xmlns:a16="http://schemas.microsoft.com/office/drawing/2014/main" id="{AADF3629-4F51-4142-9EC0-417180C10DBB}"/>
                </a:ext>
              </a:extLst>
            </p:cNvPr>
            <p:cNvSpPr/>
            <p:nvPr/>
          </p:nvSpPr>
          <p:spPr>
            <a:xfrm>
              <a:off x="4590900" y="2540070"/>
              <a:ext cx="23047" cy="54385"/>
            </a:xfrm>
            <a:custGeom>
              <a:avLst/>
              <a:gdLst>
                <a:gd name="connsiteX0" fmla="*/ 18047 w 23047"/>
                <a:gd name="connsiteY0" fmla="*/ 244 h 54385"/>
                <a:gd name="connsiteX1" fmla="*/ 17194 w 23047"/>
                <a:gd name="connsiteY1" fmla="*/ 0 h 54385"/>
                <a:gd name="connsiteX2" fmla="*/ 12316 w 23047"/>
                <a:gd name="connsiteY2" fmla="*/ 5487 h 54385"/>
                <a:gd name="connsiteX3" fmla="*/ 0 w 23047"/>
                <a:gd name="connsiteY3" fmla="*/ 11950 h 54385"/>
                <a:gd name="connsiteX4" fmla="*/ 610 w 23047"/>
                <a:gd name="connsiteY4" fmla="*/ 13657 h 54385"/>
                <a:gd name="connsiteX5" fmla="*/ 1707 w 23047"/>
                <a:gd name="connsiteY5" fmla="*/ 17682 h 54385"/>
                <a:gd name="connsiteX6" fmla="*/ 976 w 23047"/>
                <a:gd name="connsiteY6" fmla="*/ 38534 h 54385"/>
                <a:gd name="connsiteX7" fmla="*/ 1707 w 23047"/>
                <a:gd name="connsiteY7" fmla="*/ 52679 h 54385"/>
                <a:gd name="connsiteX8" fmla="*/ 5365 w 23047"/>
                <a:gd name="connsiteY8" fmla="*/ 54386 h 54385"/>
                <a:gd name="connsiteX9" fmla="*/ 8414 w 23047"/>
                <a:gd name="connsiteY9" fmla="*/ 50728 h 54385"/>
                <a:gd name="connsiteX10" fmla="*/ 16096 w 23047"/>
                <a:gd name="connsiteY10" fmla="*/ 49386 h 54385"/>
                <a:gd name="connsiteX11" fmla="*/ 19145 w 23047"/>
                <a:gd name="connsiteY11" fmla="*/ 44509 h 54385"/>
                <a:gd name="connsiteX12" fmla="*/ 21706 w 23047"/>
                <a:gd name="connsiteY12" fmla="*/ 39387 h 54385"/>
                <a:gd name="connsiteX13" fmla="*/ 23047 w 23047"/>
                <a:gd name="connsiteY13" fmla="*/ 14511 h 54385"/>
                <a:gd name="connsiteX14" fmla="*/ 18047 w 23047"/>
                <a:gd name="connsiteY14" fmla="*/ 9633 h 54385"/>
                <a:gd name="connsiteX15" fmla="*/ 18047 w 23047"/>
                <a:gd name="connsiteY15" fmla="*/ 244 h 5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047" h="54385">
                  <a:moveTo>
                    <a:pt x="18047" y="244"/>
                  </a:moveTo>
                  <a:lnTo>
                    <a:pt x="17194" y="0"/>
                  </a:lnTo>
                  <a:lnTo>
                    <a:pt x="12316" y="5487"/>
                  </a:lnTo>
                  <a:lnTo>
                    <a:pt x="0" y="11950"/>
                  </a:lnTo>
                  <a:lnTo>
                    <a:pt x="610" y="13657"/>
                  </a:lnTo>
                  <a:lnTo>
                    <a:pt x="1707" y="17682"/>
                  </a:lnTo>
                  <a:lnTo>
                    <a:pt x="976" y="38534"/>
                  </a:lnTo>
                  <a:lnTo>
                    <a:pt x="1707" y="52679"/>
                  </a:lnTo>
                  <a:lnTo>
                    <a:pt x="5365" y="54386"/>
                  </a:lnTo>
                  <a:lnTo>
                    <a:pt x="8414" y="50728"/>
                  </a:lnTo>
                  <a:lnTo>
                    <a:pt x="16096" y="49386"/>
                  </a:lnTo>
                  <a:lnTo>
                    <a:pt x="19145" y="44509"/>
                  </a:lnTo>
                  <a:lnTo>
                    <a:pt x="21706" y="39387"/>
                  </a:lnTo>
                  <a:lnTo>
                    <a:pt x="23047" y="14511"/>
                  </a:lnTo>
                  <a:lnTo>
                    <a:pt x="18047" y="9633"/>
                  </a:lnTo>
                  <a:lnTo>
                    <a:pt x="18047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E501FB1E-F8AF-4F56-A7E7-9EF7EDEDCF40}"/>
                </a:ext>
              </a:extLst>
            </p:cNvPr>
            <p:cNvSpPr/>
            <p:nvPr/>
          </p:nvSpPr>
          <p:spPr>
            <a:xfrm>
              <a:off x="4304825" y="2004990"/>
              <a:ext cx="147427" cy="288391"/>
            </a:xfrm>
            <a:custGeom>
              <a:avLst/>
              <a:gdLst>
                <a:gd name="connsiteX0" fmla="*/ 1585 w 147427"/>
                <a:gd name="connsiteY0" fmla="*/ 83530 h 288391"/>
                <a:gd name="connsiteX1" fmla="*/ 4268 w 147427"/>
                <a:gd name="connsiteY1" fmla="*/ 80725 h 288391"/>
                <a:gd name="connsiteX2" fmla="*/ 5000 w 147427"/>
                <a:gd name="connsiteY2" fmla="*/ 72921 h 288391"/>
                <a:gd name="connsiteX3" fmla="*/ 13902 w 147427"/>
                <a:gd name="connsiteY3" fmla="*/ 64995 h 288391"/>
                <a:gd name="connsiteX4" fmla="*/ 17803 w 147427"/>
                <a:gd name="connsiteY4" fmla="*/ 71336 h 288391"/>
                <a:gd name="connsiteX5" fmla="*/ 16828 w 147427"/>
                <a:gd name="connsiteY5" fmla="*/ 77433 h 288391"/>
                <a:gd name="connsiteX6" fmla="*/ 11219 w 147427"/>
                <a:gd name="connsiteY6" fmla="*/ 88042 h 288391"/>
                <a:gd name="connsiteX7" fmla="*/ 9877 w 147427"/>
                <a:gd name="connsiteY7" fmla="*/ 96090 h 288391"/>
                <a:gd name="connsiteX8" fmla="*/ 9877 w 147427"/>
                <a:gd name="connsiteY8" fmla="*/ 108284 h 288391"/>
                <a:gd name="connsiteX9" fmla="*/ 10853 w 147427"/>
                <a:gd name="connsiteY9" fmla="*/ 110845 h 288391"/>
                <a:gd name="connsiteX10" fmla="*/ 11340 w 147427"/>
                <a:gd name="connsiteY10" fmla="*/ 110113 h 288391"/>
                <a:gd name="connsiteX11" fmla="*/ 12926 w 147427"/>
                <a:gd name="connsiteY11" fmla="*/ 99504 h 288391"/>
                <a:gd name="connsiteX12" fmla="*/ 23535 w 147427"/>
                <a:gd name="connsiteY12" fmla="*/ 93651 h 288391"/>
                <a:gd name="connsiteX13" fmla="*/ 26827 w 147427"/>
                <a:gd name="connsiteY13" fmla="*/ 100236 h 288391"/>
                <a:gd name="connsiteX14" fmla="*/ 27559 w 147427"/>
                <a:gd name="connsiteY14" fmla="*/ 107309 h 288391"/>
                <a:gd name="connsiteX15" fmla="*/ 30485 w 147427"/>
                <a:gd name="connsiteY15" fmla="*/ 113162 h 288391"/>
                <a:gd name="connsiteX16" fmla="*/ 29632 w 147427"/>
                <a:gd name="connsiteY16" fmla="*/ 121698 h 288391"/>
                <a:gd name="connsiteX17" fmla="*/ 23169 w 147427"/>
                <a:gd name="connsiteY17" fmla="*/ 127429 h 288391"/>
                <a:gd name="connsiteX18" fmla="*/ 22071 w 147427"/>
                <a:gd name="connsiteY18" fmla="*/ 135843 h 288391"/>
                <a:gd name="connsiteX19" fmla="*/ 23900 w 147427"/>
                <a:gd name="connsiteY19" fmla="*/ 136940 h 288391"/>
                <a:gd name="connsiteX20" fmla="*/ 44021 w 147427"/>
                <a:gd name="connsiteY20" fmla="*/ 136331 h 288391"/>
                <a:gd name="connsiteX21" fmla="*/ 56337 w 147427"/>
                <a:gd name="connsiteY21" fmla="*/ 129746 h 288391"/>
                <a:gd name="connsiteX22" fmla="*/ 54508 w 147427"/>
                <a:gd name="connsiteY22" fmla="*/ 146696 h 288391"/>
                <a:gd name="connsiteX23" fmla="*/ 57191 w 147427"/>
                <a:gd name="connsiteY23" fmla="*/ 155354 h 288391"/>
                <a:gd name="connsiteX24" fmla="*/ 60483 w 147427"/>
                <a:gd name="connsiteY24" fmla="*/ 161817 h 288391"/>
                <a:gd name="connsiteX25" fmla="*/ 64995 w 147427"/>
                <a:gd name="connsiteY25" fmla="*/ 164865 h 288391"/>
                <a:gd name="connsiteX26" fmla="*/ 66702 w 147427"/>
                <a:gd name="connsiteY26" fmla="*/ 176450 h 288391"/>
                <a:gd name="connsiteX27" fmla="*/ 61581 w 147427"/>
                <a:gd name="connsiteY27" fmla="*/ 184010 h 288391"/>
                <a:gd name="connsiteX28" fmla="*/ 49996 w 147427"/>
                <a:gd name="connsiteY28" fmla="*/ 189375 h 288391"/>
                <a:gd name="connsiteX29" fmla="*/ 37802 w 147427"/>
                <a:gd name="connsiteY29" fmla="*/ 191936 h 288391"/>
                <a:gd name="connsiteX30" fmla="*/ 35973 w 147427"/>
                <a:gd name="connsiteY30" fmla="*/ 197911 h 288391"/>
                <a:gd name="connsiteX31" fmla="*/ 40485 w 147427"/>
                <a:gd name="connsiteY31" fmla="*/ 199253 h 288391"/>
                <a:gd name="connsiteX32" fmla="*/ 37314 w 147427"/>
                <a:gd name="connsiteY32" fmla="*/ 226690 h 288391"/>
                <a:gd name="connsiteX33" fmla="*/ 28291 w 147427"/>
                <a:gd name="connsiteY33" fmla="*/ 228275 h 288391"/>
                <a:gd name="connsiteX34" fmla="*/ 22193 w 147427"/>
                <a:gd name="connsiteY34" fmla="*/ 231323 h 288391"/>
                <a:gd name="connsiteX35" fmla="*/ 20730 w 147427"/>
                <a:gd name="connsiteY35" fmla="*/ 235225 h 288391"/>
                <a:gd name="connsiteX36" fmla="*/ 22316 w 147427"/>
                <a:gd name="connsiteY36" fmla="*/ 237664 h 288391"/>
                <a:gd name="connsiteX37" fmla="*/ 43289 w 147427"/>
                <a:gd name="connsiteY37" fmla="*/ 238396 h 288391"/>
                <a:gd name="connsiteX38" fmla="*/ 49142 w 147427"/>
                <a:gd name="connsiteY38" fmla="*/ 243517 h 288391"/>
                <a:gd name="connsiteX39" fmla="*/ 56093 w 147427"/>
                <a:gd name="connsiteY39" fmla="*/ 244615 h 288391"/>
                <a:gd name="connsiteX40" fmla="*/ 58776 w 147427"/>
                <a:gd name="connsiteY40" fmla="*/ 242664 h 288391"/>
                <a:gd name="connsiteX41" fmla="*/ 68287 w 147427"/>
                <a:gd name="connsiteY41" fmla="*/ 242664 h 288391"/>
                <a:gd name="connsiteX42" fmla="*/ 63897 w 147427"/>
                <a:gd name="connsiteY42" fmla="*/ 253639 h 288391"/>
                <a:gd name="connsiteX43" fmla="*/ 53533 w 147427"/>
                <a:gd name="connsiteY43" fmla="*/ 255956 h 288391"/>
                <a:gd name="connsiteX44" fmla="*/ 42192 w 147427"/>
                <a:gd name="connsiteY44" fmla="*/ 257907 h 288391"/>
                <a:gd name="connsiteX45" fmla="*/ 40728 w 147427"/>
                <a:gd name="connsiteY45" fmla="*/ 265589 h 288391"/>
                <a:gd name="connsiteX46" fmla="*/ 32802 w 147427"/>
                <a:gd name="connsiteY46" fmla="*/ 267784 h 288391"/>
                <a:gd name="connsiteX47" fmla="*/ 29388 w 147427"/>
                <a:gd name="connsiteY47" fmla="*/ 277051 h 288391"/>
                <a:gd name="connsiteX48" fmla="*/ 19267 w 147427"/>
                <a:gd name="connsiteY48" fmla="*/ 287295 h 288391"/>
                <a:gd name="connsiteX49" fmla="*/ 19389 w 147427"/>
                <a:gd name="connsiteY49" fmla="*/ 288392 h 288391"/>
                <a:gd name="connsiteX50" fmla="*/ 24266 w 147427"/>
                <a:gd name="connsiteY50" fmla="*/ 287417 h 288391"/>
                <a:gd name="connsiteX51" fmla="*/ 29998 w 147427"/>
                <a:gd name="connsiteY51" fmla="*/ 279490 h 288391"/>
                <a:gd name="connsiteX52" fmla="*/ 52069 w 147427"/>
                <a:gd name="connsiteY52" fmla="*/ 278759 h 288391"/>
                <a:gd name="connsiteX53" fmla="*/ 53410 w 147427"/>
                <a:gd name="connsiteY53" fmla="*/ 272905 h 288391"/>
                <a:gd name="connsiteX54" fmla="*/ 69873 w 147427"/>
                <a:gd name="connsiteY54" fmla="*/ 267174 h 288391"/>
                <a:gd name="connsiteX55" fmla="*/ 69873 w 147427"/>
                <a:gd name="connsiteY55" fmla="*/ 267174 h 288391"/>
                <a:gd name="connsiteX56" fmla="*/ 74141 w 147427"/>
                <a:gd name="connsiteY56" fmla="*/ 270710 h 288391"/>
                <a:gd name="connsiteX57" fmla="*/ 101333 w 147427"/>
                <a:gd name="connsiteY57" fmla="*/ 262418 h 288391"/>
                <a:gd name="connsiteX58" fmla="*/ 110845 w 147427"/>
                <a:gd name="connsiteY58" fmla="*/ 265345 h 288391"/>
                <a:gd name="connsiteX59" fmla="*/ 126210 w 147427"/>
                <a:gd name="connsiteY59" fmla="*/ 264613 h 288391"/>
                <a:gd name="connsiteX60" fmla="*/ 142306 w 147427"/>
                <a:gd name="connsiteY60" fmla="*/ 253639 h 288391"/>
                <a:gd name="connsiteX61" fmla="*/ 142062 w 147427"/>
                <a:gd name="connsiteY61" fmla="*/ 250956 h 288391"/>
                <a:gd name="connsiteX62" fmla="*/ 133160 w 147427"/>
                <a:gd name="connsiteY62" fmla="*/ 250346 h 288391"/>
                <a:gd name="connsiteX63" fmla="*/ 121210 w 147427"/>
                <a:gd name="connsiteY63" fmla="*/ 249371 h 288391"/>
                <a:gd name="connsiteX64" fmla="*/ 125600 w 147427"/>
                <a:gd name="connsiteY64" fmla="*/ 242054 h 288391"/>
                <a:gd name="connsiteX65" fmla="*/ 134380 w 147427"/>
                <a:gd name="connsiteY65" fmla="*/ 240591 h 288391"/>
                <a:gd name="connsiteX66" fmla="*/ 143525 w 147427"/>
                <a:gd name="connsiteY66" fmla="*/ 230836 h 288391"/>
                <a:gd name="connsiteX67" fmla="*/ 147427 w 147427"/>
                <a:gd name="connsiteY67" fmla="*/ 220349 h 288391"/>
                <a:gd name="connsiteX68" fmla="*/ 146208 w 147427"/>
                <a:gd name="connsiteY68" fmla="*/ 203886 h 288391"/>
                <a:gd name="connsiteX69" fmla="*/ 129868 w 147427"/>
                <a:gd name="connsiteY69" fmla="*/ 205838 h 288391"/>
                <a:gd name="connsiteX70" fmla="*/ 120600 w 147427"/>
                <a:gd name="connsiteY70" fmla="*/ 199862 h 288391"/>
                <a:gd name="connsiteX71" fmla="*/ 118405 w 147427"/>
                <a:gd name="connsiteY71" fmla="*/ 165963 h 288391"/>
                <a:gd name="connsiteX72" fmla="*/ 115235 w 147427"/>
                <a:gd name="connsiteY72" fmla="*/ 160109 h 288391"/>
                <a:gd name="connsiteX73" fmla="*/ 101456 w 147427"/>
                <a:gd name="connsiteY73" fmla="*/ 143647 h 288391"/>
                <a:gd name="connsiteX74" fmla="*/ 93651 w 147427"/>
                <a:gd name="connsiteY74" fmla="*/ 139867 h 288391"/>
                <a:gd name="connsiteX75" fmla="*/ 90725 w 147427"/>
                <a:gd name="connsiteY75" fmla="*/ 115723 h 288391"/>
                <a:gd name="connsiteX76" fmla="*/ 82067 w 147427"/>
                <a:gd name="connsiteY76" fmla="*/ 98895 h 288391"/>
                <a:gd name="connsiteX77" fmla="*/ 73653 w 147427"/>
                <a:gd name="connsiteY77" fmla="*/ 94627 h 288391"/>
                <a:gd name="connsiteX78" fmla="*/ 60117 w 147427"/>
                <a:gd name="connsiteY78" fmla="*/ 100236 h 288391"/>
                <a:gd name="connsiteX79" fmla="*/ 57800 w 147427"/>
                <a:gd name="connsiteY79" fmla="*/ 90847 h 288391"/>
                <a:gd name="connsiteX80" fmla="*/ 65848 w 147427"/>
                <a:gd name="connsiteY80" fmla="*/ 84262 h 288391"/>
                <a:gd name="connsiteX81" fmla="*/ 65117 w 147427"/>
                <a:gd name="connsiteY81" fmla="*/ 68409 h 288391"/>
                <a:gd name="connsiteX82" fmla="*/ 80725 w 147427"/>
                <a:gd name="connsiteY82" fmla="*/ 40851 h 288391"/>
                <a:gd name="connsiteX83" fmla="*/ 79628 w 147427"/>
                <a:gd name="connsiteY83" fmla="*/ 32680 h 288391"/>
                <a:gd name="connsiteX84" fmla="*/ 62312 w 147427"/>
                <a:gd name="connsiteY84" fmla="*/ 31339 h 288391"/>
                <a:gd name="connsiteX85" fmla="*/ 40485 w 147427"/>
                <a:gd name="connsiteY85" fmla="*/ 33046 h 288391"/>
                <a:gd name="connsiteX86" fmla="*/ 40485 w 147427"/>
                <a:gd name="connsiteY86" fmla="*/ 33046 h 288391"/>
                <a:gd name="connsiteX87" fmla="*/ 44874 w 147427"/>
                <a:gd name="connsiteY87" fmla="*/ 14633 h 288391"/>
                <a:gd name="connsiteX88" fmla="*/ 56825 w 147427"/>
                <a:gd name="connsiteY88" fmla="*/ 4024 h 288391"/>
                <a:gd name="connsiteX89" fmla="*/ 57922 w 147427"/>
                <a:gd name="connsiteY89" fmla="*/ 0 h 288391"/>
                <a:gd name="connsiteX90" fmla="*/ 51337 w 147427"/>
                <a:gd name="connsiteY90" fmla="*/ 2317 h 288391"/>
                <a:gd name="connsiteX91" fmla="*/ 26461 w 147427"/>
                <a:gd name="connsiteY91" fmla="*/ 2317 h 288391"/>
                <a:gd name="connsiteX92" fmla="*/ 20974 w 147427"/>
                <a:gd name="connsiteY92" fmla="*/ 9024 h 288391"/>
                <a:gd name="connsiteX93" fmla="*/ 17438 w 147427"/>
                <a:gd name="connsiteY93" fmla="*/ 24023 h 288391"/>
                <a:gd name="connsiteX94" fmla="*/ 7682 w 147427"/>
                <a:gd name="connsiteY94" fmla="*/ 32315 h 288391"/>
                <a:gd name="connsiteX95" fmla="*/ 7682 w 147427"/>
                <a:gd name="connsiteY95" fmla="*/ 39753 h 288391"/>
                <a:gd name="connsiteX96" fmla="*/ 11950 w 147427"/>
                <a:gd name="connsiteY96" fmla="*/ 44021 h 288391"/>
                <a:gd name="connsiteX97" fmla="*/ 11950 w 147427"/>
                <a:gd name="connsiteY97" fmla="*/ 56459 h 288391"/>
                <a:gd name="connsiteX98" fmla="*/ 2439 w 147427"/>
                <a:gd name="connsiteY98" fmla="*/ 65117 h 288391"/>
                <a:gd name="connsiteX99" fmla="*/ 0 w 147427"/>
                <a:gd name="connsiteY99" fmla="*/ 73409 h 288391"/>
                <a:gd name="connsiteX100" fmla="*/ 1219 w 147427"/>
                <a:gd name="connsiteY100" fmla="*/ 82677 h 288391"/>
                <a:gd name="connsiteX101" fmla="*/ 1585 w 147427"/>
                <a:gd name="connsiteY101" fmla="*/ 83530 h 28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47427" h="288391">
                  <a:moveTo>
                    <a:pt x="1585" y="83530"/>
                  </a:moveTo>
                  <a:lnTo>
                    <a:pt x="4268" y="80725"/>
                  </a:lnTo>
                  <a:lnTo>
                    <a:pt x="5000" y="72921"/>
                  </a:lnTo>
                  <a:lnTo>
                    <a:pt x="13902" y="64995"/>
                  </a:lnTo>
                  <a:lnTo>
                    <a:pt x="17803" y="71336"/>
                  </a:lnTo>
                  <a:lnTo>
                    <a:pt x="16828" y="77433"/>
                  </a:lnTo>
                  <a:lnTo>
                    <a:pt x="11219" y="88042"/>
                  </a:lnTo>
                  <a:lnTo>
                    <a:pt x="9877" y="96090"/>
                  </a:lnTo>
                  <a:lnTo>
                    <a:pt x="9877" y="108284"/>
                  </a:lnTo>
                  <a:lnTo>
                    <a:pt x="10853" y="110845"/>
                  </a:lnTo>
                  <a:lnTo>
                    <a:pt x="11340" y="110113"/>
                  </a:lnTo>
                  <a:lnTo>
                    <a:pt x="12926" y="99504"/>
                  </a:lnTo>
                  <a:lnTo>
                    <a:pt x="23535" y="93651"/>
                  </a:lnTo>
                  <a:lnTo>
                    <a:pt x="26827" y="100236"/>
                  </a:lnTo>
                  <a:lnTo>
                    <a:pt x="27559" y="107309"/>
                  </a:lnTo>
                  <a:lnTo>
                    <a:pt x="30485" y="113162"/>
                  </a:lnTo>
                  <a:lnTo>
                    <a:pt x="29632" y="121698"/>
                  </a:lnTo>
                  <a:lnTo>
                    <a:pt x="23169" y="127429"/>
                  </a:lnTo>
                  <a:lnTo>
                    <a:pt x="22071" y="135843"/>
                  </a:lnTo>
                  <a:lnTo>
                    <a:pt x="23900" y="136940"/>
                  </a:lnTo>
                  <a:lnTo>
                    <a:pt x="44021" y="136331"/>
                  </a:lnTo>
                  <a:lnTo>
                    <a:pt x="56337" y="129746"/>
                  </a:lnTo>
                  <a:lnTo>
                    <a:pt x="54508" y="146696"/>
                  </a:lnTo>
                  <a:lnTo>
                    <a:pt x="57191" y="155354"/>
                  </a:lnTo>
                  <a:lnTo>
                    <a:pt x="60483" y="161817"/>
                  </a:lnTo>
                  <a:lnTo>
                    <a:pt x="64995" y="164865"/>
                  </a:lnTo>
                  <a:lnTo>
                    <a:pt x="66702" y="176450"/>
                  </a:lnTo>
                  <a:lnTo>
                    <a:pt x="61581" y="184010"/>
                  </a:lnTo>
                  <a:lnTo>
                    <a:pt x="49996" y="189375"/>
                  </a:lnTo>
                  <a:lnTo>
                    <a:pt x="37802" y="191936"/>
                  </a:lnTo>
                  <a:lnTo>
                    <a:pt x="35973" y="197911"/>
                  </a:lnTo>
                  <a:lnTo>
                    <a:pt x="40485" y="199253"/>
                  </a:lnTo>
                  <a:lnTo>
                    <a:pt x="37314" y="226690"/>
                  </a:lnTo>
                  <a:lnTo>
                    <a:pt x="28291" y="228275"/>
                  </a:lnTo>
                  <a:lnTo>
                    <a:pt x="22193" y="231323"/>
                  </a:lnTo>
                  <a:lnTo>
                    <a:pt x="20730" y="235225"/>
                  </a:lnTo>
                  <a:lnTo>
                    <a:pt x="22316" y="237664"/>
                  </a:lnTo>
                  <a:lnTo>
                    <a:pt x="43289" y="238396"/>
                  </a:lnTo>
                  <a:lnTo>
                    <a:pt x="49142" y="243517"/>
                  </a:lnTo>
                  <a:lnTo>
                    <a:pt x="56093" y="244615"/>
                  </a:lnTo>
                  <a:lnTo>
                    <a:pt x="58776" y="242664"/>
                  </a:lnTo>
                  <a:lnTo>
                    <a:pt x="68287" y="242664"/>
                  </a:lnTo>
                  <a:lnTo>
                    <a:pt x="63897" y="253639"/>
                  </a:lnTo>
                  <a:lnTo>
                    <a:pt x="53533" y="255956"/>
                  </a:lnTo>
                  <a:lnTo>
                    <a:pt x="42192" y="257907"/>
                  </a:lnTo>
                  <a:lnTo>
                    <a:pt x="40728" y="265589"/>
                  </a:lnTo>
                  <a:lnTo>
                    <a:pt x="32802" y="267784"/>
                  </a:lnTo>
                  <a:lnTo>
                    <a:pt x="29388" y="277051"/>
                  </a:lnTo>
                  <a:lnTo>
                    <a:pt x="19267" y="287295"/>
                  </a:lnTo>
                  <a:lnTo>
                    <a:pt x="19389" y="288392"/>
                  </a:lnTo>
                  <a:lnTo>
                    <a:pt x="24266" y="287417"/>
                  </a:lnTo>
                  <a:lnTo>
                    <a:pt x="29998" y="279490"/>
                  </a:lnTo>
                  <a:lnTo>
                    <a:pt x="52069" y="278759"/>
                  </a:lnTo>
                  <a:lnTo>
                    <a:pt x="53410" y="272905"/>
                  </a:lnTo>
                  <a:lnTo>
                    <a:pt x="69873" y="267174"/>
                  </a:lnTo>
                  <a:lnTo>
                    <a:pt x="69873" y="267174"/>
                  </a:lnTo>
                  <a:lnTo>
                    <a:pt x="74141" y="270710"/>
                  </a:lnTo>
                  <a:lnTo>
                    <a:pt x="101333" y="262418"/>
                  </a:lnTo>
                  <a:lnTo>
                    <a:pt x="110845" y="265345"/>
                  </a:lnTo>
                  <a:lnTo>
                    <a:pt x="126210" y="264613"/>
                  </a:lnTo>
                  <a:lnTo>
                    <a:pt x="142306" y="253639"/>
                  </a:lnTo>
                  <a:lnTo>
                    <a:pt x="142062" y="250956"/>
                  </a:lnTo>
                  <a:lnTo>
                    <a:pt x="133160" y="250346"/>
                  </a:lnTo>
                  <a:lnTo>
                    <a:pt x="121210" y="249371"/>
                  </a:lnTo>
                  <a:lnTo>
                    <a:pt x="125600" y="242054"/>
                  </a:lnTo>
                  <a:lnTo>
                    <a:pt x="134380" y="240591"/>
                  </a:lnTo>
                  <a:lnTo>
                    <a:pt x="143525" y="230836"/>
                  </a:lnTo>
                  <a:lnTo>
                    <a:pt x="147427" y="220349"/>
                  </a:lnTo>
                  <a:lnTo>
                    <a:pt x="146208" y="203886"/>
                  </a:lnTo>
                  <a:lnTo>
                    <a:pt x="129868" y="205838"/>
                  </a:lnTo>
                  <a:lnTo>
                    <a:pt x="120600" y="199862"/>
                  </a:lnTo>
                  <a:lnTo>
                    <a:pt x="118405" y="165963"/>
                  </a:lnTo>
                  <a:lnTo>
                    <a:pt x="115235" y="160109"/>
                  </a:lnTo>
                  <a:lnTo>
                    <a:pt x="101456" y="143647"/>
                  </a:lnTo>
                  <a:lnTo>
                    <a:pt x="93651" y="139867"/>
                  </a:lnTo>
                  <a:lnTo>
                    <a:pt x="90725" y="115723"/>
                  </a:lnTo>
                  <a:lnTo>
                    <a:pt x="82067" y="98895"/>
                  </a:lnTo>
                  <a:lnTo>
                    <a:pt x="73653" y="94627"/>
                  </a:lnTo>
                  <a:lnTo>
                    <a:pt x="60117" y="100236"/>
                  </a:lnTo>
                  <a:lnTo>
                    <a:pt x="57800" y="90847"/>
                  </a:lnTo>
                  <a:lnTo>
                    <a:pt x="65848" y="84262"/>
                  </a:lnTo>
                  <a:lnTo>
                    <a:pt x="65117" y="68409"/>
                  </a:lnTo>
                  <a:lnTo>
                    <a:pt x="80725" y="40851"/>
                  </a:lnTo>
                  <a:lnTo>
                    <a:pt x="79628" y="32680"/>
                  </a:lnTo>
                  <a:lnTo>
                    <a:pt x="62312" y="31339"/>
                  </a:lnTo>
                  <a:lnTo>
                    <a:pt x="40485" y="33046"/>
                  </a:lnTo>
                  <a:lnTo>
                    <a:pt x="40485" y="33046"/>
                  </a:lnTo>
                  <a:lnTo>
                    <a:pt x="44874" y="14633"/>
                  </a:lnTo>
                  <a:lnTo>
                    <a:pt x="56825" y="4024"/>
                  </a:lnTo>
                  <a:lnTo>
                    <a:pt x="57922" y="0"/>
                  </a:lnTo>
                  <a:lnTo>
                    <a:pt x="51337" y="2317"/>
                  </a:lnTo>
                  <a:lnTo>
                    <a:pt x="26461" y="2317"/>
                  </a:lnTo>
                  <a:lnTo>
                    <a:pt x="20974" y="9024"/>
                  </a:lnTo>
                  <a:lnTo>
                    <a:pt x="17438" y="24023"/>
                  </a:lnTo>
                  <a:lnTo>
                    <a:pt x="7682" y="32315"/>
                  </a:lnTo>
                  <a:lnTo>
                    <a:pt x="7682" y="39753"/>
                  </a:lnTo>
                  <a:lnTo>
                    <a:pt x="11950" y="44021"/>
                  </a:lnTo>
                  <a:lnTo>
                    <a:pt x="11950" y="56459"/>
                  </a:lnTo>
                  <a:lnTo>
                    <a:pt x="2439" y="65117"/>
                  </a:lnTo>
                  <a:lnTo>
                    <a:pt x="0" y="73409"/>
                  </a:lnTo>
                  <a:lnTo>
                    <a:pt x="1219" y="82677"/>
                  </a:lnTo>
                  <a:lnTo>
                    <a:pt x="1585" y="8353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72C9D5B2-B7D4-4E19-A3E6-472C59149484}"/>
                </a:ext>
              </a:extLst>
            </p:cNvPr>
            <p:cNvSpPr/>
            <p:nvPr/>
          </p:nvSpPr>
          <p:spPr>
            <a:xfrm>
              <a:off x="4542977" y="2363133"/>
              <a:ext cx="78896" cy="48288"/>
            </a:xfrm>
            <a:custGeom>
              <a:avLst/>
              <a:gdLst>
                <a:gd name="connsiteX0" fmla="*/ 17560 w 78896"/>
                <a:gd name="connsiteY0" fmla="*/ 47679 h 48288"/>
                <a:gd name="connsiteX1" fmla="*/ 21218 w 78896"/>
                <a:gd name="connsiteY1" fmla="*/ 47191 h 48288"/>
                <a:gd name="connsiteX2" fmla="*/ 22071 w 78896"/>
                <a:gd name="connsiteY2" fmla="*/ 46948 h 48288"/>
                <a:gd name="connsiteX3" fmla="*/ 22925 w 78896"/>
                <a:gd name="connsiteY3" fmla="*/ 47191 h 48288"/>
                <a:gd name="connsiteX4" fmla="*/ 31339 w 78896"/>
                <a:gd name="connsiteY4" fmla="*/ 48289 h 48288"/>
                <a:gd name="connsiteX5" fmla="*/ 31949 w 78896"/>
                <a:gd name="connsiteY5" fmla="*/ 47923 h 48288"/>
                <a:gd name="connsiteX6" fmla="*/ 34022 w 78896"/>
                <a:gd name="connsiteY6" fmla="*/ 46948 h 48288"/>
                <a:gd name="connsiteX7" fmla="*/ 36339 w 78896"/>
                <a:gd name="connsiteY7" fmla="*/ 33168 h 48288"/>
                <a:gd name="connsiteX8" fmla="*/ 36948 w 78896"/>
                <a:gd name="connsiteY8" fmla="*/ 29632 h 48288"/>
                <a:gd name="connsiteX9" fmla="*/ 40485 w 78896"/>
                <a:gd name="connsiteY9" fmla="*/ 28412 h 48288"/>
                <a:gd name="connsiteX10" fmla="*/ 45362 w 78896"/>
                <a:gd name="connsiteY10" fmla="*/ 26827 h 48288"/>
                <a:gd name="connsiteX11" fmla="*/ 46582 w 78896"/>
                <a:gd name="connsiteY11" fmla="*/ 26339 h 48288"/>
                <a:gd name="connsiteX12" fmla="*/ 49752 w 78896"/>
                <a:gd name="connsiteY12" fmla="*/ 25242 h 48288"/>
                <a:gd name="connsiteX13" fmla="*/ 52313 w 78896"/>
                <a:gd name="connsiteY13" fmla="*/ 27315 h 48288"/>
                <a:gd name="connsiteX14" fmla="*/ 53288 w 78896"/>
                <a:gd name="connsiteY14" fmla="*/ 28168 h 48288"/>
                <a:gd name="connsiteX15" fmla="*/ 57679 w 78896"/>
                <a:gd name="connsiteY15" fmla="*/ 31583 h 48288"/>
                <a:gd name="connsiteX16" fmla="*/ 76458 w 78896"/>
                <a:gd name="connsiteY16" fmla="*/ 34022 h 48288"/>
                <a:gd name="connsiteX17" fmla="*/ 76701 w 78896"/>
                <a:gd name="connsiteY17" fmla="*/ 33412 h 48288"/>
                <a:gd name="connsiteX18" fmla="*/ 78896 w 78896"/>
                <a:gd name="connsiteY18" fmla="*/ 29144 h 48288"/>
                <a:gd name="connsiteX19" fmla="*/ 75604 w 78896"/>
                <a:gd name="connsiteY19" fmla="*/ 27925 h 48288"/>
                <a:gd name="connsiteX20" fmla="*/ 75970 w 78896"/>
                <a:gd name="connsiteY20" fmla="*/ 32437 h 48288"/>
                <a:gd name="connsiteX21" fmla="*/ 73043 w 78896"/>
                <a:gd name="connsiteY21" fmla="*/ 26949 h 48288"/>
                <a:gd name="connsiteX22" fmla="*/ 72921 w 78896"/>
                <a:gd name="connsiteY22" fmla="*/ 26827 h 48288"/>
                <a:gd name="connsiteX23" fmla="*/ 69385 w 78896"/>
                <a:gd name="connsiteY23" fmla="*/ 25486 h 48288"/>
                <a:gd name="connsiteX24" fmla="*/ 69019 w 78896"/>
                <a:gd name="connsiteY24" fmla="*/ 21706 h 48288"/>
                <a:gd name="connsiteX25" fmla="*/ 68775 w 78896"/>
                <a:gd name="connsiteY25" fmla="*/ 19267 h 48288"/>
                <a:gd name="connsiteX26" fmla="*/ 68287 w 78896"/>
                <a:gd name="connsiteY26" fmla="*/ 18413 h 48288"/>
                <a:gd name="connsiteX27" fmla="*/ 66214 w 78896"/>
                <a:gd name="connsiteY27" fmla="*/ 14633 h 48288"/>
                <a:gd name="connsiteX28" fmla="*/ 68287 w 78896"/>
                <a:gd name="connsiteY28" fmla="*/ 12316 h 48288"/>
                <a:gd name="connsiteX29" fmla="*/ 68165 w 78896"/>
                <a:gd name="connsiteY29" fmla="*/ 10975 h 48288"/>
                <a:gd name="connsiteX30" fmla="*/ 67434 w 78896"/>
                <a:gd name="connsiteY30" fmla="*/ 10853 h 48288"/>
                <a:gd name="connsiteX31" fmla="*/ 62678 w 78896"/>
                <a:gd name="connsiteY31" fmla="*/ 9633 h 48288"/>
                <a:gd name="connsiteX32" fmla="*/ 61337 w 78896"/>
                <a:gd name="connsiteY32" fmla="*/ 9390 h 48288"/>
                <a:gd name="connsiteX33" fmla="*/ 60361 w 78896"/>
                <a:gd name="connsiteY33" fmla="*/ 8536 h 48288"/>
                <a:gd name="connsiteX34" fmla="*/ 49387 w 78896"/>
                <a:gd name="connsiteY34" fmla="*/ 0 h 48288"/>
                <a:gd name="connsiteX35" fmla="*/ 39265 w 78896"/>
                <a:gd name="connsiteY35" fmla="*/ 2317 h 48288"/>
                <a:gd name="connsiteX36" fmla="*/ 36095 w 78896"/>
                <a:gd name="connsiteY36" fmla="*/ 4390 h 48288"/>
                <a:gd name="connsiteX37" fmla="*/ 32559 w 78896"/>
                <a:gd name="connsiteY37" fmla="*/ 6707 h 48288"/>
                <a:gd name="connsiteX38" fmla="*/ 32071 w 78896"/>
                <a:gd name="connsiteY38" fmla="*/ 8658 h 48288"/>
                <a:gd name="connsiteX39" fmla="*/ 30120 w 78896"/>
                <a:gd name="connsiteY39" fmla="*/ 8414 h 48288"/>
                <a:gd name="connsiteX40" fmla="*/ 22437 w 78896"/>
                <a:gd name="connsiteY40" fmla="*/ 13414 h 48288"/>
                <a:gd name="connsiteX41" fmla="*/ 24023 w 78896"/>
                <a:gd name="connsiteY41" fmla="*/ 7682 h 48288"/>
                <a:gd name="connsiteX42" fmla="*/ 22559 w 78896"/>
                <a:gd name="connsiteY42" fmla="*/ 7438 h 48288"/>
                <a:gd name="connsiteX43" fmla="*/ 20120 w 78896"/>
                <a:gd name="connsiteY43" fmla="*/ 7195 h 48288"/>
                <a:gd name="connsiteX44" fmla="*/ 19877 w 78896"/>
                <a:gd name="connsiteY44" fmla="*/ 7560 h 48288"/>
                <a:gd name="connsiteX45" fmla="*/ 17560 w 78896"/>
                <a:gd name="connsiteY45" fmla="*/ 12316 h 48288"/>
                <a:gd name="connsiteX46" fmla="*/ 17560 w 78896"/>
                <a:gd name="connsiteY46" fmla="*/ 22559 h 48288"/>
                <a:gd name="connsiteX47" fmla="*/ 13657 w 78896"/>
                <a:gd name="connsiteY47" fmla="*/ 24144 h 48288"/>
                <a:gd name="connsiteX48" fmla="*/ 9268 w 78896"/>
                <a:gd name="connsiteY48" fmla="*/ 25852 h 48288"/>
                <a:gd name="connsiteX49" fmla="*/ 5853 w 78896"/>
                <a:gd name="connsiteY49" fmla="*/ 32802 h 48288"/>
                <a:gd name="connsiteX50" fmla="*/ 5609 w 78896"/>
                <a:gd name="connsiteY50" fmla="*/ 33290 h 48288"/>
                <a:gd name="connsiteX51" fmla="*/ 5365 w 78896"/>
                <a:gd name="connsiteY51" fmla="*/ 33656 h 48288"/>
                <a:gd name="connsiteX52" fmla="*/ 0 w 78896"/>
                <a:gd name="connsiteY52" fmla="*/ 41094 h 48288"/>
                <a:gd name="connsiteX53" fmla="*/ 0 w 78896"/>
                <a:gd name="connsiteY53" fmla="*/ 41094 h 48288"/>
                <a:gd name="connsiteX54" fmla="*/ 3171 w 78896"/>
                <a:gd name="connsiteY54" fmla="*/ 38534 h 48288"/>
                <a:gd name="connsiteX55" fmla="*/ 5365 w 78896"/>
                <a:gd name="connsiteY55" fmla="*/ 36826 h 48288"/>
                <a:gd name="connsiteX56" fmla="*/ 8048 w 78896"/>
                <a:gd name="connsiteY56" fmla="*/ 37314 h 48288"/>
                <a:gd name="connsiteX57" fmla="*/ 13292 w 78896"/>
                <a:gd name="connsiteY57" fmla="*/ 38168 h 48288"/>
                <a:gd name="connsiteX58" fmla="*/ 19999 w 78896"/>
                <a:gd name="connsiteY58" fmla="*/ 39387 h 48288"/>
                <a:gd name="connsiteX59" fmla="*/ 18169 w 78896"/>
                <a:gd name="connsiteY59" fmla="*/ 45850 h 48288"/>
                <a:gd name="connsiteX60" fmla="*/ 17560 w 78896"/>
                <a:gd name="connsiteY60" fmla="*/ 47679 h 4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78896" h="48288">
                  <a:moveTo>
                    <a:pt x="17560" y="47679"/>
                  </a:moveTo>
                  <a:lnTo>
                    <a:pt x="21218" y="47191"/>
                  </a:lnTo>
                  <a:lnTo>
                    <a:pt x="22071" y="46948"/>
                  </a:lnTo>
                  <a:lnTo>
                    <a:pt x="22925" y="47191"/>
                  </a:lnTo>
                  <a:lnTo>
                    <a:pt x="31339" y="48289"/>
                  </a:lnTo>
                  <a:lnTo>
                    <a:pt x="31949" y="47923"/>
                  </a:lnTo>
                  <a:lnTo>
                    <a:pt x="34022" y="46948"/>
                  </a:lnTo>
                  <a:lnTo>
                    <a:pt x="36339" y="33168"/>
                  </a:lnTo>
                  <a:lnTo>
                    <a:pt x="36948" y="29632"/>
                  </a:lnTo>
                  <a:lnTo>
                    <a:pt x="40485" y="28412"/>
                  </a:lnTo>
                  <a:lnTo>
                    <a:pt x="45362" y="26827"/>
                  </a:lnTo>
                  <a:lnTo>
                    <a:pt x="46582" y="26339"/>
                  </a:lnTo>
                  <a:lnTo>
                    <a:pt x="49752" y="25242"/>
                  </a:lnTo>
                  <a:lnTo>
                    <a:pt x="52313" y="27315"/>
                  </a:lnTo>
                  <a:lnTo>
                    <a:pt x="53288" y="28168"/>
                  </a:lnTo>
                  <a:lnTo>
                    <a:pt x="57679" y="31583"/>
                  </a:lnTo>
                  <a:lnTo>
                    <a:pt x="76458" y="34022"/>
                  </a:lnTo>
                  <a:lnTo>
                    <a:pt x="76701" y="33412"/>
                  </a:lnTo>
                  <a:lnTo>
                    <a:pt x="78896" y="29144"/>
                  </a:lnTo>
                  <a:lnTo>
                    <a:pt x="75604" y="27925"/>
                  </a:lnTo>
                  <a:lnTo>
                    <a:pt x="75970" y="32437"/>
                  </a:lnTo>
                  <a:lnTo>
                    <a:pt x="73043" y="26949"/>
                  </a:lnTo>
                  <a:lnTo>
                    <a:pt x="72921" y="26827"/>
                  </a:lnTo>
                  <a:lnTo>
                    <a:pt x="69385" y="25486"/>
                  </a:lnTo>
                  <a:lnTo>
                    <a:pt x="69019" y="21706"/>
                  </a:lnTo>
                  <a:lnTo>
                    <a:pt x="68775" y="19267"/>
                  </a:lnTo>
                  <a:lnTo>
                    <a:pt x="68287" y="18413"/>
                  </a:lnTo>
                  <a:lnTo>
                    <a:pt x="66214" y="14633"/>
                  </a:lnTo>
                  <a:lnTo>
                    <a:pt x="68287" y="12316"/>
                  </a:lnTo>
                  <a:lnTo>
                    <a:pt x="68165" y="10975"/>
                  </a:lnTo>
                  <a:lnTo>
                    <a:pt x="67434" y="10853"/>
                  </a:lnTo>
                  <a:lnTo>
                    <a:pt x="62678" y="9633"/>
                  </a:lnTo>
                  <a:lnTo>
                    <a:pt x="61337" y="9390"/>
                  </a:lnTo>
                  <a:lnTo>
                    <a:pt x="60361" y="8536"/>
                  </a:lnTo>
                  <a:lnTo>
                    <a:pt x="49387" y="0"/>
                  </a:lnTo>
                  <a:lnTo>
                    <a:pt x="39265" y="2317"/>
                  </a:lnTo>
                  <a:lnTo>
                    <a:pt x="36095" y="4390"/>
                  </a:lnTo>
                  <a:lnTo>
                    <a:pt x="32559" y="6707"/>
                  </a:lnTo>
                  <a:lnTo>
                    <a:pt x="32071" y="8658"/>
                  </a:lnTo>
                  <a:lnTo>
                    <a:pt x="30120" y="8414"/>
                  </a:lnTo>
                  <a:lnTo>
                    <a:pt x="22437" y="13414"/>
                  </a:lnTo>
                  <a:lnTo>
                    <a:pt x="24023" y="7682"/>
                  </a:lnTo>
                  <a:lnTo>
                    <a:pt x="22559" y="7438"/>
                  </a:lnTo>
                  <a:lnTo>
                    <a:pt x="20120" y="7195"/>
                  </a:lnTo>
                  <a:lnTo>
                    <a:pt x="19877" y="7560"/>
                  </a:lnTo>
                  <a:lnTo>
                    <a:pt x="17560" y="12316"/>
                  </a:lnTo>
                  <a:lnTo>
                    <a:pt x="17560" y="22559"/>
                  </a:lnTo>
                  <a:lnTo>
                    <a:pt x="13657" y="24144"/>
                  </a:lnTo>
                  <a:lnTo>
                    <a:pt x="9268" y="25852"/>
                  </a:lnTo>
                  <a:lnTo>
                    <a:pt x="5853" y="32802"/>
                  </a:lnTo>
                  <a:lnTo>
                    <a:pt x="5609" y="33290"/>
                  </a:lnTo>
                  <a:lnTo>
                    <a:pt x="5365" y="33656"/>
                  </a:lnTo>
                  <a:lnTo>
                    <a:pt x="0" y="41094"/>
                  </a:lnTo>
                  <a:lnTo>
                    <a:pt x="0" y="41094"/>
                  </a:lnTo>
                  <a:lnTo>
                    <a:pt x="3171" y="38534"/>
                  </a:lnTo>
                  <a:lnTo>
                    <a:pt x="5365" y="36826"/>
                  </a:lnTo>
                  <a:lnTo>
                    <a:pt x="8048" y="37314"/>
                  </a:lnTo>
                  <a:lnTo>
                    <a:pt x="13292" y="38168"/>
                  </a:lnTo>
                  <a:lnTo>
                    <a:pt x="19999" y="39387"/>
                  </a:lnTo>
                  <a:lnTo>
                    <a:pt x="18169" y="45850"/>
                  </a:lnTo>
                  <a:lnTo>
                    <a:pt x="17560" y="4767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4A1C6AFB-3E71-461C-8097-05F4064AC042}"/>
                </a:ext>
              </a:extLst>
            </p:cNvPr>
            <p:cNvSpPr/>
            <p:nvPr/>
          </p:nvSpPr>
          <p:spPr>
            <a:xfrm>
              <a:off x="4559562" y="2388374"/>
              <a:ext cx="232420" cy="236932"/>
            </a:xfrm>
            <a:custGeom>
              <a:avLst/>
              <a:gdLst>
                <a:gd name="connsiteX0" fmla="*/ 230957 w 232420"/>
                <a:gd name="connsiteY0" fmla="*/ 177669 h 236932"/>
                <a:gd name="connsiteX1" fmla="*/ 218519 w 232420"/>
                <a:gd name="connsiteY1" fmla="*/ 167060 h 236932"/>
                <a:gd name="connsiteX2" fmla="*/ 206325 w 232420"/>
                <a:gd name="connsiteY2" fmla="*/ 163036 h 236932"/>
                <a:gd name="connsiteX3" fmla="*/ 205471 w 232420"/>
                <a:gd name="connsiteY3" fmla="*/ 155720 h 236932"/>
                <a:gd name="connsiteX4" fmla="*/ 191326 w 232420"/>
                <a:gd name="connsiteY4" fmla="*/ 154012 h 236932"/>
                <a:gd name="connsiteX5" fmla="*/ 184741 w 232420"/>
                <a:gd name="connsiteY5" fmla="*/ 148525 h 236932"/>
                <a:gd name="connsiteX6" fmla="*/ 180230 w 232420"/>
                <a:gd name="connsiteY6" fmla="*/ 136819 h 236932"/>
                <a:gd name="connsiteX7" fmla="*/ 163036 w 232420"/>
                <a:gd name="connsiteY7" fmla="*/ 134136 h 236932"/>
                <a:gd name="connsiteX8" fmla="*/ 143281 w 232420"/>
                <a:gd name="connsiteY8" fmla="*/ 122186 h 236932"/>
                <a:gd name="connsiteX9" fmla="*/ 133526 w 232420"/>
                <a:gd name="connsiteY9" fmla="*/ 99017 h 236932"/>
                <a:gd name="connsiteX10" fmla="*/ 125356 w 232420"/>
                <a:gd name="connsiteY10" fmla="*/ 86335 h 236932"/>
                <a:gd name="connsiteX11" fmla="*/ 104869 w 232420"/>
                <a:gd name="connsiteY11" fmla="*/ 71702 h 236932"/>
                <a:gd name="connsiteX12" fmla="*/ 105967 w 232420"/>
                <a:gd name="connsiteY12" fmla="*/ 50118 h 236932"/>
                <a:gd name="connsiteX13" fmla="*/ 104748 w 232420"/>
                <a:gd name="connsiteY13" fmla="*/ 45484 h 236932"/>
                <a:gd name="connsiteX14" fmla="*/ 113528 w 232420"/>
                <a:gd name="connsiteY14" fmla="*/ 35607 h 236932"/>
                <a:gd name="connsiteX15" fmla="*/ 123893 w 232420"/>
                <a:gd name="connsiteY15" fmla="*/ 33778 h 236932"/>
                <a:gd name="connsiteX16" fmla="*/ 137184 w 232420"/>
                <a:gd name="connsiteY16" fmla="*/ 31339 h 236932"/>
                <a:gd name="connsiteX17" fmla="*/ 137428 w 232420"/>
                <a:gd name="connsiteY17" fmla="*/ 30485 h 236932"/>
                <a:gd name="connsiteX18" fmla="*/ 137672 w 232420"/>
                <a:gd name="connsiteY18" fmla="*/ 29632 h 236932"/>
                <a:gd name="connsiteX19" fmla="*/ 137672 w 232420"/>
                <a:gd name="connsiteY19" fmla="*/ 27803 h 236932"/>
                <a:gd name="connsiteX20" fmla="*/ 137672 w 232420"/>
                <a:gd name="connsiteY20" fmla="*/ 25730 h 236932"/>
                <a:gd name="connsiteX21" fmla="*/ 133282 w 232420"/>
                <a:gd name="connsiteY21" fmla="*/ 20364 h 236932"/>
                <a:gd name="connsiteX22" fmla="*/ 131941 w 232420"/>
                <a:gd name="connsiteY22" fmla="*/ 18657 h 236932"/>
                <a:gd name="connsiteX23" fmla="*/ 131941 w 232420"/>
                <a:gd name="connsiteY23" fmla="*/ 8902 h 236932"/>
                <a:gd name="connsiteX24" fmla="*/ 130356 w 232420"/>
                <a:gd name="connsiteY24" fmla="*/ 8414 h 236932"/>
                <a:gd name="connsiteX25" fmla="*/ 117186 w 232420"/>
                <a:gd name="connsiteY25" fmla="*/ 4390 h 236932"/>
                <a:gd name="connsiteX26" fmla="*/ 110967 w 232420"/>
                <a:gd name="connsiteY26" fmla="*/ 4268 h 236932"/>
                <a:gd name="connsiteX27" fmla="*/ 109016 w 232420"/>
                <a:gd name="connsiteY27" fmla="*/ 4268 h 236932"/>
                <a:gd name="connsiteX28" fmla="*/ 107431 w 232420"/>
                <a:gd name="connsiteY28" fmla="*/ 3049 h 236932"/>
                <a:gd name="connsiteX29" fmla="*/ 103406 w 232420"/>
                <a:gd name="connsiteY29" fmla="*/ 0 h 236932"/>
                <a:gd name="connsiteX30" fmla="*/ 96212 w 232420"/>
                <a:gd name="connsiteY30" fmla="*/ 0 h 236932"/>
                <a:gd name="connsiteX31" fmla="*/ 90725 w 232420"/>
                <a:gd name="connsiteY31" fmla="*/ 4390 h 236932"/>
                <a:gd name="connsiteX32" fmla="*/ 89139 w 232420"/>
                <a:gd name="connsiteY32" fmla="*/ 5731 h 236932"/>
                <a:gd name="connsiteX33" fmla="*/ 70360 w 232420"/>
                <a:gd name="connsiteY33" fmla="*/ 5731 h 236932"/>
                <a:gd name="connsiteX34" fmla="*/ 67312 w 232420"/>
                <a:gd name="connsiteY34" fmla="*/ 11706 h 236932"/>
                <a:gd name="connsiteX35" fmla="*/ 66458 w 232420"/>
                <a:gd name="connsiteY35" fmla="*/ 13536 h 236932"/>
                <a:gd name="connsiteX36" fmla="*/ 64507 w 232420"/>
                <a:gd name="connsiteY36" fmla="*/ 17316 h 236932"/>
                <a:gd name="connsiteX37" fmla="*/ 60239 w 232420"/>
                <a:gd name="connsiteY37" fmla="*/ 16828 h 236932"/>
                <a:gd name="connsiteX38" fmla="*/ 39631 w 232420"/>
                <a:gd name="connsiteY38" fmla="*/ 14267 h 236932"/>
                <a:gd name="connsiteX39" fmla="*/ 37802 w 232420"/>
                <a:gd name="connsiteY39" fmla="*/ 14023 h 236932"/>
                <a:gd name="connsiteX40" fmla="*/ 36582 w 232420"/>
                <a:gd name="connsiteY40" fmla="*/ 12926 h 236932"/>
                <a:gd name="connsiteX41" fmla="*/ 31583 w 232420"/>
                <a:gd name="connsiteY41" fmla="*/ 9024 h 236932"/>
                <a:gd name="connsiteX42" fmla="*/ 31583 w 232420"/>
                <a:gd name="connsiteY42" fmla="*/ 9024 h 236932"/>
                <a:gd name="connsiteX43" fmla="*/ 31339 w 232420"/>
                <a:gd name="connsiteY43" fmla="*/ 9024 h 236932"/>
                <a:gd name="connsiteX44" fmla="*/ 27437 w 232420"/>
                <a:gd name="connsiteY44" fmla="*/ 10365 h 236932"/>
                <a:gd name="connsiteX45" fmla="*/ 25120 w 232420"/>
                <a:gd name="connsiteY45" fmla="*/ 24023 h 236932"/>
                <a:gd name="connsiteX46" fmla="*/ 24632 w 232420"/>
                <a:gd name="connsiteY46" fmla="*/ 27071 h 236932"/>
                <a:gd name="connsiteX47" fmla="*/ 21827 w 232420"/>
                <a:gd name="connsiteY47" fmla="*/ 28412 h 236932"/>
                <a:gd name="connsiteX48" fmla="*/ 18779 w 232420"/>
                <a:gd name="connsiteY48" fmla="*/ 29998 h 236932"/>
                <a:gd name="connsiteX49" fmla="*/ 17803 w 232420"/>
                <a:gd name="connsiteY49" fmla="*/ 30485 h 236932"/>
                <a:gd name="connsiteX50" fmla="*/ 16096 w 232420"/>
                <a:gd name="connsiteY50" fmla="*/ 31339 h 236932"/>
                <a:gd name="connsiteX51" fmla="*/ 14145 w 232420"/>
                <a:gd name="connsiteY51" fmla="*/ 31095 h 236932"/>
                <a:gd name="connsiteX52" fmla="*/ 5487 w 232420"/>
                <a:gd name="connsiteY52" fmla="*/ 29754 h 236932"/>
                <a:gd name="connsiteX53" fmla="*/ 0 w 232420"/>
                <a:gd name="connsiteY53" fmla="*/ 30607 h 236932"/>
                <a:gd name="connsiteX54" fmla="*/ 975 w 232420"/>
                <a:gd name="connsiteY54" fmla="*/ 39143 h 236932"/>
                <a:gd name="connsiteX55" fmla="*/ 2195 w 232420"/>
                <a:gd name="connsiteY55" fmla="*/ 49021 h 236932"/>
                <a:gd name="connsiteX56" fmla="*/ 5975 w 232420"/>
                <a:gd name="connsiteY56" fmla="*/ 66580 h 236932"/>
                <a:gd name="connsiteX57" fmla="*/ 13047 w 232420"/>
                <a:gd name="connsiteY57" fmla="*/ 68531 h 236932"/>
                <a:gd name="connsiteX58" fmla="*/ 14755 w 232420"/>
                <a:gd name="connsiteY58" fmla="*/ 69019 h 236932"/>
                <a:gd name="connsiteX59" fmla="*/ 15974 w 232420"/>
                <a:gd name="connsiteY59" fmla="*/ 70482 h 236932"/>
                <a:gd name="connsiteX60" fmla="*/ 22437 w 232420"/>
                <a:gd name="connsiteY60" fmla="*/ 78043 h 236932"/>
                <a:gd name="connsiteX61" fmla="*/ 22559 w 232420"/>
                <a:gd name="connsiteY61" fmla="*/ 78165 h 236932"/>
                <a:gd name="connsiteX62" fmla="*/ 33290 w 232420"/>
                <a:gd name="connsiteY62" fmla="*/ 67800 h 236932"/>
                <a:gd name="connsiteX63" fmla="*/ 53532 w 232420"/>
                <a:gd name="connsiteY63" fmla="*/ 63776 h 236932"/>
                <a:gd name="connsiteX64" fmla="*/ 53532 w 232420"/>
                <a:gd name="connsiteY64" fmla="*/ 63776 h 236932"/>
                <a:gd name="connsiteX65" fmla="*/ 62190 w 232420"/>
                <a:gd name="connsiteY65" fmla="*/ 68043 h 236932"/>
                <a:gd name="connsiteX66" fmla="*/ 75116 w 232420"/>
                <a:gd name="connsiteY66" fmla="*/ 87920 h 236932"/>
                <a:gd name="connsiteX67" fmla="*/ 76945 w 232420"/>
                <a:gd name="connsiteY67" fmla="*/ 106333 h 236932"/>
                <a:gd name="connsiteX68" fmla="*/ 89017 w 232420"/>
                <a:gd name="connsiteY68" fmla="*/ 114747 h 236932"/>
                <a:gd name="connsiteX69" fmla="*/ 92797 w 232420"/>
                <a:gd name="connsiteY69" fmla="*/ 125112 h 236932"/>
                <a:gd name="connsiteX70" fmla="*/ 102309 w 232420"/>
                <a:gd name="connsiteY70" fmla="*/ 132916 h 236932"/>
                <a:gd name="connsiteX71" fmla="*/ 110479 w 232420"/>
                <a:gd name="connsiteY71" fmla="*/ 133892 h 236932"/>
                <a:gd name="connsiteX72" fmla="*/ 114381 w 232420"/>
                <a:gd name="connsiteY72" fmla="*/ 142916 h 236932"/>
                <a:gd name="connsiteX73" fmla="*/ 131453 w 232420"/>
                <a:gd name="connsiteY73" fmla="*/ 152793 h 236932"/>
                <a:gd name="connsiteX74" fmla="*/ 137428 w 232420"/>
                <a:gd name="connsiteY74" fmla="*/ 153768 h 236932"/>
                <a:gd name="connsiteX75" fmla="*/ 144866 w 232420"/>
                <a:gd name="connsiteY75" fmla="*/ 162061 h 236932"/>
                <a:gd name="connsiteX76" fmla="*/ 150598 w 232420"/>
                <a:gd name="connsiteY76" fmla="*/ 162061 h 236932"/>
                <a:gd name="connsiteX77" fmla="*/ 154744 w 232420"/>
                <a:gd name="connsiteY77" fmla="*/ 167182 h 236932"/>
                <a:gd name="connsiteX78" fmla="*/ 163767 w 232420"/>
                <a:gd name="connsiteY78" fmla="*/ 170231 h 236932"/>
                <a:gd name="connsiteX79" fmla="*/ 165719 w 232420"/>
                <a:gd name="connsiteY79" fmla="*/ 179010 h 236932"/>
                <a:gd name="connsiteX80" fmla="*/ 171937 w 232420"/>
                <a:gd name="connsiteY80" fmla="*/ 182912 h 236932"/>
                <a:gd name="connsiteX81" fmla="*/ 178034 w 232420"/>
                <a:gd name="connsiteY81" fmla="*/ 182912 h 236932"/>
                <a:gd name="connsiteX82" fmla="*/ 185839 w 232420"/>
                <a:gd name="connsiteY82" fmla="*/ 191814 h 236932"/>
                <a:gd name="connsiteX83" fmla="*/ 185839 w 232420"/>
                <a:gd name="connsiteY83" fmla="*/ 201692 h 236932"/>
                <a:gd name="connsiteX84" fmla="*/ 189741 w 232420"/>
                <a:gd name="connsiteY84" fmla="*/ 214739 h 236932"/>
                <a:gd name="connsiteX85" fmla="*/ 180839 w 232420"/>
                <a:gd name="connsiteY85" fmla="*/ 226689 h 236932"/>
                <a:gd name="connsiteX86" fmla="*/ 178522 w 232420"/>
                <a:gd name="connsiteY86" fmla="*/ 233762 h 236932"/>
                <a:gd name="connsiteX87" fmla="*/ 181205 w 232420"/>
                <a:gd name="connsiteY87" fmla="*/ 236933 h 236932"/>
                <a:gd name="connsiteX88" fmla="*/ 193277 w 232420"/>
                <a:gd name="connsiteY88" fmla="*/ 228153 h 236932"/>
                <a:gd name="connsiteX89" fmla="*/ 197058 w 232420"/>
                <a:gd name="connsiteY89" fmla="*/ 216690 h 236932"/>
                <a:gd name="connsiteX90" fmla="*/ 205106 w 232420"/>
                <a:gd name="connsiteY90" fmla="*/ 212178 h 236932"/>
                <a:gd name="connsiteX91" fmla="*/ 204374 w 232420"/>
                <a:gd name="connsiteY91" fmla="*/ 204862 h 236932"/>
                <a:gd name="connsiteX92" fmla="*/ 193643 w 232420"/>
                <a:gd name="connsiteY92" fmla="*/ 193156 h 236932"/>
                <a:gd name="connsiteX93" fmla="*/ 198033 w 232420"/>
                <a:gd name="connsiteY93" fmla="*/ 175596 h 236932"/>
                <a:gd name="connsiteX94" fmla="*/ 211447 w 232420"/>
                <a:gd name="connsiteY94" fmla="*/ 173401 h 236932"/>
                <a:gd name="connsiteX95" fmla="*/ 219861 w 232420"/>
                <a:gd name="connsiteY95" fmla="*/ 177669 h 236932"/>
                <a:gd name="connsiteX96" fmla="*/ 230957 w 232420"/>
                <a:gd name="connsiteY96" fmla="*/ 185229 h 236932"/>
                <a:gd name="connsiteX97" fmla="*/ 232421 w 232420"/>
                <a:gd name="connsiteY97" fmla="*/ 184132 h 236932"/>
                <a:gd name="connsiteX98" fmla="*/ 232055 w 232420"/>
                <a:gd name="connsiteY98" fmla="*/ 183034 h 236932"/>
                <a:gd name="connsiteX99" fmla="*/ 230957 w 232420"/>
                <a:gd name="connsiteY99" fmla="*/ 177669 h 23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232420" h="236932">
                  <a:moveTo>
                    <a:pt x="230957" y="177669"/>
                  </a:moveTo>
                  <a:lnTo>
                    <a:pt x="218519" y="167060"/>
                  </a:lnTo>
                  <a:lnTo>
                    <a:pt x="206325" y="163036"/>
                  </a:lnTo>
                  <a:lnTo>
                    <a:pt x="205471" y="155720"/>
                  </a:lnTo>
                  <a:lnTo>
                    <a:pt x="191326" y="154012"/>
                  </a:lnTo>
                  <a:lnTo>
                    <a:pt x="184741" y="148525"/>
                  </a:lnTo>
                  <a:lnTo>
                    <a:pt x="180230" y="136819"/>
                  </a:lnTo>
                  <a:lnTo>
                    <a:pt x="163036" y="134136"/>
                  </a:lnTo>
                  <a:lnTo>
                    <a:pt x="143281" y="122186"/>
                  </a:lnTo>
                  <a:lnTo>
                    <a:pt x="133526" y="99017"/>
                  </a:lnTo>
                  <a:lnTo>
                    <a:pt x="125356" y="86335"/>
                  </a:lnTo>
                  <a:lnTo>
                    <a:pt x="104869" y="71702"/>
                  </a:lnTo>
                  <a:lnTo>
                    <a:pt x="105967" y="50118"/>
                  </a:lnTo>
                  <a:lnTo>
                    <a:pt x="104748" y="45484"/>
                  </a:lnTo>
                  <a:lnTo>
                    <a:pt x="113528" y="35607"/>
                  </a:lnTo>
                  <a:lnTo>
                    <a:pt x="123893" y="33778"/>
                  </a:lnTo>
                  <a:lnTo>
                    <a:pt x="137184" y="31339"/>
                  </a:lnTo>
                  <a:lnTo>
                    <a:pt x="137428" y="30485"/>
                  </a:lnTo>
                  <a:lnTo>
                    <a:pt x="137672" y="29632"/>
                  </a:lnTo>
                  <a:lnTo>
                    <a:pt x="137672" y="27803"/>
                  </a:lnTo>
                  <a:lnTo>
                    <a:pt x="137672" y="25730"/>
                  </a:lnTo>
                  <a:lnTo>
                    <a:pt x="133282" y="20364"/>
                  </a:lnTo>
                  <a:lnTo>
                    <a:pt x="131941" y="18657"/>
                  </a:lnTo>
                  <a:lnTo>
                    <a:pt x="131941" y="8902"/>
                  </a:lnTo>
                  <a:lnTo>
                    <a:pt x="130356" y="8414"/>
                  </a:lnTo>
                  <a:lnTo>
                    <a:pt x="117186" y="4390"/>
                  </a:lnTo>
                  <a:lnTo>
                    <a:pt x="110967" y="4268"/>
                  </a:lnTo>
                  <a:lnTo>
                    <a:pt x="109016" y="4268"/>
                  </a:lnTo>
                  <a:lnTo>
                    <a:pt x="107431" y="3049"/>
                  </a:lnTo>
                  <a:lnTo>
                    <a:pt x="103406" y="0"/>
                  </a:lnTo>
                  <a:lnTo>
                    <a:pt x="96212" y="0"/>
                  </a:lnTo>
                  <a:lnTo>
                    <a:pt x="90725" y="4390"/>
                  </a:lnTo>
                  <a:lnTo>
                    <a:pt x="89139" y="5731"/>
                  </a:lnTo>
                  <a:lnTo>
                    <a:pt x="70360" y="5731"/>
                  </a:lnTo>
                  <a:lnTo>
                    <a:pt x="67312" y="11706"/>
                  </a:lnTo>
                  <a:lnTo>
                    <a:pt x="66458" y="13536"/>
                  </a:lnTo>
                  <a:lnTo>
                    <a:pt x="64507" y="17316"/>
                  </a:lnTo>
                  <a:lnTo>
                    <a:pt x="60239" y="16828"/>
                  </a:lnTo>
                  <a:lnTo>
                    <a:pt x="39631" y="14267"/>
                  </a:lnTo>
                  <a:lnTo>
                    <a:pt x="37802" y="14023"/>
                  </a:lnTo>
                  <a:lnTo>
                    <a:pt x="36582" y="12926"/>
                  </a:lnTo>
                  <a:lnTo>
                    <a:pt x="31583" y="9024"/>
                  </a:lnTo>
                  <a:lnTo>
                    <a:pt x="31583" y="9024"/>
                  </a:lnTo>
                  <a:lnTo>
                    <a:pt x="31339" y="9024"/>
                  </a:lnTo>
                  <a:lnTo>
                    <a:pt x="27437" y="10365"/>
                  </a:lnTo>
                  <a:lnTo>
                    <a:pt x="25120" y="24023"/>
                  </a:lnTo>
                  <a:lnTo>
                    <a:pt x="24632" y="27071"/>
                  </a:lnTo>
                  <a:lnTo>
                    <a:pt x="21827" y="28412"/>
                  </a:lnTo>
                  <a:lnTo>
                    <a:pt x="18779" y="29998"/>
                  </a:lnTo>
                  <a:lnTo>
                    <a:pt x="17803" y="30485"/>
                  </a:lnTo>
                  <a:lnTo>
                    <a:pt x="16096" y="31339"/>
                  </a:lnTo>
                  <a:lnTo>
                    <a:pt x="14145" y="31095"/>
                  </a:lnTo>
                  <a:lnTo>
                    <a:pt x="5487" y="29754"/>
                  </a:lnTo>
                  <a:lnTo>
                    <a:pt x="0" y="30607"/>
                  </a:lnTo>
                  <a:lnTo>
                    <a:pt x="975" y="39143"/>
                  </a:lnTo>
                  <a:lnTo>
                    <a:pt x="2195" y="49021"/>
                  </a:lnTo>
                  <a:lnTo>
                    <a:pt x="5975" y="66580"/>
                  </a:lnTo>
                  <a:lnTo>
                    <a:pt x="13047" y="68531"/>
                  </a:lnTo>
                  <a:lnTo>
                    <a:pt x="14755" y="69019"/>
                  </a:lnTo>
                  <a:lnTo>
                    <a:pt x="15974" y="70482"/>
                  </a:lnTo>
                  <a:lnTo>
                    <a:pt x="22437" y="78043"/>
                  </a:lnTo>
                  <a:lnTo>
                    <a:pt x="22559" y="78165"/>
                  </a:lnTo>
                  <a:lnTo>
                    <a:pt x="33290" y="67800"/>
                  </a:lnTo>
                  <a:lnTo>
                    <a:pt x="53532" y="63776"/>
                  </a:lnTo>
                  <a:lnTo>
                    <a:pt x="53532" y="63776"/>
                  </a:lnTo>
                  <a:lnTo>
                    <a:pt x="62190" y="68043"/>
                  </a:lnTo>
                  <a:lnTo>
                    <a:pt x="75116" y="87920"/>
                  </a:lnTo>
                  <a:lnTo>
                    <a:pt x="76945" y="106333"/>
                  </a:lnTo>
                  <a:lnTo>
                    <a:pt x="89017" y="114747"/>
                  </a:lnTo>
                  <a:lnTo>
                    <a:pt x="92797" y="125112"/>
                  </a:lnTo>
                  <a:lnTo>
                    <a:pt x="102309" y="132916"/>
                  </a:lnTo>
                  <a:lnTo>
                    <a:pt x="110479" y="133892"/>
                  </a:lnTo>
                  <a:lnTo>
                    <a:pt x="114381" y="142916"/>
                  </a:lnTo>
                  <a:lnTo>
                    <a:pt x="131453" y="152793"/>
                  </a:lnTo>
                  <a:lnTo>
                    <a:pt x="137428" y="153768"/>
                  </a:lnTo>
                  <a:lnTo>
                    <a:pt x="144866" y="162061"/>
                  </a:lnTo>
                  <a:lnTo>
                    <a:pt x="150598" y="162061"/>
                  </a:lnTo>
                  <a:lnTo>
                    <a:pt x="154744" y="167182"/>
                  </a:lnTo>
                  <a:lnTo>
                    <a:pt x="163767" y="170231"/>
                  </a:lnTo>
                  <a:lnTo>
                    <a:pt x="165719" y="179010"/>
                  </a:lnTo>
                  <a:lnTo>
                    <a:pt x="171937" y="182912"/>
                  </a:lnTo>
                  <a:lnTo>
                    <a:pt x="178034" y="182912"/>
                  </a:lnTo>
                  <a:lnTo>
                    <a:pt x="185839" y="191814"/>
                  </a:lnTo>
                  <a:lnTo>
                    <a:pt x="185839" y="201692"/>
                  </a:lnTo>
                  <a:lnTo>
                    <a:pt x="189741" y="214739"/>
                  </a:lnTo>
                  <a:lnTo>
                    <a:pt x="180839" y="226689"/>
                  </a:lnTo>
                  <a:lnTo>
                    <a:pt x="178522" y="233762"/>
                  </a:lnTo>
                  <a:lnTo>
                    <a:pt x="181205" y="236933"/>
                  </a:lnTo>
                  <a:lnTo>
                    <a:pt x="193277" y="228153"/>
                  </a:lnTo>
                  <a:lnTo>
                    <a:pt x="197058" y="216690"/>
                  </a:lnTo>
                  <a:lnTo>
                    <a:pt x="205106" y="212178"/>
                  </a:lnTo>
                  <a:lnTo>
                    <a:pt x="204374" y="204862"/>
                  </a:lnTo>
                  <a:lnTo>
                    <a:pt x="193643" y="193156"/>
                  </a:lnTo>
                  <a:lnTo>
                    <a:pt x="198033" y="175596"/>
                  </a:lnTo>
                  <a:lnTo>
                    <a:pt x="211447" y="173401"/>
                  </a:lnTo>
                  <a:lnTo>
                    <a:pt x="219861" y="177669"/>
                  </a:lnTo>
                  <a:lnTo>
                    <a:pt x="230957" y="185229"/>
                  </a:lnTo>
                  <a:lnTo>
                    <a:pt x="232421" y="184132"/>
                  </a:lnTo>
                  <a:lnTo>
                    <a:pt x="232055" y="183034"/>
                  </a:lnTo>
                  <a:lnTo>
                    <a:pt x="230957" y="17766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CEE63503-2D5B-4C3B-863B-2F2833388D4E}"/>
                </a:ext>
              </a:extLst>
            </p:cNvPr>
            <p:cNvSpPr/>
            <p:nvPr/>
          </p:nvSpPr>
          <p:spPr>
            <a:xfrm>
              <a:off x="4671016" y="2621771"/>
              <a:ext cx="52069" cy="28778"/>
            </a:xfrm>
            <a:custGeom>
              <a:avLst/>
              <a:gdLst>
                <a:gd name="connsiteX0" fmla="*/ 52069 w 52069"/>
                <a:gd name="connsiteY0" fmla="*/ 244 h 28778"/>
                <a:gd name="connsiteX1" fmla="*/ 43777 w 52069"/>
                <a:gd name="connsiteY1" fmla="*/ 2195 h 28778"/>
                <a:gd name="connsiteX2" fmla="*/ 22071 w 52069"/>
                <a:gd name="connsiteY2" fmla="*/ 3658 h 28778"/>
                <a:gd name="connsiteX3" fmla="*/ 12072 w 52069"/>
                <a:gd name="connsiteY3" fmla="*/ 0 h 28778"/>
                <a:gd name="connsiteX4" fmla="*/ 5488 w 52069"/>
                <a:gd name="connsiteY4" fmla="*/ 0 h 28778"/>
                <a:gd name="connsiteX5" fmla="*/ 0 w 52069"/>
                <a:gd name="connsiteY5" fmla="*/ 5609 h 28778"/>
                <a:gd name="connsiteX6" fmla="*/ 610 w 52069"/>
                <a:gd name="connsiteY6" fmla="*/ 7560 h 28778"/>
                <a:gd name="connsiteX7" fmla="*/ 14389 w 52069"/>
                <a:gd name="connsiteY7" fmla="*/ 11828 h 28778"/>
                <a:gd name="connsiteX8" fmla="*/ 25486 w 52069"/>
                <a:gd name="connsiteY8" fmla="*/ 19511 h 28778"/>
                <a:gd name="connsiteX9" fmla="*/ 48533 w 52069"/>
                <a:gd name="connsiteY9" fmla="*/ 28778 h 28778"/>
                <a:gd name="connsiteX10" fmla="*/ 47923 w 52069"/>
                <a:gd name="connsiteY10" fmla="*/ 10243 h 28778"/>
                <a:gd name="connsiteX11" fmla="*/ 47923 w 52069"/>
                <a:gd name="connsiteY11" fmla="*/ 10243 h 28778"/>
                <a:gd name="connsiteX12" fmla="*/ 52069 w 52069"/>
                <a:gd name="connsiteY12" fmla="*/ 244 h 2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069" h="28778">
                  <a:moveTo>
                    <a:pt x="52069" y="244"/>
                  </a:moveTo>
                  <a:lnTo>
                    <a:pt x="43777" y="2195"/>
                  </a:lnTo>
                  <a:lnTo>
                    <a:pt x="22071" y="3658"/>
                  </a:lnTo>
                  <a:lnTo>
                    <a:pt x="12072" y="0"/>
                  </a:lnTo>
                  <a:lnTo>
                    <a:pt x="5488" y="0"/>
                  </a:lnTo>
                  <a:lnTo>
                    <a:pt x="0" y="5609"/>
                  </a:lnTo>
                  <a:lnTo>
                    <a:pt x="610" y="7560"/>
                  </a:lnTo>
                  <a:lnTo>
                    <a:pt x="14389" y="11828"/>
                  </a:lnTo>
                  <a:lnTo>
                    <a:pt x="25486" y="19511"/>
                  </a:lnTo>
                  <a:lnTo>
                    <a:pt x="48533" y="28778"/>
                  </a:lnTo>
                  <a:lnTo>
                    <a:pt x="47923" y="10243"/>
                  </a:lnTo>
                  <a:lnTo>
                    <a:pt x="47923" y="10243"/>
                  </a:lnTo>
                  <a:lnTo>
                    <a:pt x="52069" y="24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EE3EBFE0-1B8A-4989-B572-518B3F0CC67F}"/>
                </a:ext>
              </a:extLst>
            </p:cNvPr>
            <p:cNvSpPr/>
            <p:nvPr/>
          </p:nvSpPr>
          <p:spPr>
            <a:xfrm>
              <a:off x="4220564" y="2127663"/>
              <a:ext cx="81335" cy="122551"/>
            </a:xfrm>
            <a:custGeom>
              <a:avLst/>
              <a:gdLst>
                <a:gd name="connsiteX0" fmla="*/ 42802 w 81335"/>
                <a:gd name="connsiteY0" fmla="*/ 109504 h 122551"/>
                <a:gd name="connsiteX1" fmla="*/ 62434 w 81335"/>
                <a:gd name="connsiteY1" fmla="*/ 101577 h 122551"/>
                <a:gd name="connsiteX2" fmla="*/ 73897 w 81335"/>
                <a:gd name="connsiteY2" fmla="*/ 99017 h 122551"/>
                <a:gd name="connsiteX3" fmla="*/ 78530 w 81335"/>
                <a:gd name="connsiteY3" fmla="*/ 76945 h 122551"/>
                <a:gd name="connsiteX4" fmla="*/ 81335 w 81335"/>
                <a:gd name="connsiteY4" fmla="*/ 65361 h 122551"/>
                <a:gd name="connsiteX5" fmla="*/ 79994 w 81335"/>
                <a:gd name="connsiteY5" fmla="*/ 57556 h 122551"/>
                <a:gd name="connsiteX6" fmla="*/ 79994 w 81335"/>
                <a:gd name="connsiteY6" fmla="*/ 43167 h 122551"/>
                <a:gd name="connsiteX7" fmla="*/ 79018 w 81335"/>
                <a:gd name="connsiteY7" fmla="*/ 42802 h 122551"/>
                <a:gd name="connsiteX8" fmla="*/ 72799 w 81335"/>
                <a:gd name="connsiteY8" fmla="*/ 39387 h 122551"/>
                <a:gd name="connsiteX9" fmla="*/ 67556 w 81335"/>
                <a:gd name="connsiteY9" fmla="*/ 37558 h 122551"/>
                <a:gd name="connsiteX10" fmla="*/ 64019 w 81335"/>
                <a:gd name="connsiteY10" fmla="*/ 36339 h 122551"/>
                <a:gd name="connsiteX11" fmla="*/ 60727 w 81335"/>
                <a:gd name="connsiteY11" fmla="*/ 38168 h 122551"/>
                <a:gd name="connsiteX12" fmla="*/ 57556 w 81335"/>
                <a:gd name="connsiteY12" fmla="*/ 39875 h 122551"/>
                <a:gd name="connsiteX13" fmla="*/ 53898 w 81335"/>
                <a:gd name="connsiteY13" fmla="*/ 41826 h 122551"/>
                <a:gd name="connsiteX14" fmla="*/ 50728 w 81335"/>
                <a:gd name="connsiteY14" fmla="*/ 39143 h 122551"/>
                <a:gd name="connsiteX15" fmla="*/ 42680 w 81335"/>
                <a:gd name="connsiteY15" fmla="*/ 32193 h 122551"/>
                <a:gd name="connsiteX16" fmla="*/ 40485 w 81335"/>
                <a:gd name="connsiteY16" fmla="*/ 30363 h 122551"/>
                <a:gd name="connsiteX17" fmla="*/ 40485 w 81335"/>
                <a:gd name="connsiteY17" fmla="*/ 21096 h 122551"/>
                <a:gd name="connsiteX18" fmla="*/ 42436 w 81335"/>
                <a:gd name="connsiteY18" fmla="*/ 19267 h 122551"/>
                <a:gd name="connsiteX19" fmla="*/ 52557 w 81335"/>
                <a:gd name="connsiteY19" fmla="*/ 9755 h 122551"/>
                <a:gd name="connsiteX20" fmla="*/ 52557 w 81335"/>
                <a:gd name="connsiteY20" fmla="*/ 0 h 122551"/>
                <a:gd name="connsiteX21" fmla="*/ 41338 w 81335"/>
                <a:gd name="connsiteY21" fmla="*/ 1463 h 122551"/>
                <a:gd name="connsiteX22" fmla="*/ 37924 w 81335"/>
                <a:gd name="connsiteY22" fmla="*/ 6097 h 122551"/>
                <a:gd name="connsiteX23" fmla="*/ 34022 w 81335"/>
                <a:gd name="connsiteY23" fmla="*/ 19023 h 122551"/>
                <a:gd name="connsiteX24" fmla="*/ 38777 w 81335"/>
                <a:gd name="connsiteY24" fmla="*/ 27925 h 122551"/>
                <a:gd name="connsiteX25" fmla="*/ 26217 w 81335"/>
                <a:gd name="connsiteY25" fmla="*/ 35119 h 122551"/>
                <a:gd name="connsiteX26" fmla="*/ 16096 w 81335"/>
                <a:gd name="connsiteY26" fmla="*/ 31461 h 122551"/>
                <a:gd name="connsiteX27" fmla="*/ 9024 w 81335"/>
                <a:gd name="connsiteY27" fmla="*/ 33778 h 122551"/>
                <a:gd name="connsiteX28" fmla="*/ 5243 w 81335"/>
                <a:gd name="connsiteY28" fmla="*/ 40363 h 122551"/>
                <a:gd name="connsiteX29" fmla="*/ 12682 w 81335"/>
                <a:gd name="connsiteY29" fmla="*/ 49874 h 122551"/>
                <a:gd name="connsiteX30" fmla="*/ 11707 w 81335"/>
                <a:gd name="connsiteY30" fmla="*/ 57313 h 122551"/>
                <a:gd name="connsiteX31" fmla="*/ 7317 w 81335"/>
                <a:gd name="connsiteY31" fmla="*/ 60605 h 122551"/>
                <a:gd name="connsiteX32" fmla="*/ 8658 w 81335"/>
                <a:gd name="connsiteY32" fmla="*/ 62068 h 122551"/>
                <a:gd name="connsiteX33" fmla="*/ 16096 w 81335"/>
                <a:gd name="connsiteY33" fmla="*/ 58044 h 122551"/>
                <a:gd name="connsiteX34" fmla="*/ 16096 w 81335"/>
                <a:gd name="connsiteY34" fmla="*/ 58044 h 122551"/>
                <a:gd name="connsiteX35" fmla="*/ 24632 w 81335"/>
                <a:gd name="connsiteY35" fmla="*/ 62190 h 122551"/>
                <a:gd name="connsiteX36" fmla="*/ 18170 w 81335"/>
                <a:gd name="connsiteY36" fmla="*/ 75848 h 122551"/>
                <a:gd name="connsiteX37" fmla="*/ 17682 w 81335"/>
                <a:gd name="connsiteY37" fmla="*/ 83286 h 122551"/>
                <a:gd name="connsiteX38" fmla="*/ 22803 w 81335"/>
                <a:gd name="connsiteY38" fmla="*/ 85847 h 122551"/>
                <a:gd name="connsiteX39" fmla="*/ 24510 w 81335"/>
                <a:gd name="connsiteY39" fmla="*/ 90725 h 122551"/>
                <a:gd name="connsiteX40" fmla="*/ 5122 w 81335"/>
                <a:gd name="connsiteY40" fmla="*/ 97675 h 122551"/>
                <a:gd name="connsiteX41" fmla="*/ 0 w 81335"/>
                <a:gd name="connsiteY41" fmla="*/ 102309 h 122551"/>
                <a:gd name="connsiteX42" fmla="*/ 1707 w 81335"/>
                <a:gd name="connsiteY42" fmla="*/ 112064 h 122551"/>
                <a:gd name="connsiteX43" fmla="*/ 7804 w 81335"/>
                <a:gd name="connsiteY43" fmla="*/ 114869 h 122551"/>
                <a:gd name="connsiteX44" fmla="*/ 9999 w 81335"/>
                <a:gd name="connsiteY44" fmla="*/ 120356 h 122551"/>
                <a:gd name="connsiteX45" fmla="*/ 16584 w 81335"/>
                <a:gd name="connsiteY45" fmla="*/ 122551 h 122551"/>
                <a:gd name="connsiteX46" fmla="*/ 26461 w 81335"/>
                <a:gd name="connsiteY46" fmla="*/ 117430 h 122551"/>
                <a:gd name="connsiteX47" fmla="*/ 42802 w 81335"/>
                <a:gd name="connsiteY47" fmla="*/ 109504 h 12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81335" h="122551">
                  <a:moveTo>
                    <a:pt x="42802" y="109504"/>
                  </a:moveTo>
                  <a:lnTo>
                    <a:pt x="62434" y="101577"/>
                  </a:lnTo>
                  <a:lnTo>
                    <a:pt x="73897" y="99017"/>
                  </a:lnTo>
                  <a:lnTo>
                    <a:pt x="78530" y="76945"/>
                  </a:lnTo>
                  <a:lnTo>
                    <a:pt x="81335" y="65361"/>
                  </a:lnTo>
                  <a:lnTo>
                    <a:pt x="79994" y="57556"/>
                  </a:lnTo>
                  <a:lnTo>
                    <a:pt x="79994" y="43167"/>
                  </a:lnTo>
                  <a:lnTo>
                    <a:pt x="79018" y="42802"/>
                  </a:lnTo>
                  <a:lnTo>
                    <a:pt x="72799" y="39387"/>
                  </a:lnTo>
                  <a:lnTo>
                    <a:pt x="67556" y="37558"/>
                  </a:lnTo>
                  <a:lnTo>
                    <a:pt x="64019" y="36339"/>
                  </a:lnTo>
                  <a:lnTo>
                    <a:pt x="60727" y="38168"/>
                  </a:lnTo>
                  <a:lnTo>
                    <a:pt x="57556" y="39875"/>
                  </a:lnTo>
                  <a:lnTo>
                    <a:pt x="53898" y="41826"/>
                  </a:lnTo>
                  <a:lnTo>
                    <a:pt x="50728" y="39143"/>
                  </a:lnTo>
                  <a:lnTo>
                    <a:pt x="42680" y="32193"/>
                  </a:lnTo>
                  <a:lnTo>
                    <a:pt x="40485" y="30363"/>
                  </a:lnTo>
                  <a:lnTo>
                    <a:pt x="40485" y="21096"/>
                  </a:lnTo>
                  <a:lnTo>
                    <a:pt x="42436" y="19267"/>
                  </a:lnTo>
                  <a:lnTo>
                    <a:pt x="52557" y="9755"/>
                  </a:lnTo>
                  <a:lnTo>
                    <a:pt x="52557" y="0"/>
                  </a:lnTo>
                  <a:lnTo>
                    <a:pt x="41338" y="1463"/>
                  </a:lnTo>
                  <a:lnTo>
                    <a:pt x="37924" y="6097"/>
                  </a:lnTo>
                  <a:lnTo>
                    <a:pt x="34022" y="19023"/>
                  </a:lnTo>
                  <a:lnTo>
                    <a:pt x="38777" y="27925"/>
                  </a:lnTo>
                  <a:lnTo>
                    <a:pt x="26217" y="35119"/>
                  </a:lnTo>
                  <a:lnTo>
                    <a:pt x="16096" y="31461"/>
                  </a:lnTo>
                  <a:lnTo>
                    <a:pt x="9024" y="33778"/>
                  </a:lnTo>
                  <a:lnTo>
                    <a:pt x="5243" y="40363"/>
                  </a:lnTo>
                  <a:lnTo>
                    <a:pt x="12682" y="49874"/>
                  </a:lnTo>
                  <a:lnTo>
                    <a:pt x="11707" y="57313"/>
                  </a:lnTo>
                  <a:lnTo>
                    <a:pt x="7317" y="60605"/>
                  </a:lnTo>
                  <a:lnTo>
                    <a:pt x="8658" y="62068"/>
                  </a:lnTo>
                  <a:lnTo>
                    <a:pt x="16096" y="58044"/>
                  </a:lnTo>
                  <a:lnTo>
                    <a:pt x="16096" y="58044"/>
                  </a:lnTo>
                  <a:lnTo>
                    <a:pt x="24632" y="62190"/>
                  </a:lnTo>
                  <a:lnTo>
                    <a:pt x="18170" y="75848"/>
                  </a:lnTo>
                  <a:lnTo>
                    <a:pt x="17682" y="83286"/>
                  </a:lnTo>
                  <a:lnTo>
                    <a:pt x="22803" y="85847"/>
                  </a:lnTo>
                  <a:lnTo>
                    <a:pt x="24510" y="90725"/>
                  </a:lnTo>
                  <a:lnTo>
                    <a:pt x="5122" y="97675"/>
                  </a:lnTo>
                  <a:lnTo>
                    <a:pt x="0" y="102309"/>
                  </a:lnTo>
                  <a:lnTo>
                    <a:pt x="1707" y="112064"/>
                  </a:lnTo>
                  <a:lnTo>
                    <a:pt x="7804" y="114869"/>
                  </a:lnTo>
                  <a:lnTo>
                    <a:pt x="9999" y="120356"/>
                  </a:lnTo>
                  <a:lnTo>
                    <a:pt x="16584" y="122551"/>
                  </a:lnTo>
                  <a:lnTo>
                    <a:pt x="26461" y="117430"/>
                  </a:lnTo>
                  <a:lnTo>
                    <a:pt x="42802" y="10950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4" name="Freihandform: Form 893">
              <a:extLst>
                <a:ext uri="{FF2B5EF4-FFF2-40B4-BE49-F238E27FC236}">
                  <a16:creationId xmlns:a16="http://schemas.microsoft.com/office/drawing/2014/main" id="{98238164-C653-46B0-94E0-A1728F914138}"/>
                </a:ext>
              </a:extLst>
            </p:cNvPr>
            <p:cNvSpPr/>
            <p:nvPr/>
          </p:nvSpPr>
          <p:spPr>
            <a:xfrm>
              <a:off x="4499078" y="2573238"/>
              <a:ext cx="6219" cy="3780"/>
            </a:xfrm>
            <a:custGeom>
              <a:avLst/>
              <a:gdLst>
                <a:gd name="connsiteX0" fmla="*/ 0 w 6219"/>
                <a:gd name="connsiteY0" fmla="*/ 2926 h 3780"/>
                <a:gd name="connsiteX1" fmla="*/ 0 w 6219"/>
                <a:gd name="connsiteY1" fmla="*/ 3414 h 3780"/>
                <a:gd name="connsiteX2" fmla="*/ 5853 w 6219"/>
                <a:gd name="connsiteY2" fmla="*/ 3780 h 3780"/>
                <a:gd name="connsiteX3" fmla="*/ 6219 w 6219"/>
                <a:gd name="connsiteY3" fmla="*/ 976 h 3780"/>
                <a:gd name="connsiteX4" fmla="*/ 3780 w 6219"/>
                <a:gd name="connsiteY4" fmla="*/ 0 h 3780"/>
                <a:gd name="connsiteX5" fmla="*/ 0 w 6219"/>
                <a:gd name="connsiteY5" fmla="*/ 2926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19" h="3780">
                  <a:moveTo>
                    <a:pt x="0" y="2926"/>
                  </a:moveTo>
                  <a:lnTo>
                    <a:pt x="0" y="3414"/>
                  </a:lnTo>
                  <a:lnTo>
                    <a:pt x="5853" y="3780"/>
                  </a:lnTo>
                  <a:lnTo>
                    <a:pt x="6219" y="976"/>
                  </a:lnTo>
                  <a:lnTo>
                    <a:pt x="3780" y="0"/>
                  </a:lnTo>
                  <a:lnTo>
                    <a:pt x="0" y="2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FE29D748-EC03-4543-A506-C0C888062831}"/>
                </a:ext>
              </a:extLst>
            </p:cNvPr>
            <p:cNvSpPr/>
            <p:nvPr/>
          </p:nvSpPr>
          <p:spPr>
            <a:xfrm>
              <a:off x="4336530" y="2263384"/>
              <a:ext cx="247297" cy="238883"/>
            </a:xfrm>
            <a:custGeom>
              <a:avLst/>
              <a:gdLst>
                <a:gd name="connsiteX0" fmla="*/ 225714 w 247297"/>
                <a:gd name="connsiteY0" fmla="*/ 198887 h 238883"/>
                <a:gd name="connsiteX1" fmla="*/ 222300 w 247297"/>
                <a:gd name="connsiteY1" fmla="*/ 197911 h 238883"/>
                <a:gd name="connsiteX2" fmla="*/ 221446 w 247297"/>
                <a:gd name="connsiteY2" fmla="*/ 194375 h 238883"/>
                <a:gd name="connsiteX3" fmla="*/ 217422 w 247297"/>
                <a:gd name="connsiteY3" fmla="*/ 175352 h 238883"/>
                <a:gd name="connsiteX4" fmla="*/ 216203 w 247297"/>
                <a:gd name="connsiteY4" fmla="*/ 165109 h 238883"/>
                <a:gd name="connsiteX5" fmla="*/ 215105 w 247297"/>
                <a:gd name="connsiteY5" fmla="*/ 156695 h 238883"/>
                <a:gd name="connsiteX6" fmla="*/ 213032 w 247297"/>
                <a:gd name="connsiteY6" fmla="*/ 157061 h 238883"/>
                <a:gd name="connsiteX7" fmla="*/ 214495 w 247297"/>
                <a:gd name="connsiteY7" fmla="*/ 151939 h 238883"/>
                <a:gd name="connsiteX8" fmla="*/ 214129 w 247297"/>
                <a:gd name="connsiteY8" fmla="*/ 148769 h 238883"/>
                <a:gd name="connsiteX9" fmla="*/ 215471 w 247297"/>
                <a:gd name="connsiteY9" fmla="*/ 148647 h 238883"/>
                <a:gd name="connsiteX10" fmla="*/ 215593 w 247297"/>
                <a:gd name="connsiteY10" fmla="*/ 147915 h 238883"/>
                <a:gd name="connsiteX11" fmla="*/ 216324 w 247297"/>
                <a:gd name="connsiteY11" fmla="*/ 145476 h 238883"/>
                <a:gd name="connsiteX12" fmla="*/ 214007 w 247297"/>
                <a:gd name="connsiteY12" fmla="*/ 145111 h 238883"/>
                <a:gd name="connsiteX13" fmla="*/ 209983 w 247297"/>
                <a:gd name="connsiteY13" fmla="*/ 148281 h 238883"/>
                <a:gd name="connsiteX14" fmla="*/ 205106 w 247297"/>
                <a:gd name="connsiteY14" fmla="*/ 152183 h 238883"/>
                <a:gd name="connsiteX15" fmla="*/ 201326 w 247297"/>
                <a:gd name="connsiteY15" fmla="*/ 147184 h 238883"/>
                <a:gd name="connsiteX16" fmla="*/ 199253 w 247297"/>
                <a:gd name="connsiteY16" fmla="*/ 144501 h 238883"/>
                <a:gd name="connsiteX17" fmla="*/ 196570 w 247297"/>
                <a:gd name="connsiteY17" fmla="*/ 140965 h 238883"/>
                <a:gd name="connsiteX18" fmla="*/ 199130 w 247297"/>
                <a:gd name="connsiteY18" fmla="*/ 137306 h 238883"/>
                <a:gd name="connsiteX19" fmla="*/ 205106 w 247297"/>
                <a:gd name="connsiteY19" fmla="*/ 129014 h 238883"/>
                <a:gd name="connsiteX20" fmla="*/ 209008 w 247297"/>
                <a:gd name="connsiteY20" fmla="*/ 121332 h 238883"/>
                <a:gd name="connsiteX21" fmla="*/ 209983 w 247297"/>
                <a:gd name="connsiteY21" fmla="*/ 119259 h 238883"/>
                <a:gd name="connsiteX22" fmla="*/ 212178 w 247297"/>
                <a:gd name="connsiteY22" fmla="*/ 118405 h 238883"/>
                <a:gd name="connsiteX23" fmla="*/ 215958 w 247297"/>
                <a:gd name="connsiteY23" fmla="*/ 116942 h 238883"/>
                <a:gd name="connsiteX24" fmla="*/ 215958 w 247297"/>
                <a:gd name="connsiteY24" fmla="*/ 110113 h 238883"/>
                <a:gd name="connsiteX25" fmla="*/ 216568 w 247297"/>
                <a:gd name="connsiteY25" fmla="*/ 108894 h 238883"/>
                <a:gd name="connsiteX26" fmla="*/ 219129 w 247297"/>
                <a:gd name="connsiteY26" fmla="*/ 103772 h 238883"/>
                <a:gd name="connsiteX27" fmla="*/ 219983 w 247297"/>
                <a:gd name="connsiteY27" fmla="*/ 102187 h 238883"/>
                <a:gd name="connsiteX28" fmla="*/ 221934 w 247297"/>
                <a:gd name="connsiteY28" fmla="*/ 98285 h 238883"/>
                <a:gd name="connsiteX29" fmla="*/ 226202 w 247297"/>
                <a:gd name="connsiteY29" fmla="*/ 98773 h 238883"/>
                <a:gd name="connsiteX30" fmla="*/ 229860 w 247297"/>
                <a:gd name="connsiteY30" fmla="*/ 99260 h 238883"/>
                <a:gd name="connsiteX31" fmla="*/ 232664 w 247297"/>
                <a:gd name="connsiteY31" fmla="*/ 99626 h 238883"/>
                <a:gd name="connsiteX32" fmla="*/ 233274 w 247297"/>
                <a:gd name="connsiteY32" fmla="*/ 97431 h 238883"/>
                <a:gd name="connsiteX33" fmla="*/ 237055 w 247297"/>
                <a:gd name="connsiteY33" fmla="*/ 83652 h 238883"/>
                <a:gd name="connsiteX34" fmla="*/ 239006 w 247297"/>
                <a:gd name="connsiteY34" fmla="*/ 77067 h 238883"/>
                <a:gd name="connsiteX35" fmla="*/ 244005 w 247297"/>
                <a:gd name="connsiteY35" fmla="*/ 63897 h 238883"/>
                <a:gd name="connsiteX36" fmla="*/ 247298 w 247297"/>
                <a:gd name="connsiteY36" fmla="*/ 55605 h 238883"/>
                <a:gd name="connsiteX37" fmla="*/ 236445 w 247297"/>
                <a:gd name="connsiteY37" fmla="*/ 52679 h 238883"/>
                <a:gd name="connsiteX38" fmla="*/ 223397 w 247297"/>
                <a:gd name="connsiteY38" fmla="*/ 51703 h 238883"/>
                <a:gd name="connsiteX39" fmla="*/ 223641 w 247297"/>
                <a:gd name="connsiteY39" fmla="*/ 52435 h 238883"/>
                <a:gd name="connsiteX40" fmla="*/ 217910 w 247297"/>
                <a:gd name="connsiteY40" fmla="*/ 51216 h 238883"/>
                <a:gd name="connsiteX41" fmla="*/ 215227 w 247297"/>
                <a:gd name="connsiteY41" fmla="*/ 50972 h 238883"/>
                <a:gd name="connsiteX42" fmla="*/ 215105 w 247297"/>
                <a:gd name="connsiteY42" fmla="*/ 50606 h 238883"/>
                <a:gd name="connsiteX43" fmla="*/ 214617 w 247297"/>
                <a:gd name="connsiteY43" fmla="*/ 50484 h 238883"/>
                <a:gd name="connsiteX44" fmla="*/ 209374 w 247297"/>
                <a:gd name="connsiteY44" fmla="*/ 49386 h 238883"/>
                <a:gd name="connsiteX45" fmla="*/ 209618 w 247297"/>
                <a:gd name="connsiteY45" fmla="*/ 52923 h 238883"/>
                <a:gd name="connsiteX46" fmla="*/ 203399 w 247297"/>
                <a:gd name="connsiteY46" fmla="*/ 48167 h 238883"/>
                <a:gd name="connsiteX47" fmla="*/ 201326 w 247297"/>
                <a:gd name="connsiteY47" fmla="*/ 47679 h 238883"/>
                <a:gd name="connsiteX48" fmla="*/ 201204 w 247297"/>
                <a:gd name="connsiteY48" fmla="*/ 46460 h 238883"/>
                <a:gd name="connsiteX49" fmla="*/ 199009 w 247297"/>
                <a:gd name="connsiteY49" fmla="*/ 44875 h 238883"/>
                <a:gd name="connsiteX50" fmla="*/ 188278 w 247297"/>
                <a:gd name="connsiteY50" fmla="*/ 36704 h 238883"/>
                <a:gd name="connsiteX51" fmla="*/ 179498 w 247297"/>
                <a:gd name="connsiteY51" fmla="*/ 32802 h 238883"/>
                <a:gd name="connsiteX52" fmla="*/ 176206 w 247297"/>
                <a:gd name="connsiteY52" fmla="*/ 31217 h 238883"/>
                <a:gd name="connsiteX53" fmla="*/ 167913 w 247297"/>
                <a:gd name="connsiteY53" fmla="*/ 28534 h 238883"/>
                <a:gd name="connsiteX54" fmla="*/ 167060 w 247297"/>
                <a:gd name="connsiteY54" fmla="*/ 28168 h 238883"/>
                <a:gd name="connsiteX55" fmla="*/ 166450 w 247297"/>
                <a:gd name="connsiteY55" fmla="*/ 27681 h 238883"/>
                <a:gd name="connsiteX56" fmla="*/ 157183 w 247297"/>
                <a:gd name="connsiteY56" fmla="*/ 21340 h 238883"/>
                <a:gd name="connsiteX57" fmla="*/ 148403 w 247297"/>
                <a:gd name="connsiteY57" fmla="*/ 15243 h 238883"/>
                <a:gd name="connsiteX58" fmla="*/ 147915 w 247297"/>
                <a:gd name="connsiteY58" fmla="*/ 14877 h 238883"/>
                <a:gd name="connsiteX59" fmla="*/ 147427 w 247297"/>
                <a:gd name="connsiteY59" fmla="*/ 14511 h 238883"/>
                <a:gd name="connsiteX60" fmla="*/ 135111 w 247297"/>
                <a:gd name="connsiteY60" fmla="*/ 1707 h 238883"/>
                <a:gd name="connsiteX61" fmla="*/ 133526 w 247297"/>
                <a:gd name="connsiteY61" fmla="*/ 0 h 238883"/>
                <a:gd name="connsiteX62" fmla="*/ 121942 w 247297"/>
                <a:gd name="connsiteY62" fmla="*/ 2683 h 238883"/>
                <a:gd name="connsiteX63" fmla="*/ 116454 w 247297"/>
                <a:gd name="connsiteY63" fmla="*/ 25974 h 238883"/>
                <a:gd name="connsiteX64" fmla="*/ 97553 w 247297"/>
                <a:gd name="connsiteY64" fmla="*/ 38777 h 238883"/>
                <a:gd name="connsiteX65" fmla="*/ 88286 w 247297"/>
                <a:gd name="connsiteY65" fmla="*/ 43777 h 238883"/>
                <a:gd name="connsiteX66" fmla="*/ 88286 w 247297"/>
                <a:gd name="connsiteY66" fmla="*/ 50362 h 238883"/>
                <a:gd name="connsiteX67" fmla="*/ 69141 w 247297"/>
                <a:gd name="connsiteY67" fmla="*/ 50362 h 238883"/>
                <a:gd name="connsiteX68" fmla="*/ 62556 w 247297"/>
                <a:gd name="connsiteY68" fmla="*/ 42802 h 238883"/>
                <a:gd name="connsiteX69" fmla="*/ 52313 w 247297"/>
                <a:gd name="connsiteY69" fmla="*/ 42802 h 238883"/>
                <a:gd name="connsiteX70" fmla="*/ 52313 w 247297"/>
                <a:gd name="connsiteY70" fmla="*/ 45728 h 238883"/>
                <a:gd name="connsiteX71" fmla="*/ 59629 w 247297"/>
                <a:gd name="connsiteY71" fmla="*/ 57556 h 238883"/>
                <a:gd name="connsiteX72" fmla="*/ 64019 w 247297"/>
                <a:gd name="connsiteY72" fmla="*/ 66458 h 238883"/>
                <a:gd name="connsiteX73" fmla="*/ 56703 w 247297"/>
                <a:gd name="connsiteY73" fmla="*/ 76214 h 238883"/>
                <a:gd name="connsiteX74" fmla="*/ 56703 w 247297"/>
                <a:gd name="connsiteY74" fmla="*/ 76214 h 238883"/>
                <a:gd name="connsiteX75" fmla="*/ 47435 w 247297"/>
                <a:gd name="connsiteY75" fmla="*/ 73165 h 238883"/>
                <a:gd name="connsiteX76" fmla="*/ 40728 w 247297"/>
                <a:gd name="connsiteY76" fmla="*/ 76092 h 238883"/>
                <a:gd name="connsiteX77" fmla="*/ 26949 w 247297"/>
                <a:gd name="connsiteY77" fmla="*/ 69141 h 238883"/>
                <a:gd name="connsiteX78" fmla="*/ 21584 w 247297"/>
                <a:gd name="connsiteY78" fmla="*/ 68409 h 238883"/>
                <a:gd name="connsiteX79" fmla="*/ 13170 w 247297"/>
                <a:gd name="connsiteY79" fmla="*/ 75970 h 238883"/>
                <a:gd name="connsiteX80" fmla="*/ 2317 w 247297"/>
                <a:gd name="connsiteY80" fmla="*/ 74994 h 238883"/>
                <a:gd name="connsiteX81" fmla="*/ 0 w 247297"/>
                <a:gd name="connsiteY81" fmla="*/ 79872 h 238883"/>
                <a:gd name="connsiteX82" fmla="*/ 5365 w 247297"/>
                <a:gd name="connsiteY82" fmla="*/ 84384 h 238883"/>
                <a:gd name="connsiteX83" fmla="*/ 3536 w 247297"/>
                <a:gd name="connsiteY83" fmla="*/ 89993 h 238883"/>
                <a:gd name="connsiteX84" fmla="*/ 10487 w 247297"/>
                <a:gd name="connsiteY84" fmla="*/ 95480 h 238883"/>
                <a:gd name="connsiteX85" fmla="*/ 22315 w 247297"/>
                <a:gd name="connsiteY85" fmla="*/ 98163 h 238883"/>
                <a:gd name="connsiteX86" fmla="*/ 32558 w 247297"/>
                <a:gd name="connsiteY86" fmla="*/ 100236 h 238883"/>
                <a:gd name="connsiteX87" fmla="*/ 36095 w 247297"/>
                <a:gd name="connsiteY87" fmla="*/ 104748 h 238883"/>
                <a:gd name="connsiteX88" fmla="*/ 43655 w 247297"/>
                <a:gd name="connsiteY88" fmla="*/ 104748 h 238883"/>
                <a:gd name="connsiteX89" fmla="*/ 53654 w 247297"/>
                <a:gd name="connsiteY89" fmla="*/ 115845 h 238883"/>
                <a:gd name="connsiteX90" fmla="*/ 49996 w 247297"/>
                <a:gd name="connsiteY90" fmla="*/ 124990 h 238883"/>
                <a:gd name="connsiteX91" fmla="*/ 68287 w 247297"/>
                <a:gd name="connsiteY91" fmla="*/ 138770 h 238883"/>
                <a:gd name="connsiteX92" fmla="*/ 69629 w 247297"/>
                <a:gd name="connsiteY92" fmla="*/ 149013 h 238883"/>
                <a:gd name="connsiteX93" fmla="*/ 65848 w 247297"/>
                <a:gd name="connsiteY93" fmla="*/ 149988 h 238883"/>
                <a:gd name="connsiteX94" fmla="*/ 67434 w 247297"/>
                <a:gd name="connsiteY94" fmla="*/ 162304 h 238883"/>
                <a:gd name="connsiteX95" fmla="*/ 69141 w 247297"/>
                <a:gd name="connsiteY95" fmla="*/ 171572 h 238883"/>
                <a:gd name="connsiteX96" fmla="*/ 74628 w 247297"/>
                <a:gd name="connsiteY96" fmla="*/ 174255 h 238883"/>
                <a:gd name="connsiteX97" fmla="*/ 80237 w 247297"/>
                <a:gd name="connsiteY97" fmla="*/ 189375 h 238883"/>
                <a:gd name="connsiteX98" fmla="*/ 70360 w 247297"/>
                <a:gd name="connsiteY98" fmla="*/ 181937 h 238883"/>
                <a:gd name="connsiteX99" fmla="*/ 70238 w 247297"/>
                <a:gd name="connsiteY99" fmla="*/ 191448 h 238883"/>
                <a:gd name="connsiteX100" fmla="*/ 66336 w 247297"/>
                <a:gd name="connsiteY100" fmla="*/ 207789 h 238883"/>
                <a:gd name="connsiteX101" fmla="*/ 61946 w 247297"/>
                <a:gd name="connsiteY101" fmla="*/ 219495 h 238883"/>
                <a:gd name="connsiteX102" fmla="*/ 75116 w 247297"/>
                <a:gd name="connsiteY102" fmla="*/ 228519 h 238883"/>
                <a:gd name="connsiteX103" fmla="*/ 80969 w 247297"/>
                <a:gd name="connsiteY103" fmla="*/ 228519 h 238883"/>
                <a:gd name="connsiteX104" fmla="*/ 82798 w 247297"/>
                <a:gd name="connsiteY104" fmla="*/ 229982 h 238883"/>
                <a:gd name="connsiteX105" fmla="*/ 87554 w 247297"/>
                <a:gd name="connsiteY105" fmla="*/ 234128 h 238883"/>
                <a:gd name="connsiteX106" fmla="*/ 107674 w 247297"/>
                <a:gd name="connsiteY106" fmla="*/ 233396 h 238883"/>
                <a:gd name="connsiteX107" fmla="*/ 108406 w 247297"/>
                <a:gd name="connsiteY107" fmla="*/ 230104 h 238883"/>
                <a:gd name="connsiteX108" fmla="*/ 112186 w 247297"/>
                <a:gd name="connsiteY108" fmla="*/ 229250 h 238883"/>
                <a:gd name="connsiteX109" fmla="*/ 114503 w 247297"/>
                <a:gd name="connsiteY109" fmla="*/ 228884 h 238883"/>
                <a:gd name="connsiteX110" fmla="*/ 117796 w 247297"/>
                <a:gd name="connsiteY110" fmla="*/ 228153 h 238883"/>
                <a:gd name="connsiteX111" fmla="*/ 119991 w 247297"/>
                <a:gd name="connsiteY111" fmla="*/ 230470 h 238883"/>
                <a:gd name="connsiteX112" fmla="*/ 120966 w 247297"/>
                <a:gd name="connsiteY112" fmla="*/ 231445 h 238883"/>
                <a:gd name="connsiteX113" fmla="*/ 124136 w 247297"/>
                <a:gd name="connsiteY113" fmla="*/ 234616 h 238883"/>
                <a:gd name="connsiteX114" fmla="*/ 122551 w 247297"/>
                <a:gd name="connsiteY114" fmla="*/ 237664 h 238883"/>
                <a:gd name="connsiteX115" fmla="*/ 125722 w 247297"/>
                <a:gd name="connsiteY115" fmla="*/ 238884 h 238883"/>
                <a:gd name="connsiteX116" fmla="*/ 145598 w 247297"/>
                <a:gd name="connsiteY116" fmla="*/ 238884 h 238883"/>
                <a:gd name="connsiteX117" fmla="*/ 149622 w 247297"/>
                <a:gd name="connsiteY117" fmla="*/ 224495 h 238883"/>
                <a:gd name="connsiteX118" fmla="*/ 165475 w 247297"/>
                <a:gd name="connsiteY118" fmla="*/ 214983 h 238883"/>
                <a:gd name="connsiteX119" fmla="*/ 182059 w 247297"/>
                <a:gd name="connsiteY119" fmla="*/ 221812 h 238883"/>
                <a:gd name="connsiteX120" fmla="*/ 193278 w 247297"/>
                <a:gd name="connsiteY120" fmla="*/ 220958 h 238883"/>
                <a:gd name="connsiteX121" fmla="*/ 202545 w 247297"/>
                <a:gd name="connsiteY121" fmla="*/ 223763 h 238883"/>
                <a:gd name="connsiteX122" fmla="*/ 213032 w 247297"/>
                <a:gd name="connsiteY122" fmla="*/ 221080 h 238883"/>
                <a:gd name="connsiteX123" fmla="*/ 222666 w 247297"/>
                <a:gd name="connsiteY123" fmla="*/ 215349 h 238883"/>
                <a:gd name="connsiteX124" fmla="*/ 231811 w 247297"/>
                <a:gd name="connsiteY124" fmla="*/ 212666 h 238883"/>
                <a:gd name="connsiteX125" fmla="*/ 239249 w 247297"/>
                <a:gd name="connsiteY125" fmla="*/ 208032 h 238883"/>
                <a:gd name="connsiteX126" fmla="*/ 233274 w 247297"/>
                <a:gd name="connsiteY126" fmla="*/ 201082 h 238883"/>
                <a:gd name="connsiteX127" fmla="*/ 225714 w 247297"/>
                <a:gd name="connsiteY127" fmla="*/ 198887 h 238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47297" h="238883">
                  <a:moveTo>
                    <a:pt x="225714" y="198887"/>
                  </a:moveTo>
                  <a:lnTo>
                    <a:pt x="222300" y="197911"/>
                  </a:lnTo>
                  <a:lnTo>
                    <a:pt x="221446" y="194375"/>
                  </a:lnTo>
                  <a:lnTo>
                    <a:pt x="217422" y="175352"/>
                  </a:lnTo>
                  <a:lnTo>
                    <a:pt x="216203" y="165109"/>
                  </a:lnTo>
                  <a:lnTo>
                    <a:pt x="215105" y="156695"/>
                  </a:lnTo>
                  <a:lnTo>
                    <a:pt x="213032" y="157061"/>
                  </a:lnTo>
                  <a:lnTo>
                    <a:pt x="214495" y="151939"/>
                  </a:lnTo>
                  <a:lnTo>
                    <a:pt x="214129" y="148769"/>
                  </a:lnTo>
                  <a:lnTo>
                    <a:pt x="215471" y="148647"/>
                  </a:lnTo>
                  <a:lnTo>
                    <a:pt x="215593" y="147915"/>
                  </a:lnTo>
                  <a:lnTo>
                    <a:pt x="216324" y="145476"/>
                  </a:lnTo>
                  <a:lnTo>
                    <a:pt x="214007" y="145111"/>
                  </a:lnTo>
                  <a:lnTo>
                    <a:pt x="209983" y="148281"/>
                  </a:lnTo>
                  <a:lnTo>
                    <a:pt x="205106" y="152183"/>
                  </a:lnTo>
                  <a:lnTo>
                    <a:pt x="201326" y="147184"/>
                  </a:lnTo>
                  <a:lnTo>
                    <a:pt x="199253" y="144501"/>
                  </a:lnTo>
                  <a:lnTo>
                    <a:pt x="196570" y="140965"/>
                  </a:lnTo>
                  <a:lnTo>
                    <a:pt x="199130" y="137306"/>
                  </a:lnTo>
                  <a:lnTo>
                    <a:pt x="205106" y="129014"/>
                  </a:lnTo>
                  <a:lnTo>
                    <a:pt x="209008" y="121332"/>
                  </a:lnTo>
                  <a:lnTo>
                    <a:pt x="209983" y="119259"/>
                  </a:lnTo>
                  <a:lnTo>
                    <a:pt x="212178" y="118405"/>
                  </a:lnTo>
                  <a:lnTo>
                    <a:pt x="215958" y="116942"/>
                  </a:lnTo>
                  <a:lnTo>
                    <a:pt x="215958" y="110113"/>
                  </a:lnTo>
                  <a:lnTo>
                    <a:pt x="216568" y="108894"/>
                  </a:lnTo>
                  <a:lnTo>
                    <a:pt x="219129" y="103772"/>
                  </a:lnTo>
                  <a:lnTo>
                    <a:pt x="219983" y="102187"/>
                  </a:lnTo>
                  <a:lnTo>
                    <a:pt x="221934" y="98285"/>
                  </a:lnTo>
                  <a:lnTo>
                    <a:pt x="226202" y="98773"/>
                  </a:lnTo>
                  <a:lnTo>
                    <a:pt x="229860" y="99260"/>
                  </a:lnTo>
                  <a:lnTo>
                    <a:pt x="232664" y="99626"/>
                  </a:lnTo>
                  <a:lnTo>
                    <a:pt x="233274" y="97431"/>
                  </a:lnTo>
                  <a:lnTo>
                    <a:pt x="237055" y="83652"/>
                  </a:lnTo>
                  <a:lnTo>
                    <a:pt x="239006" y="77067"/>
                  </a:lnTo>
                  <a:lnTo>
                    <a:pt x="244005" y="63897"/>
                  </a:lnTo>
                  <a:lnTo>
                    <a:pt x="247298" y="55605"/>
                  </a:lnTo>
                  <a:lnTo>
                    <a:pt x="236445" y="52679"/>
                  </a:lnTo>
                  <a:lnTo>
                    <a:pt x="223397" y="51703"/>
                  </a:lnTo>
                  <a:lnTo>
                    <a:pt x="223641" y="52435"/>
                  </a:lnTo>
                  <a:lnTo>
                    <a:pt x="217910" y="51216"/>
                  </a:lnTo>
                  <a:lnTo>
                    <a:pt x="215227" y="50972"/>
                  </a:lnTo>
                  <a:lnTo>
                    <a:pt x="215105" y="50606"/>
                  </a:lnTo>
                  <a:lnTo>
                    <a:pt x="214617" y="50484"/>
                  </a:lnTo>
                  <a:lnTo>
                    <a:pt x="209374" y="49386"/>
                  </a:lnTo>
                  <a:lnTo>
                    <a:pt x="209618" y="52923"/>
                  </a:lnTo>
                  <a:lnTo>
                    <a:pt x="203399" y="48167"/>
                  </a:lnTo>
                  <a:lnTo>
                    <a:pt x="201326" y="47679"/>
                  </a:lnTo>
                  <a:lnTo>
                    <a:pt x="201204" y="46460"/>
                  </a:lnTo>
                  <a:lnTo>
                    <a:pt x="199009" y="44875"/>
                  </a:lnTo>
                  <a:lnTo>
                    <a:pt x="188278" y="36704"/>
                  </a:lnTo>
                  <a:lnTo>
                    <a:pt x="179498" y="32802"/>
                  </a:lnTo>
                  <a:lnTo>
                    <a:pt x="176206" y="31217"/>
                  </a:lnTo>
                  <a:lnTo>
                    <a:pt x="167913" y="28534"/>
                  </a:lnTo>
                  <a:lnTo>
                    <a:pt x="167060" y="28168"/>
                  </a:lnTo>
                  <a:lnTo>
                    <a:pt x="166450" y="27681"/>
                  </a:lnTo>
                  <a:lnTo>
                    <a:pt x="157183" y="21340"/>
                  </a:lnTo>
                  <a:lnTo>
                    <a:pt x="148403" y="15243"/>
                  </a:lnTo>
                  <a:lnTo>
                    <a:pt x="147915" y="14877"/>
                  </a:lnTo>
                  <a:lnTo>
                    <a:pt x="147427" y="14511"/>
                  </a:lnTo>
                  <a:lnTo>
                    <a:pt x="135111" y="1707"/>
                  </a:lnTo>
                  <a:lnTo>
                    <a:pt x="133526" y="0"/>
                  </a:lnTo>
                  <a:lnTo>
                    <a:pt x="121942" y="2683"/>
                  </a:lnTo>
                  <a:lnTo>
                    <a:pt x="116454" y="25974"/>
                  </a:lnTo>
                  <a:lnTo>
                    <a:pt x="97553" y="38777"/>
                  </a:lnTo>
                  <a:lnTo>
                    <a:pt x="88286" y="43777"/>
                  </a:lnTo>
                  <a:lnTo>
                    <a:pt x="88286" y="50362"/>
                  </a:lnTo>
                  <a:lnTo>
                    <a:pt x="69141" y="50362"/>
                  </a:lnTo>
                  <a:lnTo>
                    <a:pt x="62556" y="42802"/>
                  </a:lnTo>
                  <a:lnTo>
                    <a:pt x="52313" y="42802"/>
                  </a:lnTo>
                  <a:lnTo>
                    <a:pt x="52313" y="45728"/>
                  </a:lnTo>
                  <a:lnTo>
                    <a:pt x="59629" y="57556"/>
                  </a:lnTo>
                  <a:lnTo>
                    <a:pt x="64019" y="66458"/>
                  </a:lnTo>
                  <a:lnTo>
                    <a:pt x="56703" y="76214"/>
                  </a:lnTo>
                  <a:lnTo>
                    <a:pt x="56703" y="76214"/>
                  </a:lnTo>
                  <a:lnTo>
                    <a:pt x="47435" y="73165"/>
                  </a:lnTo>
                  <a:lnTo>
                    <a:pt x="40728" y="76092"/>
                  </a:lnTo>
                  <a:lnTo>
                    <a:pt x="26949" y="69141"/>
                  </a:lnTo>
                  <a:lnTo>
                    <a:pt x="21584" y="68409"/>
                  </a:lnTo>
                  <a:lnTo>
                    <a:pt x="13170" y="75970"/>
                  </a:lnTo>
                  <a:lnTo>
                    <a:pt x="2317" y="74994"/>
                  </a:lnTo>
                  <a:lnTo>
                    <a:pt x="0" y="79872"/>
                  </a:lnTo>
                  <a:lnTo>
                    <a:pt x="5365" y="84384"/>
                  </a:lnTo>
                  <a:lnTo>
                    <a:pt x="3536" y="89993"/>
                  </a:lnTo>
                  <a:lnTo>
                    <a:pt x="10487" y="95480"/>
                  </a:lnTo>
                  <a:lnTo>
                    <a:pt x="22315" y="98163"/>
                  </a:lnTo>
                  <a:lnTo>
                    <a:pt x="32558" y="100236"/>
                  </a:lnTo>
                  <a:lnTo>
                    <a:pt x="36095" y="104748"/>
                  </a:lnTo>
                  <a:lnTo>
                    <a:pt x="43655" y="104748"/>
                  </a:lnTo>
                  <a:lnTo>
                    <a:pt x="53654" y="115845"/>
                  </a:lnTo>
                  <a:lnTo>
                    <a:pt x="49996" y="124990"/>
                  </a:lnTo>
                  <a:lnTo>
                    <a:pt x="68287" y="138770"/>
                  </a:lnTo>
                  <a:lnTo>
                    <a:pt x="69629" y="149013"/>
                  </a:lnTo>
                  <a:lnTo>
                    <a:pt x="65848" y="149988"/>
                  </a:lnTo>
                  <a:lnTo>
                    <a:pt x="67434" y="162304"/>
                  </a:lnTo>
                  <a:lnTo>
                    <a:pt x="69141" y="171572"/>
                  </a:lnTo>
                  <a:lnTo>
                    <a:pt x="74628" y="174255"/>
                  </a:lnTo>
                  <a:lnTo>
                    <a:pt x="80237" y="189375"/>
                  </a:lnTo>
                  <a:lnTo>
                    <a:pt x="70360" y="181937"/>
                  </a:lnTo>
                  <a:lnTo>
                    <a:pt x="70238" y="191448"/>
                  </a:lnTo>
                  <a:lnTo>
                    <a:pt x="66336" y="207789"/>
                  </a:lnTo>
                  <a:lnTo>
                    <a:pt x="61946" y="219495"/>
                  </a:lnTo>
                  <a:lnTo>
                    <a:pt x="75116" y="228519"/>
                  </a:lnTo>
                  <a:lnTo>
                    <a:pt x="80969" y="228519"/>
                  </a:lnTo>
                  <a:lnTo>
                    <a:pt x="82798" y="229982"/>
                  </a:lnTo>
                  <a:lnTo>
                    <a:pt x="87554" y="234128"/>
                  </a:lnTo>
                  <a:lnTo>
                    <a:pt x="107674" y="233396"/>
                  </a:lnTo>
                  <a:lnTo>
                    <a:pt x="108406" y="230104"/>
                  </a:lnTo>
                  <a:lnTo>
                    <a:pt x="112186" y="229250"/>
                  </a:lnTo>
                  <a:lnTo>
                    <a:pt x="114503" y="228884"/>
                  </a:lnTo>
                  <a:lnTo>
                    <a:pt x="117796" y="228153"/>
                  </a:lnTo>
                  <a:lnTo>
                    <a:pt x="119991" y="230470"/>
                  </a:lnTo>
                  <a:lnTo>
                    <a:pt x="120966" y="231445"/>
                  </a:lnTo>
                  <a:lnTo>
                    <a:pt x="124136" y="234616"/>
                  </a:lnTo>
                  <a:lnTo>
                    <a:pt x="122551" y="237664"/>
                  </a:lnTo>
                  <a:lnTo>
                    <a:pt x="125722" y="238884"/>
                  </a:lnTo>
                  <a:lnTo>
                    <a:pt x="145598" y="238884"/>
                  </a:lnTo>
                  <a:lnTo>
                    <a:pt x="149622" y="224495"/>
                  </a:lnTo>
                  <a:lnTo>
                    <a:pt x="165475" y="214983"/>
                  </a:lnTo>
                  <a:lnTo>
                    <a:pt x="182059" y="221812"/>
                  </a:lnTo>
                  <a:lnTo>
                    <a:pt x="193278" y="220958"/>
                  </a:lnTo>
                  <a:lnTo>
                    <a:pt x="202545" y="223763"/>
                  </a:lnTo>
                  <a:lnTo>
                    <a:pt x="213032" y="221080"/>
                  </a:lnTo>
                  <a:lnTo>
                    <a:pt x="222666" y="215349"/>
                  </a:lnTo>
                  <a:lnTo>
                    <a:pt x="231811" y="212666"/>
                  </a:lnTo>
                  <a:lnTo>
                    <a:pt x="239249" y="208032"/>
                  </a:lnTo>
                  <a:lnTo>
                    <a:pt x="233274" y="201082"/>
                  </a:lnTo>
                  <a:lnTo>
                    <a:pt x="225714" y="19888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6" name="Freihandform: Form 895">
              <a:extLst>
                <a:ext uri="{FF2B5EF4-FFF2-40B4-BE49-F238E27FC236}">
                  <a16:creationId xmlns:a16="http://schemas.microsoft.com/office/drawing/2014/main" id="{E29B1712-D454-4D7D-AF98-774DB98E86D1}"/>
                </a:ext>
              </a:extLst>
            </p:cNvPr>
            <p:cNvSpPr/>
            <p:nvPr/>
          </p:nvSpPr>
          <p:spPr>
            <a:xfrm>
              <a:off x="4523223" y="1504785"/>
              <a:ext cx="502887" cy="518739"/>
            </a:xfrm>
            <a:custGeom>
              <a:avLst/>
              <a:gdLst>
                <a:gd name="connsiteX0" fmla="*/ 122 w 502887"/>
                <a:gd name="connsiteY0" fmla="*/ 393140 h 518739"/>
                <a:gd name="connsiteX1" fmla="*/ 6707 w 502887"/>
                <a:gd name="connsiteY1" fmla="*/ 394481 h 518739"/>
                <a:gd name="connsiteX2" fmla="*/ 11340 w 502887"/>
                <a:gd name="connsiteY2" fmla="*/ 390823 h 518739"/>
                <a:gd name="connsiteX3" fmla="*/ 29510 w 502887"/>
                <a:gd name="connsiteY3" fmla="*/ 390823 h 518739"/>
                <a:gd name="connsiteX4" fmla="*/ 36095 w 502887"/>
                <a:gd name="connsiteY4" fmla="*/ 388018 h 518739"/>
                <a:gd name="connsiteX5" fmla="*/ 46703 w 502887"/>
                <a:gd name="connsiteY5" fmla="*/ 385336 h 518739"/>
                <a:gd name="connsiteX6" fmla="*/ 45119 w 502887"/>
                <a:gd name="connsiteY6" fmla="*/ 395457 h 518739"/>
                <a:gd name="connsiteX7" fmla="*/ 35363 w 502887"/>
                <a:gd name="connsiteY7" fmla="*/ 398749 h 518739"/>
                <a:gd name="connsiteX8" fmla="*/ 28656 w 502887"/>
                <a:gd name="connsiteY8" fmla="*/ 400578 h 518739"/>
                <a:gd name="connsiteX9" fmla="*/ 20730 w 502887"/>
                <a:gd name="connsiteY9" fmla="*/ 403627 h 518739"/>
                <a:gd name="connsiteX10" fmla="*/ 14023 w 502887"/>
                <a:gd name="connsiteY10" fmla="*/ 402651 h 518739"/>
                <a:gd name="connsiteX11" fmla="*/ 3902 w 502887"/>
                <a:gd name="connsiteY11" fmla="*/ 404968 h 518739"/>
                <a:gd name="connsiteX12" fmla="*/ 4512 w 502887"/>
                <a:gd name="connsiteY12" fmla="*/ 409480 h 518739"/>
                <a:gd name="connsiteX13" fmla="*/ 9999 w 502887"/>
                <a:gd name="connsiteY13" fmla="*/ 412163 h 518739"/>
                <a:gd name="connsiteX14" fmla="*/ 12438 w 502887"/>
                <a:gd name="connsiteY14" fmla="*/ 419845 h 518739"/>
                <a:gd name="connsiteX15" fmla="*/ 7438 w 502887"/>
                <a:gd name="connsiteY15" fmla="*/ 425698 h 518739"/>
                <a:gd name="connsiteX16" fmla="*/ 9877 w 502887"/>
                <a:gd name="connsiteY16" fmla="*/ 427649 h 518739"/>
                <a:gd name="connsiteX17" fmla="*/ 15731 w 502887"/>
                <a:gd name="connsiteY17" fmla="*/ 427649 h 518739"/>
                <a:gd name="connsiteX18" fmla="*/ 23047 w 502887"/>
                <a:gd name="connsiteY18" fmla="*/ 418504 h 518739"/>
                <a:gd name="connsiteX19" fmla="*/ 31461 w 502887"/>
                <a:gd name="connsiteY19" fmla="*/ 415211 h 518739"/>
                <a:gd name="connsiteX20" fmla="*/ 30120 w 502887"/>
                <a:gd name="connsiteY20" fmla="*/ 427893 h 518739"/>
                <a:gd name="connsiteX21" fmla="*/ 19511 w 502887"/>
                <a:gd name="connsiteY21" fmla="*/ 439356 h 518739"/>
                <a:gd name="connsiteX22" fmla="*/ 16584 w 502887"/>
                <a:gd name="connsiteY22" fmla="*/ 448379 h 518739"/>
                <a:gd name="connsiteX23" fmla="*/ 7926 w 502887"/>
                <a:gd name="connsiteY23" fmla="*/ 452160 h 518739"/>
                <a:gd name="connsiteX24" fmla="*/ 5609 w 502887"/>
                <a:gd name="connsiteY24" fmla="*/ 457525 h 518739"/>
                <a:gd name="connsiteX25" fmla="*/ 6219 w 502887"/>
                <a:gd name="connsiteY25" fmla="*/ 463134 h 518739"/>
                <a:gd name="connsiteX26" fmla="*/ 11585 w 502887"/>
                <a:gd name="connsiteY26" fmla="*/ 461915 h 518739"/>
                <a:gd name="connsiteX27" fmla="*/ 14633 w 502887"/>
                <a:gd name="connsiteY27" fmla="*/ 456793 h 518739"/>
                <a:gd name="connsiteX28" fmla="*/ 26217 w 502887"/>
                <a:gd name="connsiteY28" fmla="*/ 458501 h 518739"/>
                <a:gd name="connsiteX29" fmla="*/ 18901 w 502887"/>
                <a:gd name="connsiteY29" fmla="*/ 468256 h 518739"/>
                <a:gd name="connsiteX30" fmla="*/ 18779 w 502887"/>
                <a:gd name="connsiteY30" fmla="*/ 477767 h 518739"/>
                <a:gd name="connsiteX31" fmla="*/ 8902 w 502887"/>
                <a:gd name="connsiteY31" fmla="*/ 479840 h 518739"/>
                <a:gd name="connsiteX32" fmla="*/ 7682 w 502887"/>
                <a:gd name="connsiteY32" fmla="*/ 484108 h 518739"/>
                <a:gd name="connsiteX33" fmla="*/ 13170 w 502887"/>
                <a:gd name="connsiteY33" fmla="*/ 491181 h 518739"/>
                <a:gd name="connsiteX34" fmla="*/ 18901 w 502887"/>
                <a:gd name="connsiteY34" fmla="*/ 492278 h 518739"/>
                <a:gd name="connsiteX35" fmla="*/ 18901 w 502887"/>
                <a:gd name="connsiteY35" fmla="*/ 502278 h 518739"/>
                <a:gd name="connsiteX36" fmla="*/ 25242 w 502887"/>
                <a:gd name="connsiteY36" fmla="*/ 502278 h 518739"/>
                <a:gd name="connsiteX37" fmla="*/ 29266 w 502887"/>
                <a:gd name="connsiteY37" fmla="*/ 498375 h 518739"/>
                <a:gd name="connsiteX38" fmla="*/ 39265 w 502887"/>
                <a:gd name="connsiteY38" fmla="*/ 500083 h 518739"/>
                <a:gd name="connsiteX39" fmla="*/ 31583 w 502887"/>
                <a:gd name="connsiteY39" fmla="*/ 511057 h 518739"/>
                <a:gd name="connsiteX40" fmla="*/ 36460 w 502887"/>
                <a:gd name="connsiteY40" fmla="*/ 518740 h 518739"/>
                <a:gd name="connsiteX41" fmla="*/ 47923 w 502887"/>
                <a:gd name="connsiteY41" fmla="*/ 513862 h 518739"/>
                <a:gd name="connsiteX42" fmla="*/ 59142 w 502887"/>
                <a:gd name="connsiteY42" fmla="*/ 507277 h 518739"/>
                <a:gd name="connsiteX43" fmla="*/ 67312 w 502887"/>
                <a:gd name="connsiteY43" fmla="*/ 502887 h 518739"/>
                <a:gd name="connsiteX44" fmla="*/ 79872 w 502887"/>
                <a:gd name="connsiteY44" fmla="*/ 484840 h 518739"/>
                <a:gd name="connsiteX45" fmla="*/ 79872 w 502887"/>
                <a:gd name="connsiteY45" fmla="*/ 478865 h 518739"/>
                <a:gd name="connsiteX46" fmla="*/ 93042 w 502887"/>
                <a:gd name="connsiteY46" fmla="*/ 468866 h 518739"/>
                <a:gd name="connsiteX47" fmla="*/ 91334 w 502887"/>
                <a:gd name="connsiteY47" fmla="*/ 475572 h 518739"/>
                <a:gd name="connsiteX48" fmla="*/ 97187 w 502887"/>
                <a:gd name="connsiteY48" fmla="*/ 474963 h 518739"/>
                <a:gd name="connsiteX49" fmla="*/ 104382 w 502887"/>
                <a:gd name="connsiteY49" fmla="*/ 468500 h 518739"/>
                <a:gd name="connsiteX50" fmla="*/ 104382 w 502887"/>
                <a:gd name="connsiteY50" fmla="*/ 457159 h 518739"/>
                <a:gd name="connsiteX51" fmla="*/ 112064 w 502887"/>
                <a:gd name="connsiteY51" fmla="*/ 450818 h 518739"/>
                <a:gd name="connsiteX52" fmla="*/ 119381 w 502887"/>
                <a:gd name="connsiteY52" fmla="*/ 455208 h 518739"/>
                <a:gd name="connsiteX53" fmla="*/ 116454 w 502887"/>
                <a:gd name="connsiteY53" fmla="*/ 466915 h 518739"/>
                <a:gd name="connsiteX54" fmla="*/ 126575 w 502887"/>
                <a:gd name="connsiteY54" fmla="*/ 476060 h 518739"/>
                <a:gd name="connsiteX55" fmla="*/ 126575 w 502887"/>
                <a:gd name="connsiteY55" fmla="*/ 489961 h 518739"/>
                <a:gd name="connsiteX56" fmla="*/ 127307 w 502887"/>
                <a:gd name="connsiteY56" fmla="*/ 491913 h 518739"/>
                <a:gd name="connsiteX57" fmla="*/ 129990 w 502887"/>
                <a:gd name="connsiteY57" fmla="*/ 483377 h 518739"/>
                <a:gd name="connsiteX58" fmla="*/ 131453 w 502887"/>
                <a:gd name="connsiteY58" fmla="*/ 473743 h 518739"/>
                <a:gd name="connsiteX59" fmla="*/ 135599 w 502887"/>
                <a:gd name="connsiteY59" fmla="*/ 436063 h 518739"/>
                <a:gd name="connsiteX60" fmla="*/ 135843 w 502887"/>
                <a:gd name="connsiteY60" fmla="*/ 434234 h 518739"/>
                <a:gd name="connsiteX61" fmla="*/ 137062 w 502887"/>
                <a:gd name="connsiteY61" fmla="*/ 432893 h 518739"/>
                <a:gd name="connsiteX62" fmla="*/ 143038 w 502887"/>
                <a:gd name="connsiteY62" fmla="*/ 425576 h 518739"/>
                <a:gd name="connsiteX63" fmla="*/ 144013 w 502887"/>
                <a:gd name="connsiteY63" fmla="*/ 421308 h 518739"/>
                <a:gd name="connsiteX64" fmla="*/ 145355 w 502887"/>
                <a:gd name="connsiteY64" fmla="*/ 415577 h 518739"/>
                <a:gd name="connsiteX65" fmla="*/ 140721 w 502887"/>
                <a:gd name="connsiteY65" fmla="*/ 409480 h 518739"/>
                <a:gd name="connsiteX66" fmla="*/ 138404 w 502887"/>
                <a:gd name="connsiteY66" fmla="*/ 406431 h 518739"/>
                <a:gd name="connsiteX67" fmla="*/ 136819 w 502887"/>
                <a:gd name="connsiteY67" fmla="*/ 404237 h 518739"/>
                <a:gd name="connsiteX68" fmla="*/ 137306 w 502887"/>
                <a:gd name="connsiteY68" fmla="*/ 401554 h 518739"/>
                <a:gd name="connsiteX69" fmla="*/ 138404 w 502887"/>
                <a:gd name="connsiteY69" fmla="*/ 396554 h 518739"/>
                <a:gd name="connsiteX70" fmla="*/ 139013 w 502887"/>
                <a:gd name="connsiteY70" fmla="*/ 393262 h 518739"/>
                <a:gd name="connsiteX71" fmla="*/ 142184 w 502887"/>
                <a:gd name="connsiteY71" fmla="*/ 392042 h 518739"/>
                <a:gd name="connsiteX72" fmla="*/ 144745 w 502887"/>
                <a:gd name="connsiteY72" fmla="*/ 391067 h 518739"/>
                <a:gd name="connsiteX73" fmla="*/ 149866 w 502887"/>
                <a:gd name="connsiteY73" fmla="*/ 389238 h 518739"/>
                <a:gd name="connsiteX74" fmla="*/ 149866 w 502887"/>
                <a:gd name="connsiteY74" fmla="*/ 376312 h 518739"/>
                <a:gd name="connsiteX75" fmla="*/ 142550 w 502887"/>
                <a:gd name="connsiteY75" fmla="*/ 366557 h 518739"/>
                <a:gd name="connsiteX76" fmla="*/ 141452 w 502887"/>
                <a:gd name="connsiteY76" fmla="*/ 365093 h 518739"/>
                <a:gd name="connsiteX77" fmla="*/ 141330 w 502887"/>
                <a:gd name="connsiteY77" fmla="*/ 363386 h 518739"/>
                <a:gd name="connsiteX78" fmla="*/ 137062 w 502887"/>
                <a:gd name="connsiteY78" fmla="*/ 314000 h 518739"/>
                <a:gd name="connsiteX79" fmla="*/ 137062 w 502887"/>
                <a:gd name="connsiteY79" fmla="*/ 278393 h 518739"/>
                <a:gd name="connsiteX80" fmla="*/ 138892 w 502887"/>
                <a:gd name="connsiteY80" fmla="*/ 276564 h 518739"/>
                <a:gd name="connsiteX81" fmla="*/ 148891 w 502887"/>
                <a:gd name="connsiteY81" fmla="*/ 266564 h 518739"/>
                <a:gd name="connsiteX82" fmla="*/ 150964 w 502887"/>
                <a:gd name="connsiteY82" fmla="*/ 264369 h 518739"/>
                <a:gd name="connsiteX83" fmla="*/ 154012 w 502887"/>
                <a:gd name="connsiteY83" fmla="*/ 264857 h 518739"/>
                <a:gd name="connsiteX84" fmla="*/ 170840 w 502887"/>
                <a:gd name="connsiteY84" fmla="*/ 267296 h 518739"/>
                <a:gd name="connsiteX85" fmla="*/ 178523 w 502887"/>
                <a:gd name="connsiteY85" fmla="*/ 259614 h 518739"/>
                <a:gd name="connsiteX86" fmla="*/ 169743 w 502887"/>
                <a:gd name="connsiteY86" fmla="*/ 246444 h 518739"/>
                <a:gd name="connsiteX87" fmla="*/ 167548 w 502887"/>
                <a:gd name="connsiteY87" fmla="*/ 243152 h 518739"/>
                <a:gd name="connsiteX88" fmla="*/ 169621 w 502887"/>
                <a:gd name="connsiteY88" fmla="*/ 239859 h 518739"/>
                <a:gd name="connsiteX89" fmla="*/ 181205 w 502887"/>
                <a:gd name="connsiteY89" fmla="*/ 221934 h 518739"/>
                <a:gd name="connsiteX90" fmla="*/ 185229 w 502887"/>
                <a:gd name="connsiteY90" fmla="*/ 185595 h 518739"/>
                <a:gd name="connsiteX91" fmla="*/ 180473 w 502887"/>
                <a:gd name="connsiteY91" fmla="*/ 174864 h 518739"/>
                <a:gd name="connsiteX92" fmla="*/ 179132 w 502887"/>
                <a:gd name="connsiteY92" fmla="*/ 171938 h 518739"/>
                <a:gd name="connsiteX93" fmla="*/ 180839 w 502887"/>
                <a:gd name="connsiteY93" fmla="*/ 169255 h 518739"/>
                <a:gd name="connsiteX94" fmla="*/ 182669 w 502887"/>
                <a:gd name="connsiteY94" fmla="*/ 166206 h 518739"/>
                <a:gd name="connsiteX95" fmla="*/ 186936 w 502887"/>
                <a:gd name="connsiteY95" fmla="*/ 159378 h 518739"/>
                <a:gd name="connsiteX96" fmla="*/ 188034 w 502887"/>
                <a:gd name="connsiteY96" fmla="*/ 157671 h 518739"/>
                <a:gd name="connsiteX97" fmla="*/ 189985 w 502887"/>
                <a:gd name="connsiteY97" fmla="*/ 156939 h 518739"/>
                <a:gd name="connsiteX98" fmla="*/ 196936 w 502887"/>
                <a:gd name="connsiteY98" fmla="*/ 154378 h 518739"/>
                <a:gd name="connsiteX99" fmla="*/ 199862 w 502887"/>
                <a:gd name="connsiteY99" fmla="*/ 153281 h 518739"/>
                <a:gd name="connsiteX100" fmla="*/ 202545 w 502887"/>
                <a:gd name="connsiteY100" fmla="*/ 150598 h 518739"/>
                <a:gd name="connsiteX101" fmla="*/ 221080 w 502887"/>
                <a:gd name="connsiteY101" fmla="*/ 132551 h 518739"/>
                <a:gd name="connsiteX102" fmla="*/ 221812 w 502887"/>
                <a:gd name="connsiteY102" fmla="*/ 127917 h 518739"/>
                <a:gd name="connsiteX103" fmla="*/ 219739 w 502887"/>
                <a:gd name="connsiteY103" fmla="*/ 126697 h 518739"/>
                <a:gd name="connsiteX104" fmla="*/ 211935 w 502887"/>
                <a:gd name="connsiteY104" fmla="*/ 122064 h 518739"/>
                <a:gd name="connsiteX105" fmla="*/ 219129 w 502887"/>
                <a:gd name="connsiteY105" fmla="*/ 116698 h 518739"/>
                <a:gd name="connsiteX106" fmla="*/ 231689 w 502887"/>
                <a:gd name="connsiteY106" fmla="*/ 107065 h 518739"/>
                <a:gd name="connsiteX107" fmla="*/ 232786 w 502887"/>
                <a:gd name="connsiteY107" fmla="*/ 105358 h 518739"/>
                <a:gd name="connsiteX108" fmla="*/ 236567 w 502887"/>
                <a:gd name="connsiteY108" fmla="*/ 99139 h 518739"/>
                <a:gd name="connsiteX109" fmla="*/ 237786 w 502887"/>
                <a:gd name="connsiteY109" fmla="*/ 97066 h 518739"/>
                <a:gd name="connsiteX110" fmla="*/ 239981 w 502887"/>
                <a:gd name="connsiteY110" fmla="*/ 96456 h 518739"/>
                <a:gd name="connsiteX111" fmla="*/ 254370 w 502887"/>
                <a:gd name="connsiteY111" fmla="*/ 92066 h 518739"/>
                <a:gd name="connsiteX112" fmla="*/ 257419 w 502887"/>
                <a:gd name="connsiteY112" fmla="*/ 83408 h 518739"/>
                <a:gd name="connsiteX113" fmla="*/ 258760 w 502887"/>
                <a:gd name="connsiteY113" fmla="*/ 79628 h 518739"/>
                <a:gd name="connsiteX114" fmla="*/ 262662 w 502887"/>
                <a:gd name="connsiteY114" fmla="*/ 79384 h 518739"/>
                <a:gd name="connsiteX115" fmla="*/ 269003 w 502887"/>
                <a:gd name="connsiteY115" fmla="*/ 78896 h 518739"/>
                <a:gd name="connsiteX116" fmla="*/ 272418 w 502887"/>
                <a:gd name="connsiteY116" fmla="*/ 78652 h 518739"/>
                <a:gd name="connsiteX117" fmla="*/ 273271 w 502887"/>
                <a:gd name="connsiteY117" fmla="*/ 78530 h 518739"/>
                <a:gd name="connsiteX118" fmla="*/ 274125 w 502887"/>
                <a:gd name="connsiteY118" fmla="*/ 78774 h 518739"/>
                <a:gd name="connsiteX119" fmla="*/ 284368 w 502887"/>
                <a:gd name="connsiteY119" fmla="*/ 81091 h 518739"/>
                <a:gd name="connsiteX120" fmla="*/ 292416 w 502887"/>
                <a:gd name="connsiteY120" fmla="*/ 79262 h 518739"/>
                <a:gd name="connsiteX121" fmla="*/ 295708 w 502887"/>
                <a:gd name="connsiteY121" fmla="*/ 66824 h 518739"/>
                <a:gd name="connsiteX122" fmla="*/ 296806 w 502887"/>
                <a:gd name="connsiteY122" fmla="*/ 62678 h 518739"/>
                <a:gd name="connsiteX123" fmla="*/ 301074 w 502887"/>
                <a:gd name="connsiteY123" fmla="*/ 62312 h 518739"/>
                <a:gd name="connsiteX124" fmla="*/ 307903 w 502887"/>
                <a:gd name="connsiteY124" fmla="*/ 61702 h 518739"/>
                <a:gd name="connsiteX125" fmla="*/ 308634 w 502887"/>
                <a:gd name="connsiteY125" fmla="*/ 61702 h 518739"/>
                <a:gd name="connsiteX126" fmla="*/ 309366 w 502887"/>
                <a:gd name="connsiteY126" fmla="*/ 61215 h 518739"/>
                <a:gd name="connsiteX127" fmla="*/ 317170 w 502887"/>
                <a:gd name="connsiteY127" fmla="*/ 56581 h 518739"/>
                <a:gd name="connsiteX128" fmla="*/ 318756 w 502887"/>
                <a:gd name="connsiteY128" fmla="*/ 55605 h 518739"/>
                <a:gd name="connsiteX129" fmla="*/ 320706 w 502887"/>
                <a:gd name="connsiteY129" fmla="*/ 55727 h 518739"/>
                <a:gd name="connsiteX130" fmla="*/ 330706 w 502887"/>
                <a:gd name="connsiteY130" fmla="*/ 56459 h 518739"/>
                <a:gd name="connsiteX131" fmla="*/ 332779 w 502887"/>
                <a:gd name="connsiteY131" fmla="*/ 56581 h 518739"/>
                <a:gd name="connsiteX132" fmla="*/ 334242 w 502887"/>
                <a:gd name="connsiteY132" fmla="*/ 57922 h 518739"/>
                <a:gd name="connsiteX133" fmla="*/ 351314 w 502887"/>
                <a:gd name="connsiteY133" fmla="*/ 72921 h 518739"/>
                <a:gd name="connsiteX134" fmla="*/ 356191 w 502887"/>
                <a:gd name="connsiteY134" fmla="*/ 73775 h 518739"/>
                <a:gd name="connsiteX135" fmla="*/ 363264 w 502887"/>
                <a:gd name="connsiteY135" fmla="*/ 74994 h 518739"/>
                <a:gd name="connsiteX136" fmla="*/ 369727 w 502887"/>
                <a:gd name="connsiteY136" fmla="*/ 72068 h 518739"/>
                <a:gd name="connsiteX137" fmla="*/ 374361 w 502887"/>
                <a:gd name="connsiteY137" fmla="*/ 69873 h 518739"/>
                <a:gd name="connsiteX138" fmla="*/ 375702 w 502887"/>
                <a:gd name="connsiteY138" fmla="*/ 69263 h 518739"/>
                <a:gd name="connsiteX139" fmla="*/ 388994 w 502887"/>
                <a:gd name="connsiteY139" fmla="*/ 69263 h 518739"/>
                <a:gd name="connsiteX140" fmla="*/ 390457 w 502887"/>
                <a:gd name="connsiteY140" fmla="*/ 70116 h 518739"/>
                <a:gd name="connsiteX141" fmla="*/ 397530 w 502887"/>
                <a:gd name="connsiteY141" fmla="*/ 74384 h 518739"/>
                <a:gd name="connsiteX142" fmla="*/ 400700 w 502887"/>
                <a:gd name="connsiteY142" fmla="*/ 74384 h 518739"/>
                <a:gd name="connsiteX143" fmla="*/ 412407 w 502887"/>
                <a:gd name="connsiteY143" fmla="*/ 65239 h 518739"/>
                <a:gd name="connsiteX144" fmla="*/ 413626 w 502887"/>
                <a:gd name="connsiteY144" fmla="*/ 45362 h 518739"/>
                <a:gd name="connsiteX145" fmla="*/ 413870 w 502887"/>
                <a:gd name="connsiteY145" fmla="*/ 41704 h 518739"/>
                <a:gd name="connsiteX146" fmla="*/ 417162 w 502887"/>
                <a:gd name="connsiteY146" fmla="*/ 40119 h 518739"/>
                <a:gd name="connsiteX147" fmla="*/ 433990 w 502887"/>
                <a:gd name="connsiteY147" fmla="*/ 32315 h 518739"/>
                <a:gd name="connsiteX148" fmla="*/ 435088 w 502887"/>
                <a:gd name="connsiteY148" fmla="*/ 31827 h 518739"/>
                <a:gd name="connsiteX149" fmla="*/ 436307 w 502887"/>
                <a:gd name="connsiteY149" fmla="*/ 31827 h 518739"/>
                <a:gd name="connsiteX150" fmla="*/ 449355 w 502887"/>
                <a:gd name="connsiteY150" fmla="*/ 31217 h 518739"/>
                <a:gd name="connsiteX151" fmla="*/ 452403 w 502887"/>
                <a:gd name="connsiteY151" fmla="*/ 30973 h 518739"/>
                <a:gd name="connsiteX152" fmla="*/ 453989 w 502887"/>
                <a:gd name="connsiteY152" fmla="*/ 30973 h 518739"/>
                <a:gd name="connsiteX153" fmla="*/ 455452 w 502887"/>
                <a:gd name="connsiteY153" fmla="*/ 31705 h 518739"/>
                <a:gd name="connsiteX154" fmla="*/ 458744 w 502887"/>
                <a:gd name="connsiteY154" fmla="*/ 33412 h 518739"/>
                <a:gd name="connsiteX155" fmla="*/ 472280 w 502887"/>
                <a:gd name="connsiteY155" fmla="*/ 40241 h 518739"/>
                <a:gd name="connsiteX156" fmla="*/ 475329 w 502887"/>
                <a:gd name="connsiteY156" fmla="*/ 41826 h 518739"/>
                <a:gd name="connsiteX157" fmla="*/ 475572 w 502887"/>
                <a:gd name="connsiteY157" fmla="*/ 45240 h 518739"/>
                <a:gd name="connsiteX158" fmla="*/ 476548 w 502887"/>
                <a:gd name="connsiteY158" fmla="*/ 57556 h 518739"/>
                <a:gd name="connsiteX159" fmla="*/ 479596 w 502887"/>
                <a:gd name="connsiteY159" fmla="*/ 55971 h 518739"/>
                <a:gd name="connsiteX160" fmla="*/ 480206 w 502887"/>
                <a:gd name="connsiteY160" fmla="*/ 54264 h 518739"/>
                <a:gd name="connsiteX161" fmla="*/ 481060 w 502887"/>
                <a:gd name="connsiteY161" fmla="*/ 51459 h 518739"/>
                <a:gd name="connsiteX162" fmla="*/ 483864 w 502887"/>
                <a:gd name="connsiteY162" fmla="*/ 50484 h 518739"/>
                <a:gd name="connsiteX163" fmla="*/ 497400 w 502887"/>
                <a:gd name="connsiteY163" fmla="*/ 45240 h 518739"/>
                <a:gd name="connsiteX164" fmla="*/ 502887 w 502887"/>
                <a:gd name="connsiteY164" fmla="*/ 43289 h 518739"/>
                <a:gd name="connsiteX165" fmla="*/ 502765 w 502887"/>
                <a:gd name="connsiteY165" fmla="*/ 43167 h 518739"/>
                <a:gd name="connsiteX166" fmla="*/ 491425 w 502887"/>
                <a:gd name="connsiteY166" fmla="*/ 47435 h 518739"/>
                <a:gd name="connsiteX167" fmla="*/ 483620 w 502887"/>
                <a:gd name="connsiteY167" fmla="*/ 44996 h 518739"/>
                <a:gd name="connsiteX168" fmla="*/ 483620 w 502887"/>
                <a:gd name="connsiteY168" fmla="*/ 40607 h 518739"/>
                <a:gd name="connsiteX169" fmla="*/ 465939 w 502887"/>
                <a:gd name="connsiteY169" fmla="*/ 33534 h 518739"/>
                <a:gd name="connsiteX170" fmla="*/ 468866 w 502887"/>
                <a:gd name="connsiteY170" fmla="*/ 26705 h 518739"/>
                <a:gd name="connsiteX171" fmla="*/ 490815 w 502887"/>
                <a:gd name="connsiteY171" fmla="*/ 30242 h 518739"/>
                <a:gd name="connsiteX172" fmla="*/ 501668 w 502887"/>
                <a:gd name="connsiteY172" fmla="*/ 22437 h 518739"/>
                <a:gd name="connsiteX173" fmla="*/ 476913 w 502887"/>
                <a:gd name="connsiteY173" fmla="*/ 8292 h 518739"/>
                <a:gd name="connsiteX174" fmla="*/ 469719 w 502887"/>
                <a:gd name="connsiteY174" fmla="*/ 9633 h 518739"/>
                <a:gd name="connsiteX175" fmla="*/ 461915 w 502887"/>
                <a:gd name="connsiteY175" fmla="*/ 17194 h 518739"/>
                <a:gd name="connsiteX176" fmla="*/ 450452 w 502887"/>
                <a:gd name="connsiteY176" fmla="*/ 10243 h 518739"/>
                <a:gd name="connsiteX177" fmla="*/ 459110 w 502887"/>
                <a:gd name="connsiteY177" fmla="*/ 5000 h 518739"/>
                <a:gd name="connsiteX178" fmla="*/ 453745 w 502887"/>
                <a:gd name="connsiteY178" fmla="*/ 1341 h 518739"/>
                <a:gd name="connsiteX179" fmla="*/ 439234 w 502887"/>
                <a:gd name="connsiteY179" fmla="*/ 0 h 518739"/>
                <a:gd name="connsiteX180" fmla="*/ 441307 w 502887"/>
                <a:gd name="connsiteY180" fmla="*/ 5487 h 518739"/>
                <a:gd name="connsiteX181" fmla="*/ 432161 w 502887"/>
                <a:gd name="connsiteY181" fmla="*/ 17560 h 518739"/>
                <a:gd name="connsiteX182" fmla="*/ 424601 w 502887"/>
                <a:gd name="connsiteY182" fmla="*/ 11462 h 518739"/>
                <a:gd name="connsiteX183" fmla="*/ 427284 w 502887"/>
                <a:gd name="connsiteY183" fmla="*/ 8170 h 518739"/>
                <a:gd name="connsiteX184" fmla="*/ 423015 w 502887"/>
                <a:gd name="connsiteY184" fmla="*/ 8170 h 518739"/>
                <a:gd name="connsiteX185" fmla="*/ 412041 w 502887"/>
                <a:gd name="connsiteY185" fmla="*/ 25486 h 518739"/>
                <a:gd name="connsiteX186" fmla="*/ 391798 w 502887"/>
                <a:gd name="connsiteY186" fmla="*/ 35485 h 518739"/>
                <a:gd name="connsiteX187" fmla="*/ 395822 w 502887"/>
                <a:gd name="connsiteY187" fmla="*/ 19511 h 518739"/>
                <a:gd name="connsiteX188" fmla="*/ 403749 w 502887"/>
                <a:gd name="connsiteY188" fmla="*/ 10975 h 518739"/>
                <a:gd name="connsiteX189" fmla="*/ 410333 w 502887"/>
                <a:gd name="connsiteY189" fmla="*/ 7073 h 518739"/>
                <a:gd name="connsiteX190" fmla="*/ 409358 w 502887"/>
                <a:gd name="connsiteY190" fmla="*/ 5487 h 518739"/>
                <a:gd name="connsiteX191" fmla="*/ 405822 w 502887"/>
                <a:gd name="connsiteY191" fmla="*/ 5365 h 518739"/>
                <a:gd name="connsiteX192" fmla="*/ 405456 w 502887"/>
                <a:gd name="connsiteY192" fmla="*/ 5365 h 518739"/>
                <a:gd name="connsiteX193" fmla="*/ 405334 w 502887"/>
                <a:gd name="connsiteY193" fmla="*/ 5365 h 518739"/>
                <a:gd name="connsiteX194" fmla="*/ 394969 w 502887"/>
                <a:gd name="connsiteY194" fmla="*/ 4756 h 518739"/>
                <a:gd name="connsiteX195" fmla="*/ 390457 w 502887"/>
                <a:gd name="connsiteY195" fmla="*/ 5243 h 518739"/>
                <a:gd name="connsiteX196" fmla="*/ 389238 w 502887"/>
                <a:gd name="connsiteY196" fmla="*/ 7316 h 518739"/>
                <a:gd name="connsiteX197" fmla="*/ 395822 w 502887"/>
                <a:gd name="connsiteY197" fmla="*/ 13292 h 518739"/>
                <a:gd name="connsiteX198" fmla="*/ 387896 w 502887"/>
                <a:gd name="connsiteY198" fmla="*/ 17316 h 518739"/>
                <a:gd name="connsiteX199" fmla="*/ 383872 w 502887"/>
                <a:gd name="connsiteY199" fmla="*/ 22681 h 518739"/>
                <a:gd name="connsiteX200" fmla="*/ 374117 w 502887"/>
                <a:gd name="connsiteY200" fmla="*/ 24510 h 518739"/>
                <a:gd name="connsiteX201" fmla="*/ 368264 w 502887"/>
                <a:gd name="connsiteY201" fmla="*/ 29266 h 518739"/>
                <a:gd name="connsiteX202" fmla="*/ 372654 w 502887"/>
                <a:gd name="connsiteY202" fmla="*/ 38534 h 518739"/>
                <a:gd name="connsiteX203" fmla="*/ 354119 w 502887"/>
                <a:gd name="connsiteY203" fmla="*/ 39997 h 518739"/>
                <a:gd name="connsiteX204" fmla="*/ 350826 w 502887"/>
                <a:gd name="connsiteY204" fmla="*/ 34753 h 518739"/>
                <a:gd name="connsiteX205" fmla="*/ 341193 w 502887"/>
                <a:gd name="connsiteY205" fmla="*/ 27925 h 518739"/>
                <a:gd name="connsiteX206" fmla="*/ 331681 w 502887"/>
                <a:gd name="connsiteY206" fmla="*/ 26339 h 518739"/>
                <a:gd name="connsiteX207" fmla="*/ 325584 w 502887"/>
                <a:gd name="connsiteY207" fmla="*/ 28169 h 518739"/>
                <a:gd name="connsiteX208" fmla="*/ 324974 w 502887"/>
                <a:gd name="connsiteY208" fmla="*/ 29388 h 518739"/>
                <a:gd name="connsiteX209" fmla="*/ 341924 w 502887"/>
                <a:gd name="connsiteY209" fmla="*/ 36704 h 518739"/>
                <a:gd name="connsiteX210" fmla="*/ 338632 w 502887"/>
                <a:gd name="connsiteY210" fmla="*/ 44631 h 518739"/>
                <a:gd name="connsiteX211" fmla="*/ 329730 w 502887"/>
                <a:gd name="connsiteY211" fmla="*/ 43777 h 518739"/>
                <a:gd name="connsiteX212" fmla="*/ 326925 w 502887"/>
                <a:gd name="connsiteY212" fmla="*/ 41094 h 518739"/>
                <a:gd name="connsiteX213" fmla="*/ 317292 w 502887"/>
                <a:gd name="connsiteY213" fmla="*/ 41582 h 518739"/>
                <a:gd name="connsiteX214" fmla="*/ 312902 w 502887"/>
                <a:gd name="connsiteY214" fmla="*/ 44996 h 518739"/>
                <a:gd name="connsiteX215" fmla="*/ 312902 w 502887"/>
                <a:gd name="connsiteY215" fmla="*/ 53410 h 518739"/>
                <a:gd name="connsiteX216" fmla="*/ 307049 w 502887"/>
                <a:gd name="connsiteY216" fmla="*/ 59020 h 518739"/>
                <a:gd name="connsiteX217" fmla="*/ 297782 w 502887"/>
                <a:gd name="connsiteY217" fmla="*/ 60605 h 518739"/>
                <a:gd name="connsiteX218" fmla="*/ 296318 w 502887"/>
                <a:gd name="connsiteY218" fmla="*/ 53045 h 518739"/>
                <a:gd name="connsiteX219" fmla="*/ 298513 w 502887"/>
                <a:gd name="connsiteY219" fmla="*/ 44753 h 518739"/>
                <a:gd name="connsiteX220" fmla="*/ 300830 w 502887"/>
                <a:gd name="connsiteY220" fmla="*/ 41582 h 518739"/>
                <a:gd name="connsiteX221" fmla="*/ 298757 w 502887"/>
                <a:gd name="connsiteY221" fmla="*/ 40729 h 518739"/>
                <a:gd name="connsiteX222" fmla="*/ 295465 w 502887"/>
                <a:gd name="connsiteY222" fmla="*/ 43167 h 518739"/>
                <a:gd name="connsiteX223" fmla="*/ 289123 w 502887"/>
                <a:gd name="connsiteY223" fmla="*/ 55971 h 518739"/>
                <a:gd name="connsiteX224" fmla="*/ 284977 w 502887"/>
                <a:gd name="connsiteY224" fmla="*/ 48411 h 518739"/>
                <a:gd name="connsiteX225" fmla="*/ 280832 w 502887"/>
                <a:gd name="connsiteY225" fmla="*/ 48411 h 518739"/>
                <a:gd name="connsiteX226" fmla="*/ 279490 w 502887"/>
                <a:gd name="connsiteY226" fmla="*/ 50850 h 518739"/>
                <a:gd name="connsiteX227" fmla="*/ 288758 w 502887"/>
                <a:gd name="connsiteY227" fmla="*/ 57678 h 518739"/>
                <a:gd name="connsiteX228" fmla="*/ 279612 w 502887"/>
                <a:gd name="connsiteY228" fmla="*/ 60971 h 518739"/>
                <a:gd name="connsiteX229" fmla="*/ 273637 w 502887"/>
                <a:gd name="connsiteY229" fmla="*/ 58776 h 518739"/>
                <a:gd name="connsiteX230" fmla="*/ 273027 w 502887"/>
                <a:gd name="connsiteY230" fmla="*/ 62678 h 518739"/>
                <a:gd name="connsiteX231" fmla="*/ 275710 w 502887"/>
                <a:gd name="connsiteY231" fmla="*/ 62068 h 518739"/>
                <a:gd name="connsiteX232" fmla="*/ 270711 w 502887"/>
                <a:gd name="connsiteY232" fmla="*/ 64385 h 518739"/>
                <a:gd name="connsiteX233" fmla="*/ 264857 w 502887"/>
                <a:gd name="connsiteY233" fmla="*/ 68531 h 518739"/>
                <a:gd name="connsiteX234" fmla="*/ 264857 w 502887"/>
                <a:gd name="connsiteY234" fmla="*/ 68531 h 518739"/>
                <a:gd name="connsiteX235" fmla="*/ 264126 w 502887"/>
                <a:gd name="connsiteY235" fmla="*/ 67556 h 518739"/>
                <a:gd name="connsiteX236" fmla="*/ 250102 w 502887"/>
                <a:gd name="connsiteY236" fmla="*/ 74019 h 518739"/>
                <a:gd name="connsiteX237" fmla="*/ 250712 w 502887"/>
                <a:gd name="connsiteY237" fmla="*/ 77189 h 518739"/>
                <a:gd name="connsiteX238" fmla="*/ 242420 w 502887"/>
                <a:gd name="connsiteY238" fmla="*/ 83652 h 518739"/>
                <a:gd name="connsiteX239" fmla="*/ 231201 w 502887"/>
                <a:gd name="connsiteY239" fmla="*/ 83042 h 518739"/>
                <a:gd name="connsiteX240" fmla="*/ 227543 w 502887"/>
                <a:gd name="connsiteY240" fmla="*/ 86457 h 518739"/>
                <a:gd name="connsiteX241" fmla="*/ 233152 w 502887"/>
                <a:gd name="connsiteY241" fmla="*/ 86091 h 518739"/>
                <a:gd name="connsiteX242" fmla="*/ 243517 w 502887"/>
                <a:gd name="connsiteY242" fmla="*/ 85359 h 518739"/>
                <a:gd name="connsiteX243" fmla="*/ 243517 w 502887"/>
                <a:gd name="connsiteY243" fmla="*/ 85359 h 518739"/>
                <a:gd name="connsiteX244" fmla="*/ 241566 w 502887"/>
                <a:gd name="connsiteY244" fmla="*/ 94383 h 518739"/>
                <a:gd name="connsiteX245" fmla="*/ 227055 w 502887"/>
                <a:gd name="connsiteY245" fmla="*/ 94383 h 518739"/>
                <a:gd name="connsiteX246" fmla="*/ 227909 w 502887"/>
                <a:gd name="connsiteY246" fmla="*/ 104016 h 518739"/>
                <a:gd name="connsiteX247" fmla="*/ 218520 w 502887"/>
                <a:gd name="connsiteY247" fmla="*/ 106455 h 518739"/>
                <a:gd name="connsiteX248" fmla="*/ 218520 w 502887"/>
                <a:gd name="connsiteY248" fmla="*/ 106455 h 518739"/>
                <a:gd name="connsiteX249" fmla="*/ 213398 w 502887"/>
                <a:gd name="connsiteY249" fmla="*/ 101821 h 518739"/>
                <a:gd name="connsiteX250" fmla="*/ 202179 w 502887"/>
                <a:gd name="connsiteY250" fmla="*/ 112064 h 518739"/>
                <a:gd name="connsiteX251" fmla="*/ 213642 w 502887"/>
                <a:gd name="connsiteY251" fmla="*/ 111577 h 518739"/>
                <a:gd name="connsiteX252" fmla="*/ 213642 w 502887"/>
                <a:gd name="connsiteY252" fmla="*/ 111577 h 518739"/>
                <a:gd name="connsiteX253" fmla="*/ 210106 w 502887"/>
                <a:gd name="connsiteY253" fmla="*/ 120966 h 518739"/>
                <a:gd name="connsiteX254" fmla="*/ 200472 w 502887"/>
                <a:gd name="connsiteY254" fmla="*/ 120966 h 518739"/>
                <a:gd name="connsiteX255" fmla="*/ 196936 w 502887"/>
                <a:gd name="connsiteY255" fmla="*/ 121942 h 518739"/>
                <a:gd name="connsiteX256" fmla="*/ 207057 w 502887"/>
                <a:gd name="connsiteY256" fmla="*/ 123161 h 518739"/>
                <a:gd name="connsiteX257" fmla="*/ 194131 w 502887"/>
                <a:gd name="connsiteY257" fmla="*/ 131819 h 518739"/>
                <a:gd name="connsiteX258" fmla="*/ 194131 w 502887"/>
                <a:gd name="connsiteY258" fmla="*/ 131819 h 518739"/>
                <a:gd name="connsiteX259" fmla="*/ 186449 w 502887"/>
                <a:gd name="connsiteY259" fmla="*/ 131209 h 518739"/>
                <a:gd name="connsiteX260" fmla="*/ 176815 w 502887"/>
                <a:gd name="connsiteY260" fmla="*/ 136453 h 518739"/>
                <a:gd name="connsiteX261" fmla="*/ 164499 w 502887"/>
                <a:gd name="connsiteY261" fmla="*/ 148891 h 518739"/>
                <a:gd name="connsiteX262" fmla="*/ 159744 w 502887"/>
                <a:gd name="connsiteY262" fmla="*/ 151330 h 518739"/>
                <a:gd name="connsiteX263" fmla="*/ 159744 w 502887"/>
                <a:gd name="connsiteY263" fmla="*/ 157671 h 518739"/>
                <a:gd name="connsiteX264" fmla="*/ 168401 w 502887"/>
                <a:gd name="connsiteY264" fmla="*/ 155354 h 518739"/>
                <a:gd name="connsiteX265" fmla="*/ 177059 w 502887"/>
                <a:gd name="connsiteY265" fmla="*/ 161085 h 518739"/>
                <a:gd name="connsiteX266" fmla="*/ 168036 w 502887"/>
                <a:gd name="connsiteY266" fmla="*/ 170109 h 518739"/>
                <a:gd name="connsiteX267" fmla="*/ 155841 w 502887"/>
                <a:gd name="connsiteY267" fmla="*/ 170962 h 518739"/>
                <a:gd name="connsiteX268" fmla="*/ 154866 w 502887"/>
                <a:gd name="connsiteY268" fmla="*/ 182791 h 518739"/>
                <a:gd name="connsiteX269" fmla="*/ 150110 w 502887"/>
                <a:gd name="connsiteY269" fmla="*/ 199253 h 518739"/>
                <a:gd name="connsiteX270" fmla="*/ 144623 w 502887"/>
                <a:gd name="connsiteY270" fmla="*/ 206447 h 518739"/>
                <a:gd name="connsiteX271" fmla="*/ 144623 w 502887"/>
                <a:gd name="connsiteY271" fmla="*/ 207789 h 518739"/>
                <a:gd name="connsiteX272" fmla="*/ 154866 w 502887"/>
                <a:gd name="connsiteY272" fmla="*/ 205228 h 518739"/>
                <a:gd name="connsiteX273" fmla="*/ 145598 w 502887"/>
                <a:gd name="connsiteY273" fmla="*/ 219007 h 518739"/>
                <a:gd name="connsiteX274" fmla="*/ 136087 w 502887"/>
                <a:gd name="connsiteY274" fmla="*/ 220958 h 518739"/>
                <a:gd name="connsiteX275" fmla="*/ 119991 w 502887"/>
                <a:gd name="connsiteY275" fmla="*/ 240591 h 518739"/>
                <a:gd name="connsiteX276" fmla="*/ 119991 w 502887"/>
                <a:gd name="connsiteY276" fmla="*/ 249249 h 518739"/>
                <a:gd name="connsiteX277" fmla="*/ 92432 w 502887"/>
                <a:gd name="connsiteY277" fmla="*/ 274003 h 518739"/>
                <a:gd name="connsiteX278" fmla="*/ 88651 w 502887"/>
                <a:gd name="connsiteY278" fmla="*/ 290099 h 518739"/>
                <a:gd name="connsiteX279" fmla="*/ 83774 w 502887"/>
                <a:gd name="connsiteY279" fmla="*/ 294977 h 518739"/>
                <a:gd name="connsiteX280" fmla="*/ 80237 w 502887"/>
                <a:gd name="connsiteY280" fmla="*/ 301806 h 518739"/>
                <a:gd name="connsiteX281" fmla="*/ 71945 w 502887"/>
                <a:gd name="connsiteY281" fmla="*/ 299733 h 518739"/>
                <a:gd name="connsiteX282" fmla="*/ 61093 w 502887"/>
                <a:gd name="connsiteY282" fmla="*/ 306439 h 518739"/>
                <a:gd name="connsiteX283" fmla="*/ 58898 w 502887"/>
                <a:gd name="connsiteY283" fmla="*/ 312780 h 518739"/>
                <a:gd name="connsiteX284" fmla="*/ 49630 w 502887"/>
                <a:gd name="connsiteY284" fmla="*/ 312780 h 518739"/>
                <a:gd name="connsiteX285" fmla="*/ 41582 w 502887"/>
                <a:gd name="connsiteY285" fmla="*/ 319243 h 518739"/>
                <a:gd name="connsiteX286" fmla="*/ 41582 w 502887"/>
                <a:gd name="connsiteY286" fmla="*/ 327657 h 518739"/>
                <a:gd name="connsiteX287" fmla="*/ 33412 w 502887"/>
                <a:gd name="connsiteY287" fmla="*/ 328755 h 518739"/>
                <a:gd name="connsiteX288" fmla="*/ 32680 w 502887"/>
                <a:gd name="connsiteY288" fmla="*/ 331072 h 518739"/>
                <a:gd name="connsiteX289" fmla="*/ 37436 w 502887"/>
                <a:gd name="connsiteY289" fmla="*/ 332657 h 518739"/>
                <a:gd name="connsiteX290" fmla="*/ 39143 w 502887"/>
                <a:gd name="connsiteY290" fmla="*/ 341071 h 518739"/>
                <a:gd name="connsiteX291" fmla="*/ 20852 w 502887"/>
                <a:gd name="connsiteY291" fmla="*/ 342046 h 518739"/>
                <a:gd name="connsiteX292" fmla="*/ 14389 w 502887"/>
                <a:gd name="connsiteY292" fmla="*/ 353143 h 518739"/>
                <a:gd name="connsiteX293" fmla="*/ 6707 w 502887"/>
                <a:gd name="connsiteY293" fmla="*/ 355094 h 518739"/>
                <a:gd name="connsiteX294" fmla="*/ 3658 w 502887"/>
                <a:gd name="connsiteY294" fmla="*/ 359728 h 518739"/>
                <a:gd name="connsiteX295" fmla="*/ 2683 w 502887"/>
                <a:gd name="connsiteY295" fmla="*/ 365459 h 518739"/>
                <a:gd name="connsiteX296" fmla="*/ 0 w 502887"/>
                <a:gd name="connsiteY296" fmla="*/ 368873 h 518739"/>
                <a:gd name="connsiteX297" fmla="*/ 1829 w 502887"/>
                <a:gd name="connsiteY297" fmla="*/ 380580 h 518739"/>
                <a:gd name="connsiteX298" fmla="*/ 122 w 502887"/>
                <a:gd name="connsiteY298" fmla="*/ 393140 h 518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</a:cxnLst>
              <a:rect l="l" t="t" r="r" b="b"/>
              <a:pathLst>
                <a:path w="502887" h="518739">
                  <a:moveTo>
                    <a:pt x="122" y="393140"/>
                  </a:moveTo>
                  <a:lnTo>
                    <a:pt x="6707" y="394481"/>
                  </a:lnTo>
                  <a:lnTo>
                    <a:pt x="11340" y="390823"/>
                  </a:lnTo>
                  <a:lnTo>
                    <a:pt x="29510" y="390823"/>
                  </a:lnTo>
                  <a:lnTo>
                    <a:pt x="36095" y="388018"/>
                  </a:lnTo>
                  <a:lnTo>
                    <a:pt x="46703" y="385336"/>
                  </a:lnTo>
                  <a:lnTo>
                    <a:pt x="45119" y="395457"/>
                  </a:lnTo>
                  <a:lnTo>
                    <a:pt x="35363" y="398749"/>
                  </a:lnTo>
                  <a:lnTo>
                    <a:pt x="28656" y="400578"/>
                  </a:lnTo>
                  <a:lnTo>
                    <a:pt x="20730" y="403627"/>
                  </a:lnTo>
                  <a:lnTo>
                    <a:pt x="14023" y="402651"/>
                  </a:lnTo>
                  <a:lnTo>
                    <a:pt x="3902" y="404968"/>
                  </a:lnTo>
                  <a:lnTo>
                    <a:pt x="4512" y="409480"/>
                  </a:lnTo>
                  <a:lnTo>
                    <a:pt x="9999" y="412163"/>
                  </a:lnTo>
                  <a:lnTo>
                    <a:pt x="12438" y="419845"/>
                  </a:lnTo>
                  <a:lnTo>
                    <a:pt x="7438" y="425698"/>
                  </a:lnTo>
                  <a:lnTo>
                    <a:pt x="9877" y="427649"/>
                  </a:lnTo>
                  <a:lnTo>
                    <a:pt x="15731" y="427649"/>
                  </a:lnTo>
                  <a:lnTo>
                    <a:pt x="23047" y="418504"/>
                  </a:lnTo>
                  <a:lnTo>
                    <a:pt x="31461" y="415211"/>
                  </a:lnTo>
                  <a:lnTo>
                    <a:pt x="30120" y="427893"/>
                  </a:lnTo>
                  <a:lnTo>
                    <a:pt x="19511" y="439356"/>
                  </a:lnTo>
                  <a:lnTo>
                    <a:pt x="16584" y="448379"/>
                  </a:lnTo>
                  <a:lnTo>
                    <a:pt x="7926" y="452160"/>
                  </a:lnTo>
                  <a:lnTo>
                    <a:pt x="5609" y="457525"/>
                  </a:lnTo>
                  <a:lnTo>
                    <a:pt x="6219" y="463134"/>
                  </a:lnTo>
                  <a:lnTo>
                    <a:pt x="11585" y="461915"/>
                  </a:lnTo>
                  <a:lnTo>
                    <a:pt x="14633" y="456793"/>
                  </a:lnTo>
                  <a:lnTo>
                    <a:pt x="26217" y="458501"/>
                  </a:lnTo>
                  <a:lnTo>
                    <a:pt x="18901" y="468256"/>
                  </a:lnTo>
                  <a:lnTo>
                    <a:pt x="18779" y="477767"/>
                  </a:lnTo>
                  <a:lnTo>
                    <a:pt x="8902" y="479840"/>
                  </a:lnTo>
                  <a:lnTo>
                    <a:pt x="7682" y="484108"/>
                  </a:lnTo>
                  <a:lnTo>
                    <a:pt x="13170" y="491181"/>
                  </a:lnTo>
                  <a:lnTo>
                    <a:pt x="18901" y="492278"/>
                  </a:lnTo>
                  <a:lnTo>
                    <a:pt x="18901" y="502278"/>
                  </a:lnTo>
                  <a:lnTo>
                    <a:pt x="25242" y="502278"/>
                  </a:lnTo>
                  <a:lnTo>
                    <a:pt x="29266" y="498375"/>
                  </a:lnTo>
                  <a:lnTo>
                    <a:pt x="39265" y="500083"/>
                  </a:lnTo>
                  <a:lnTo>
                    <a:pt x="31583" y="511057"/>
                  </a:lnTo>
                  <a:lnTo>
                    <a:pt x="36460" y="518740"/>
                  </a:lnTo>
                  <a:lnTo>
                    <a:pt x="47923" y="513862"/>
                  </a:lnTo>
                  <a:lnTo>
                    <a:pt x="59142" y="507277"/>
                  </a:lnTo>
                  <a:lnTo>
                    <a:pt x="67312" y="502887"/>
                  </a:lnTo>
                  <a:lnTo>
                    <a:pt x="79872" y="484840"/>
                  </a:lnTo>
                  <a:lnTo>
                    <a:pt x="79872" y="478865"/>
                  </a:lnTo>
                  <a:lnTo>
                    <a:pt x="93042" y="468866"/>
                  </a:lnTo>
                  <a:lnTo>
                    <a:pt x="91334" y="475572"/>
                  </a:lnTo>
                  <a:lnTo>
                    <a:pt x="97187" y="474963"/>
                  </a:lnTo>
                  <a:lnTo>
                    <a:pt x="104382" y="468500"/>
                  </a:lnTo>
                  <a:lnTo>
                    <a:pt x="104382" y="457159"/>
                  </a:lnTo>
                  <a:lnTo>
                    <a:pt x="112064" y="450818"/>
                  </a:lnTo>
                  <a:lnTo>
                    <a:pt x="119381" y="455208"/>
                  </a:lnTo>
                  <a:lnTo>
                    <a:pt x="116454" y="466915"/>
                  </a:lnTo>
                  <a:lnTo>
                    <a:pt x="126575" y="476060"/>
                  </a:lnTo>
                  <a:lnTo>
                    <a:pt x="126575" y="489961"/>
                  </a:lnTo>
                  <a:lnTo>
                    <a:pt x="127307" y="491913"/>
                  </a:lnTo>
                  <a:lnTo>
                    <a:pt x="129990" y="483377"/>
                  </a:lnTo>
                  <a:lnTo>
                    <a:pt x="131453" y="473743"/>
                  </a:lnTo>
                  <a:lnTo>
                    <a:pt x="135599" y="436063"/>
                  </a:lnTo>
                  <a:lnTo>
                    <a:pt x="135843" y="434234"/>
                  </a:lnTo>
                  <a:lnTo>
                    <a:pt x="137062" y="432893"/>
                  </a:lnTo>
                  <a:lnTo>
                    <a:pt x="143038" y="425576"/>
                  </a:lnTo>
                  <a:lnTo>
                    <a:pt x="144013" y="421308"/>
                  </a:lnTo>
                  <a:lnTo>
                    <a:pt x="145355" y="415577"/>
                  </a:lnTo>
                  <a:lnTo>
                    <a:pt x="140721" y="409480"/>
                  </a:lnTo>
                  <a:lnTo>
                    <a:pt x="138404" y="406431"/>
                  </a:lnTo>
                  <a:lnTo>
                    <a:pt x="136819" y="404237"/>
                  </a:lnTo>
                  <a:lnTo>
                    <a:pt x="137306" y="401554"/>
                  </a:lnTo>
                  <a:lnTo>
                    <a:pt x="138404" y="396554"/>
                  </a:lnTo>
                  <a:lnTo>
                    <a:pt x="139013" y="393262"/>
                  </a:lnTo>
                  <a:lnTo>
                    <a:pt x="142184" y="392042"/>
                  </a:lnTo>
                  <a:lnTo>
                    <a:pt x="144745" y="391067"/>
                  </a:lnTo>
                  <a:lnTo>
                    <a:pt x="149866" y="389238"/>
                  </a:lnTo>
                  <a:lnTo>
                    <a:pt x="149866" y="376312"/>
                  </a:lnTo>
                  <a:lnTo>
                    <a:pt x="142550" y="366557"/>
                  </a:lnTo>
                  <a:lnTo>
                    <a:pt x="141452" y="365093"/>
                  </a:lnTo>
                  <a:lnTo>
                    <a:pt x="141330" y="363386"/>
                  </a:lnTo>
                  <a:lnTo>
                    <a:pt x="137062" y="314000"/>
                  </a:lnTo>
                  <a:lnTo>
                    <a:pt x="137062" y="278393"/>
                  </a:lnTo>
                  <a:lnTo>
                    <a:pt x="138892" y="276564"/>
                  </a:lnTo>
                  <a:lnTo>
                    <a:pt x="148891" y="266564"/>
                  </a:lnTo>
                  <a:lnTo>
                    <a:pt x="150964" y="264369"/>
                  </a:lnTo>
                  <a:lnTo>
                    <a:pt x="154012" y="264857"/>
                  </a:lnTo>
                  <a:lnTo>
                    <a:pt x="170840" y="267296"/>
                  </a:lnTo>
                  <a:lnTo>
                    <a:pt x="178523" y="259614"/>
                  </a:lnTo>
                  <a:lnTo>
                    <a:pt x="169743" y="246444"/>
                  </a:lnTo>
                  <a:lnTo>
                    <a:pt x="167548" y="243152"/>
                  </a:lnTo>
                  <a:lnTo>
                    <a:pt x="169621" y="239859"/>
                  </a:lnTo>
                  <a:lnTo>
                    <a:pt x="181205" y="221934"/>
                  </a:lnTo>
                  <a:lnTo>
                    <a:pt x="185229" y="185595"/>
                  </a:lnTo>
                  <a:lnTo>
                    <a:pt x="180473" y="174864"/>
                  </a:lnTo>
                  <a:lnTo>
                    <a:pt x="179132" y="171938"/>
                  </a:lnTo>
                  <a:lnTo>
                    <a:pt x="180839" y="169255"/>
                  </a:lnTo>
                  <a:lnTo>
                    <a:pt x="182669" y="166206"/>
                  </a:lnTo>
                  <a:lnTo>
                    <a:pt x="186936" y="159378"/>
                  </a:lnTo>
                  <a:lnTo>
                    <a:pt x="188034" y="157671"/>
                  </a:lnTo>
                  <a:lnTo>
                    <a:pt x="189985" y="156939"/>
                  </a:lnTo>
                  <a:lnTo>
                    <a:pt x="196936" y="154378"/>
                  </a:lnTo>
                  <a:lnTo>
                    <a:pt x="199862" y="153281"/>
                  </a:lnTo>
                  <a:lnTo>
                    <a:pt x="202545" y="150598"/>
                  </a:lnTo>
                  <a:lnTo>
                    <a:pt x="221080" y="132551"/>
                  </a:lnTo>
                  <a:lnTo>
                    <a:pt x="221812" y="127917"/>
                  </a:lnTo>
                  <a:lnTo>
                    <a:pt x="219739" y="126697"/>
                  </a:lnTo>
                  <a:lnTo>
                    <a:pt x="211935" y="122064"/>
                  </a:lnTo>
                  <a:lnTo>
                    <a:pt x="219129" y="116698"/>
                  </a:lnTo>
                  <a:lnTo>
                    <a:pt x="231689" y="107065"/>
                  </a:lnTo>
                  <a:lnTo>
                    <a:pt x="232786" y="105358"/>
                  </a:lnTo>
                  <a:lnTo>
                    <a:pt x="236567" y="99139"/>
                  </a:lnTo>
                  <a:lnTo>
                    <a:pt x="237786" y="97066"/>
                  </a:lnTo>
                  <a:lnTo>
                    <a:pt x="239981" y="96456"/>
                  </a:lnTo>
                  <a:lnTo>
                    <a:pt x="254370" y="92066"/>
                  </a:lnTo>
                  <a:lnTo>
                    <a:pt x="257419" y="83408"/>
                  </a:lnTo>
                  <a:lnTo>
                    <a:pt x="258760" y="79628"/>
                  </a:lnTo>
                  <a:lnTo>
                    <a:pt x="262662" y="79384"/>
                  </a:lnTo>
                  <a:lnTo>
                    <a:pt x="269003" y="78896"/>
                  </a:lnTo>
                  <a:lnTo>
                    <a:pt x="272418" y="78652"/>
                  </a:lnTo>
                  <a:lnTo>
                    <a:pt x="273271" y="78530"/>
                  </a:lnTo>
                  <a:lnTo>
                    <a:pt x="274125" y="78774"/>
                  </a:lnTo>
                  <a:lnTo>
                    <a:pt x="284368" y="81091"/>
                  </a:lnTo>
                  <a:lnTo>
                    <a:pt x="292416" y="79262"/>
                  </a:lnTo>
                  <a:lnTo>
                    <a:pt x="295708" y="66824"/>
                  </a:lnTo>
                  <a:lnTo>
                    <a:pt x="296806" y="62678"/>
                  </a:lnTo>
                  <a:lnTo>
                    <a:pt x="301074" y="62312"/>
                  </a:lnTo>
                  <a:lnTo>
                    <a:pt x="307903" y="61702"/>
                  </a:lnTo>
                  <a:lnTo>
                    <a:pt x="308634" y="61702"/>
                  </a:lnTo>
                  <a:lnTo>
                    <a:pt x="309366" y="61215"/>
                  </a:lnTo>
                  <a:lnTo>
                    <a:pt x="317170" y="56581"/>
                  </a:lnTo>
                  <a:lnTo>
                    <a:pt x="318756" y="55605"/>
                  </a:lnTo>
                  <a:lnTo>
                    <a:pt x="320706" y="55727"/>
                  </a:lnTo>
                  <a:lnTo>
                    <a:pt x="330706" y="56459"/>
                  </a:lnTo>
                  <a:lnTo>
                    <a:pt x="332779" y="56581"/>
                  </a:lnTo>
                  <a:lnTo>
                    <a:pt x="334242" y="57922"/>
                  </a:lnTo>
                  <a:lnTo>
                    <a:pt x="351314" y="72921"/>
                  </a:lnTo>
                  <a:lnTo>
                    <a:pt x="356191" y="73775"/>
                  </a:lnTo>
                  <a:lnTo>
                    <a:pt x="363264" y="74994"/>
                  </a:lnTo>
                  <a:lnTo>
                    <a:pt x="369727" y="72068"/>
                  </a:lnTo>
                  <a:lnTo>
                    <a:pt x="374361" y="69873"/>
                  </a:lnTo>
                  <a:lnTo>
                    <a:pt x="375702" y="69263"/>
                  </a:lnTo>
                  <a:lnTo>
                    <a:pt x="388994" y="69263"/>
                  </a:lnTo>
                  <a:lnTo>
                    <a:pt x="390457" y="70116"/>
                  </a:lnTo>
                  <a:lnTo>
                    <a:pt x="397530" y="74384"/>
                  </a:lnTo>
                  <a:lnTo>
                    <a:pt x="400700" y="74384"/>
                  </a:lnTo>
                  <a:lnTo>
                    <a:pt x="412407" y="65239"/>
                  </a:lnTo>
                  <a:lnTo>
                    <a:pt x="413626" y="45362"/>
                  </a:lnTo>
                  <a:lnTo>
                    <a:pt x="413870" y="41704"/>
                  </a:lnTo>
                  <a:lnTo>
                    <a:pt x="417162" y="40119"/>
                  </a:lnTo>
                  <a:lnTo>
                    <a:pt x="433990" y="32315"/>
                  </a:lnTo>
                  <a:lnTo>
                    <a:pt x="435088" y="31827"/>
                  </a:lnTo>
                  <a:lnTo>
                    <a:pt x="436307" y="31827"/>
                  </a:lnTo>
                  <a:lnTo>
                    <a:pt x="449355" y="31217"/>
                  </a:lnTo>
                  <a:lnTo>
                    <a:pt x="452403" y="30973"/>
                  </a:lnTo>
                  <a:lnTo>
                    <a:pt x="453989" y="30973"/>
                  </a:lnTo>
                  <a:lnTo>
                    <a:pt x="455452" y="31705"/>
                  </a:lnTo>
                  <a:lnTo>
                    <a:pt x="458744" y="33412"/>
                  </a:lnTo>
                  <a:lnTo>
                    <a:pt x="472280" y="40241"/>
                  </a:lnTo>
                  <a:lnTo>
                    <a:pt x="475329" y="41826"/>
                  </a:lnTo>
                  <a:lnTo>
                    <a:pt x="475572" y="45240"/>
                  </a:lnTo>
                  <a:lnTo>
                    <a:pt x="476548" y="57556"/>
                  </a:lnTo>
                  <a:lnTo>
                    <a:pt x="479596" y="55971"/>
                  </a:lnTo>
                  <a:lnTo>
                    <a:pt x="480206" y="54264"/>
                  </a:lnTo>
                  <a:lnTo>
                    <a:pt x="481060" y="51459"/>
                  </a:lnTo>
                  <a:lnTo>
                    <a:pt x="483864" y="50484"/>
                  </a:lnTo>
                  <a:lnTo>
                    <a:pt x="497400" y="45240"/>
                  </a:lnTo>
                  <a:lnTo>
                    <a:pt x="502887" y="43289"/>
                  </a:lnTo>
                  <a:lnTo>
                    <a:pt x="502765" y="43167"/>
                  </a:lnTo>
                  <a:lnTo>
                    <a:pt x="491425" y="47435"/>
                  </a:lnTo>
                  <a:lnTo>
                    <a:pt x="483620" y="44996"/>
                  </a:lnTo>
                  <a:lnTo>
                    <a:pt x="483620" y="40607"/>
                  </a:lnTo>
                  <a:lnTo>
                    <a:pt x="465939" y="33534"/>
                  </a:lnTo>
                  <a:lnTo>
                    <a:pt x="468866" y="26705"/>
                  </a:lnTo>
                  <a:lnTo>
                    <a:pt x="490815" y="30242"/>
                  </a:lnTo>
                  <a:lnTo>
                    <a:pt x="501668" y="22437"/>
                  </a:lnTo>
                  <a:lnTo>
                    <a:pt x="476913" y="8292"/>
                  </a:lnTo>
                  <a:lnTo>
                    <a:pt x="469719" y="9633"/>
                  </a:lnTo>
                  <a:lnTo>
                    <a:pt x="461915" y="17194"/>
                  </a:lnTo>
                  <a:lnTo>
                    <a:pt x="450452" y="10243"/>
                  </a:lnTo>
                  <a:lnTo>
                    <a:pt x="459110" y="5000"/>
                  </a:lnTo>
                  <a:lnTo>
                    <a:pt x="453745" y="1341"/>
                  </a:lnTo>
                  <a:lnTo>
                    <a:pt x="439234" y="0"/>
                  </a:lnTo>
                  <a:lnTo>
                    <a:pt x="441307" y="5487"/>
                  </a:lnTo>
                  <a:lnTo>
                    <a:pt x="432161" y="17560"/>
                  </a:lnTo>
                  <a:lnTo>
                    <a:pt x="424601" y="11462"/>
                  </a:lnTo>
                  <a:lnTo>
                    <a:pt x="427284" y="8170"/>
                  </a:lnTo>
                  <a:lnTo>
                    <a:pt x="423015" y="8170"/>
                  </a:lnTo>
                  <a:lnTo>
                    <a:pt x="412041" y="25486"/>
                  </a:lnTo>
                  <a:lnTo>
                    <a:pt x="391798" y="35485"/>
                  </a:lnTo>
                  <a:lnTo>
                    <a:pt x="395822" y="19511"/>
                  </a:lnTo>
                  <a:lnTo>
                    <a:pt x="403749" y="10975"/>
                  </a:lnTo>
                  <a:lnTo>
                    <a:pt x="410333" y="7073"/>
                  </a:lnTo>
                  <a:lnTo>
                    <a:pt x="409358" y="5487"/>
                  </a:lnTo>
                  <a:lnTo>
                    <a:pt x="405822" y="5365"/>
                  </a:lnTo>
                  <a:lnTo>
                    <a:pt x="405456" y="5365"/>
                  </a:lnTo>
                  <a:lnTo>
                    <a:pt x="405334" y="5365"/>
                  </a:lnTo>
                  <a:lnTo>
                    <a:pt x="394969" y="4756"/>
                  </a:lnTo>
                  <a:lnTo>
                    <a:pt x="390457" y="5243"/>
                  </a:lnTo>
                  <a:lnTo>
                    <a:pt x="389238" y="7316"/>
                  </a:lnTo>
                  <a:lnTo>
                    <a:pt x="395822" y="13292"/>
                  </a:lnTo>
                  <a:lnTo>
                    <a:pt x="387896" y="17316"/>
                  </a:lnTo>
                  <a:lnTo>
                    <a:pt x="383872" y="22681"/>
                  </a:lnTo>
                  <a:lnTo>
                    <a:pt x="374117" y="24510"/>
                  </a:lnTo>
                  <a:lnTo>
                    <a:pt x="368264" y="29266"/>
                  </a:lnTo>
                  <a:lnTo>
                    <a:pt x="372654" y="38534"/>
                  </a:lnTo>
                  <a:lnTo>
                    <a:pt x="354119" y="39997"/>
                  </a:lnTo>
                  <a:lnTo>
                    <a:pt x="350826" y="34753"/>
                  </a:lnTo>
                  <a:lnTo>
                    <a:pt x="341193" y="27925"/>
                  </a:lnTo>
                  <a:lnTo>
                    <a:pt x="331681" y="26339"/>
                  </a:lnTo>
                  <a:lnTo>
                    <a:pt x="325584" y="28169"/>
                  </a:lnTo>
                  <a:lnTo>
                    <a:pt x="324974" y="29388"/>
                  </a:lnTo>
                  <a:lnTo>
                    <a:pt x="341924" y="36704"/>
                  </a:lnTo>
                  <a:lnTo>
                    <a:pt x="338632" y="44631"/>
                  </a:lnTo>
                  <a:lnTo>
                    <a:pt x="329730" y="43777"/>
                  </a:lnTo>
                  <a:lnTo>
                    <a:pt x="326925" y="41094"/>
                  </a:lnTo>
                  <a:lnTo>
                    <a:pt x="317292" y="41582"/>
                  </a:lnTo>
                  <a:lnTo>
                    <a:pt x="312902" y="44996"/>
                  </a:lnTo>
                  <a:lnTo>
                    <a:pt x="312902" y="53410"/>
                  </a:lnTo>
                  <a:lnTo>
                    <a:pt x="307049" y="59020"/>
                  </a:lnTo>
                  <a:lnTo>
                    <a:pt x="297782" y="60605"/>
                  </a:lnTo>
                  <a:lnTo>
                    <a:pt x="296318" y="53045"/>
                  </a:lnTo>
                  <a:lnTo>
                    <a:pt x="298513" y="44753"/>
                  </a:lnTo>
                  <a:lnTo>
                    <a:pt x="300830" y="41582"/>
                  </a:lnTo>
                  <a:lnTo>
                    <a:pt x="298757" y="40729"/>
                  </a:lnTo>
                  <a:lnTo>
                    <a:pt x="295465" y="43167"/>
                  </a:lnTo>
                  <a:lnTo>
                    <a:pt x="289123" y="55971"/>
                  </a:lnTo>
                  <a:lnTo>
                    <a:pt x="284977" y="48411"/>
                  </a:lnTo>
                  <a:lnTo>
                    <a:pt x="280832" y="48411"/>
                  </a:lnTo>
                  <a:lnTo>
                    <a:pt x="279490" y="50850"/>
                  </a:lnTo>
                  <a:lnTo>
                    <a:pt x="288758" y="57678"/>
                  </a:lnTo>
                  <a:lnTo>
                    <a:pt x="279612" y="60971"/>
                  </a:lnTo>
                  <a:lnTo>
                    <a:pt x="273637" y="58776"/>
                  </a:lnTo>
                  <a:lnTo>
                    <a:pt x="273027" y="62678"/>
                  </a:lnTo>
                  <a:lnTo>
                    <a:pt x="275710" y="62068"/>
                  </a:lnTo>
                  <a:lnTo>
                    <a:pt x="270711" y="64385"/>
                  </a:lnTo>
                  <a:lnTo>
                    <a:pt x="264857" y="68531"/>
                  </a:lnTo>
                  <a:lnTo>
                    <a:pt x="264857" y="68531"/>
                  </a:lnTo>
                  <a:lnTo>
                    <a:pt x="264126" y="67556"/>
                  </a:lnTo>
                  <a:lnTo>
                    <a:pt x="250102" y="74019"/>
                  </a:lnTo>
                  <a:lnTo>
                    <a:pt x="250712" y="77189"/>
                  </a:lnTo>
                  <a:lnTo>
                    <a:pt x="242420" y="83652"/>
                  </a:lnTo>
                  <a:lnTo>
                    <a:pt x="231201" y="83042"/>
                  </a:lnTo>
                  <a:lnTo>
                    <a:pt x="227543" y="86457"/>
                  </a:lnTo>
                  <a:lnTo>
                    <a:pt x="233152" y="86091"/>
                  </a:lnTo>
                  <a:lnTo>
                    <a:pt x="243517" y="85359"/>
                  </a:lnTo>
                  <a:lnTo>
                    <a:pt x="243517" y="85359"/>
                  </a:lnTo>
                  <a:lnTo>
                    <a:pt x="241566" y="94383"/>
                  </a:lnTo>
                  <a:lnTo>
                    <a:pt x="227055" y="94383"/>
                  </a:lnTo>
                  <a:lnTo>
                    <a:pt x="227909" y="104016"/>
                  </a:lnTo>
                  <a:lnTo>
                    <a:pt x="218520" y="106455"/>
                  </a:lnTo>
                  <a:lnTo>
                    <a:pt x="218520" y="106455"/>
                  </a:lnTo>
                  <a:lnTo>
                    <a:pt x="213398" y="101821"/>
                  </a:lnTo>
                  <a:lnTo>
                    <a:pt x="202179" y="112064"/>
                  </a:lnTo>
                  <a:lnTo>
                    <a:pt x="213642" y="111577"/>
                  </a:lnTo>
                  <a:lnTo>
                    <a:pt x="213642" y="111577"/>
                  </a:lnTo>
                  <a:lnTo>
                    <a:pt x="210106" y="120966"/>
                  </a:lnTo>
                  <a:lnTo>
                    <a:pt x="200472" y="120966"/>
                  </a:lnTo>
                  <a:lnTo>
                    <a:pt x="196936" y="121942"/>
                  </a:lnTo>
                  <a:lnTo>
                    <a:pt x="207057" y="123161"/>
                  </a:lnTo>
                  <a:lnTo>
                    <a:pt x="194131" y="131819"/>
                  </a:lnTo>
                  <a:lnTo>
                    <a:pt x="194131" y="131819"/>
                  </a:lnTo>
                  <a:lnTo>
                    <a:pt x="186449" y="131209"/>
                  </a:lnTo>
                  <a:lnTo>
                    <a:pt x="176815" y="136453"/>
                  </a:lnTo>
                  <a:lnTo>
                    <a:pt x="164499" y="148891"/>
                  </a:lnTo>
                  <a:lnTo>
                    <a:pt x="159744" y="151330"/>
                  </a:lnTo>
                  <a:lnTo>
                    <a:pt x="159744" y="157671"/>
                  </a:lnTo>
                  <a:lnTo>
                    <a:pt x="168401" y="155354"/>
                  </a:lnTo>
                  <a:lnTo>
                    <a:pt x="177059" y="161085"/>
                  </a:lnTo>
                  <a:lnTo>
                    <a:pt x="168036" y="170109"/>
                  </a:lnTo>
                  <a:lnTo>
                    <a:pt x="155841" y="170962"/>
                  </a:lnTo>
                  <a:lnTo>
                    <a:pt x="154866" y="182791"/>
                  </a:lnTo>
                  <a:lnTo>
                    <a:pt x="150110" y="199253"/>
                  </a:lnTo>
                  <a:lnTo>
                    <a:pt x="144623" y="206447"/>
                  </a:lnTo>
                  <a:lnTo>
                    <a:pt x="144623" y="207789"/>
                  </a:lnTo>
                  <a:lnTo>
                    <a:pt x="154866" y="205228"/>
                  </a:lnTo>
                  <a:lnTo>
                    <a:pt x="145598" y="219007"/>
                  </a:lnTo>
                  <a:lnTo>
                    <a:pt x="136087" y="220958"/>
                  </a:lnTo>
                  <a:lnTo>
                    <a:pt x="119991" y="240591"/>
                  </a:lnTo>
                  <a:lnTo>
                    <a:pt x="119991" y="249249"/>
                  </a:lnTo>
                  <a:lnTo>
                    <a:pt x="92432" y="274003"/>
                  </a:lnTo>
                  <a:lnTo>
                    <a:pt x="88651" y="290099"/>
                  </a:lnTo>
                  <a:lnTo>
                    <a:pt x="83774" y="294977"/>
                  </a:lnTo>
                  <a:lnTo>
                    <a:pt x="80237" y="301806"/>
                  </a:lnTo>
                  <a:lnTo>
                    <a:pt x="71945" y="299733"/>
                  </a:lnTo>
                  <a:lnTo>
                    <a:pt x="61093" y="306439"/>
                  </a:lnTo>
                  <a:lnTo>
                    <a:pt x="58898" y="312780"/>
                  </a:lnTo>
                  <a:lnTo>
                    <a:pt x="49630" y="312780"/>
                  </a:lnTo>
                  <a:lnTo>
                    <a:pt x="41582" y="319243"/>
                  </a:lnTo>
                  <a:lnTo>
                    <a:pt x="41582" y="327657"/>
                  </a:lnTo>
                  <a:lnTo>
                    <a:pt x="33412" y="328755"/>
                  </a:lnTo>
                  <a:lnTo>
                    <a:pt x="32680" y="331072"/>
                  </a:lnTo>
                  <a:lnTo>
                    <a:pt x="37436" y="332657"/>
                  </a:lnTo>
                  <a:lnTo>
                    <a:pt x="39143" y="341071"/>
                  </a:lnTo>
                  <a:lnTo>
                    <a:pt x="20852" y="342046"/>
                  </a:lnTo>
                  <a:lnTo>
                    <a:pt x="14389" y="353143"/>
                  </a:lnTo>
                  <a:lnTo>
                    <a:pt x="6707" y="355094"/>
                  </a:lnTo>
                  <a:lnTo>
                    <a:pt x="3658" y="359728"/>
                  </a:lnTo>
                  <a:lnTo>
                    <a:pt x="2683" y="365459"/>
                  </a:lnTo>
                  <a:lnTo>
                    <a:pt x="0" y="368873"/>
                  </a:lnTo>
                  <a:lnTo>
                    <a:pt x="1829" y="380580"/>
                  </a:lnTo>
                  <a:lnTo>
                    <a:pt x="122" y="39314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172101E8-17E9-45F2-86E9-D4FCC535A509}"/>
                </a:ext>
              </a:extLst>
            </p:cNvPr>
            <p:cNvSpPr/>
            <p:nvPr/>
          </p:nvSpPr>
          <p:spPr>
            <a:xfrm>
              <a:off x="4288485" y="2012428"/>
              <a:ext cx="11218" cy="13047"/>
            </a:xfrm>
            <a:custGeom>
              <a:avLst/>
              <a:gdLst>
                <a:gd name="connsiteX0" fmla="*/ 5122 w 11218"/>
                <a:gd name="connsiteY0" fmla="*/ 10853 h 13047"/>
                <a:gd name="connsiteX1" fmla="*/ 11219 w 11218"/>
                <a:gd name="connsiteY1" fmla="*/ 5365 h 13047"/>
                <a:gd name="connsiteX2" fmla="*/ 10853 w 11218"/>
                <a:gd name="connsiteY2" fmla="*/ 0 h 13047"/>
                <a:gd name="connsiteX3" fmla="*/ 8414 w 11218"/>
                <a:gd name="connsiteY3" fmla="*/ 1463 h 13047"/>
                <a:gd name="connsiteX4" fmla="*/ 0 w 11218"/>
                <a:gd name="connsiteY4" fmla="*/ 10487 h 13047"/>
                <a:gd name="connsiteX5" fmla="*/ 366 w 11218"/>
                <a:gd name="connsiteY5" fmla="*/ 13048 h 13047"/>
                <a:gd name="connsiteX6" fmla="*/ 5122 w 11218"/>
                <a:gd name="connsiteY6" fmla="*/ 10853 h 13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8" h="13047">
                  <a:moveTo>
                    <a:pt x="5122" y="10853"/>
                  </a:moveTo>
                  <a:lnTo>
                    <a:pt x="11219" y="5365"/>
                  </a:lnTo>
                  <a:lnTo>
                    <a:pt x="10853" y="0"/>
                  </a:lnTo>
                  <a:lnTo>
                    <a:pt x="8414" y="1463"/>
                  </a:lnTo>
                  <a:lnTo>
                    <a:pt x="0" y="10487"/>
                  </a:lnTo>
                  <a:lnTo>
                    <a:pt x="366" y="13048"/>
                  </a:lnTo>
                  <a:lnTo>
                    <a:pt x="5122" y="1085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72C69E94-FBD1-452E-8A43-E0FEC6D11551}"/>
                </a:ext>
              </a:extLst>
            </p:cNvPr>
            <p:cNvSpPr/>
            <p:nvPr/>
          </p:nvSpPr>
          <p:spPr>
            <a:xfrm>
              <a:off x="4298728" y="2040597"/>
              <a:ext cx="5243" cy="5487"/>
            </a:xfrm>
            <a:custGeom>
              <a:avLst/>
              <a:gdLst>
                <a:gd name="connsiteX0" fmla="*/ 0 w 5243"/>
                <a:gd name="connsiteY0" fmla="*/ 5487 h 5487"/>
                <a:gd name="connsiteX1" fmla="*/ 3658 w 5243"/>
                <a:gd name="connsiteY1" fmla="*/ 5122 h 5487"/>
                <a:gd name="connsiteX2" fmla="*/ 5243 w 5243"/>
                <a:gd name="connsiteY2" fmla="*/ 0 h 5487"/>
                <a:gd name="connsiteX3" fmla="*/ 2926 w 5243"/>
                <a:gd name="connsiteY3" fmla="*/ 0 h 5487"/>
                <a:gd name="connsiteX4" fmla="*/ 854 w 5243"/>
                <a:gd name="connsiteY4" fmla="*/ 854 h 5487"/>
                <a:gd name="connsiteX5" fmla="*/ 0 w 5243"/>
                <a:gd name="connsiteY5" fmla="*/ 5487 h 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43" h="5487">
                  <a:moveTo>
                    <a:pt x="0" y="5487"/>
                  </a:moveTo>
                  <a:lnTo>
                    <a:pt x="3658" y="5122"/>
                  </a:lnTo>
                  <a:lnTo>
                    <a:pt x="5243" y="0"/>
                  </a:lnTo>
                  <a:lnTo>
                    <a:pt x="2926" y="0"/>
                  </a:lnTo>
                  <a:lnTo>
                    <a:pt x="854" y="854"/>
                  </a:lnTo>
                  <a:lnTo>
                    <a:pt x="0" y="548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056327D7-1BE3-4A5A-9755-1C05A953C1B5}"/>
                </a:ext>
              </a:extLst>
            </p:cNvPr>
            <p:cNvSpPr/>
            <p:nvPr/>
          </p:nvSpPr>
          <p:spPr>
            <a:xfrm>
              <a:off x="4338847" y="2162904"/>
              <a:ext cx="1463" cy="3780"/>
            </a:xfrm>
            <a:custGeom>
              <a:avLst/>
              <a:gdLst>
                <a:gd name="connsiteX0" fmla="*/ 1463 w 1463"/>
                <a:gd name="connsiteY0" fmla="*/ 0 h 3780"/>
                <a:gd name="connsiteX1" fmla="*/ 0 w 1463"/>
                <a:gd name="connsiteY1" fmla="*/ 854 h 3780"/>
                <a:gd name="connsiteX2" fmla="*/ 0 w 1463"/>
                <a:gd name="connsiteY2" fmla="*/ 3780 h 3780"/>
                <a:gd name="connsiteX3" fmla="*/ 0 w 1463"/>
                <a:gd name="connsiteY3" fmla="*/ 3780 h 3780"/>
                <a:gd name="connsiteX4" fmla="*/ 1463 w 1463"/>
                <a:gd name="connsiteY4" fmla="*/ 488 h 3780"/>
                <a:gd name="connsiteX5" fmla="*/ 1463 w 1463"/>
                <a:gd name="connsiteY5" fmla="*/ 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" h="3780">
                  <a:moveTo>
                    <a:pt x="1463" y="0"/>
                  </a:moveTo>
                  <a:lnTo>
                    <a:pt x="0" y="854"/>
                  </a:lnTo>
                  <a:lnTo>
                    <a:pt x="0" y="3780"/>
                  </a:lnTo>
                  <a:lnTo>
                    <a:pt x="0" y="3780"/>
                  </a:lnTo>
                  <a:lnTo>
                    <a:pt x="1463" y="488"/>
                  </a:lnTo>
                  <a:lnTo>
                    <a:pt x="1463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816F7F37-0554-4563-9239-AECD028D5365}"/>
                </a:ext>
              </a:extLst>
            </p:cNvPr>
            <p:cNvSpPr/>
            <p:nvPr/>
          </p:nvSpPr>
          <p:spPr>
            <a:xfrm>
              <a:off x="4302631" y="2106567"/>
              <a:ext cx="1706" cy="3902"/>
            </a:xfrm>
            <a:custGeom>
              <a:avLst/>
              <a:gdLst>
                <a:gd name="connsiteX0" fmla="*/ 0 w 1706"/>
                <a:gd name="connsiteY0" fmla="*/ 3902 h 3902"/>
                <a:gd name="connsiteX1" fmla="*/ 1097 w 1706"/>
                <a:gd name="connsiteY1" fmla="*/ 3780 h 3902"/>
                <a:gd name="connsiteX2" fmla="*/ 1707 w 1706"/>
                <a:gd name="connsiteY2" fmla="*/ 0 h 3902"/>
                <a:gd name="connsiteX3" fmla="*/ 975 w 1706"/>
                <a:gd name="connsiteY3" fmla="*/ 0 h 3902"/>
                <a:gd name="connsiteX4" fmla="*/ 0 w 1706"/>
                <a:gd name="connsiteY4" fmla="*/ 3902 h 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6" h="3902">
                  <a:moveTo>
                    <a:pt x="0" y="3902"/>
                  </a:moveTo>
                  <a:lnTo>
                    <a:pt x="1097" y="3780"/>
                  </a:lnTo>
                  <a:lnTo>
                    <a:pt x="1707" y="0"/>
                  </a:lnTo>
                  <a:lnTo>
                    <a:pt x="975" y="0"/>
                  </a:lnTo>
                  <a:lnTo>
                    <a:pt x="0" y="390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3EC3B691-2B2C-458E-8718-A558779F489B}"/>
                </a:ext>
              </a:extLst>
            </p:cNvPr>
            <p:cNvSpPr/>
            <p:nvPr/>
          </p:nvSpPr>
          <p:spPr>
            <a:xfrm>
              <a:off x="4268975" y="2126444"/>
              <a:ext cx="47191" cy="37436"/>
            </a:xfrm>
            <a:custGeom>
              <a:avLst/>
              <a:gdLst>
                <a:gd name="connsiteX0" fmla="*/ 0 w 47191"/>
                <a:gd name="connsiteY0" fmla="*/ 27925 h 37436"/>
                <a:gd name="connsiteX1" fmla="*/ 6463 w 47191"/>
                <a:gd name="connsiteY1" fmla="*/ 33412 h 37436"/>
                <a:gd name="connsiteX2" fmla="*/ 8414 w 47191"/>
                <a:gd name="connsiteY2" fmla="*/ 32314 h 37436"/>
                <a:gd name="connsiteX3" fmla="*/ 12560 w 47191"/>
                <a:gd name="connsiteY3" fmla="*/ 30241 h 37436"/>
                <a:gd name="connsiteX4" fmla="*/ 14877 w 47191"/>
                <a:gd name="connsiteY4" fmla="*/ 28900 h 37436"/>
                <a:gd name="connsiteX5" fmla="*/ 17316 w 47191"/>
                <a:gd name="connsiteY5" fmla="*/ 29754 h 37436"/>
                <a:gd name="connsiteX6" fmla="*/ 21340 w 47191"/>
                <a:gd name="connsiteY6" fmla="*/ 31095 h 37436"/>
                <a:gd name="connsiteX7" fmla="*/ 26949 w 47191"/>
                <a:gd name="connsiteY7" fmla="*/ 32924 h 37436"/>
                <a:gd name="connsiteX8" fmla="*/ 27437 w 47191"/>
                <a:gd name="connsiteY8" fmla="*/ 33168 h 37436"/>
                <a:gd name="connsiteX9" fmla="*/ 27925 w 47191"/>
                <a:gd name="connsiteY9" fmla="*/ 33412 h 37436"/>
                <a:gd name="connsiteX10" fmla="*/ 34510 w 47191"/>
                <a:gd name="connsiteY10" fmla="*/ 36948 h 37436"/>
                <a:gd name="connsiteX11" fmla="*/ 35363 w 47191"/>
                <a:gd name="connsiteY11" fmla="*/ 37436 h 37436"/>
                <a:gd name="connsiteX12" fmla="*/ 43289 w 47191"/>
                <a:gd name="connsiteY12" fmla="*/ 32558 h 37436"/>
                <a:gd name="connsiteX13" fmla="*/ 47191 w 47191"/>
                <a:gd name="connsiteY13" fmla="*/ 21706 h 37436"/>
                <a:gd name="connsiteX14" fmla="*/ 42802 w 47191"/>
                <a:gd name="connsiteY14" fmla="*/ 20120 h 37436"/>
                <a:gd name="connsiteX15" fmla="*/ 33778 w 47191"/>
                <a:gd name="connsiteY15" fmla="*/ 4024 h 37436"/>
                <a:gd name="connsiteX16" fmla="*/ 20486 w 47191"/>
                <a:gd name="connsiteY16" fmla="*/ 2683 h 37436"/>
                <a:gd name="connsiteX17" fmla="*/ 18413 w 47191"/>
                <a:gd name="connsiteY17" fmla="*/ 0 h 37436"/>
                <a:gd name="connsiteX18" fmla="*/ 12072 w 47191"/>
                <a:gd name="connsiteY18" fmla="*/ 366 h 37436"/>
                <a:gd name="connsiteX19" fmla="*/ 12072 w 47191"/>
                <a:gd name="connsiteY19" fmla="*/ 14389 h 37436"/>
                <a:gd name="connsiteX20" fmla="*/ 10243 w 47191"/>
                <a:gd name="connsiteY20" fmla="*/ 16218 h 37436"/>
                <a:gd name="connsiteX21" fmla="*/ 0 w 47191"/>
                <a:gd name="connsiteY21" fmla="*/ 25730 h 37436"/>
                <a:gd name="connsiteX22" fmla="*/ 0 w 47191"/>
                <a:gd name="connsiteY22" fmla="*/ 27925 h 37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7191" h="37436">
                  <a:moveTo>
                    <a:pt x="0" y="27925"/>
                  </a:moveTo>
                  <a:lnTo>
                    <a:pt x="6463" y="33412"/>
                  </a:lnTo>
                  <a:lnTo>
                    <a:pt x="8414" y="32314"/>
                  </a:lnTo>
                  <a:lnTo>
                    <a:pt x="12560" y="30241"/>
                  </a:lnTo>
                  <a:lnTo>
                    <a:pt x="14877" y="28900"/>
                  </a:lnTo>
                  <a:lnTo>
                    <a:pt x="17316" y="29754"/>
                  </a:lnTo>
                  <a:lnTo>
                    <a:pt x="21340" y="31095"/>
                  </a:lnTo>
                  <a:lnTo>
                    <a:pt x="26949" y="32924"/>
                  </a:lnTo>
                  <a:lnTo>
                    <a:pt x="27437" y="33168"/>
                  </a:lnTo>
                  <a:lnTo>
                    <a:pt x="27925" y="33412"/>
                  </a:lnTo>
                  <a:lnTo>
                    <a:pt x="34510" y="36948"/>
                  </a:lnTo>
                  <a:lnTo>
                    <a:pt x="35363" y="37436"/>
                  </a:lnTo>
                  <a:lnTo>
                    <a:pt x="43289" y="32558"/>
                  </a:lnTo>
                  <a:lnTo>
                    <a:pt x="47191" y="21706"/>
                  </a:lnTo>
                  <a:lnTo>
                    <a:pt x="42802" y="20120"/>
                  </a:lnTo>
                  <a:lnTo>
                    <a:pt x="33778" y="4024"/>
                  </a:lnTo>
                  <a:lnTo>
                    <a:pt x="20486" y="2683"/>
                  </a:lnTo>
                  <a:lnTo>
                    <a:pt x="18413" y="0"/>
                  </a:lnTo>
                  <a:lnTo>
                    <a:pt x="12072" y="366"/>
                  </a:lnTo>
                  <a:lnTo>
                    <a:pt x="12072" y="14389"/>
                  </a:lnTo>
                  <a:lnTo>
                    <a:pt x="10243" y="16218"/>
                  </a:lnTo>
                  <a:lnTo>
                    <a:pt x="0" y="25730"/>
                  </a:lnTo>
                  <a:lnTo>
                    <a:pt x="0" y="2792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262E78D3-69A6-40C7-A83A-BD381DDB9DB7}"/>
                </a:ext>
              </a:extLst>
            </p:cNvPr>
            <p:cNvSpPr/>
            <p:nvPr/>
          </p:nvSpPr>
          <p:spPr>
            <a:xfrm>
              <a:off x="4876244" y="1529052"/>
              <a:ext cx="1097" cy="487"/>
            </a:xfrm>
            <a:custGeom>
              <a:avLst/>
              <a:gdLst>
                <a:gd name="connsiteX0" fmla="*/ 122 w 1097"/>
                <a:gd name="connsiteY0" fmla="*/ 488 h 487"/>
                <a:gd name="connsiteX1" fmla="*/ 1097 w 1097"/>
                <a:gd name="connsiteY1" fmla="*/ 366 h 487"/>
                <a:gd name="connsiteX2" fmla="*/ 1097 w 1097"/>
                <a:gd name="connsiteY2" fmla="*/ 244 h 487"/>
                <a:gd name="connsiteX3" fmla="*/ 487 w 1097"/>
                <a:gd name="connsiteY3" fmla="*/ 0 h 487"/>
                <a:gd name="connsiteX4" fmla="*/ 0 w 1097"/>
                <a:gd name="connsiteY4" fmla="*/ 366 h 487"/>
                <a:gd name="connsiteX5" fmla="*/ 122 w 1097"/>
                <a:gd name="connsiteY5" fmla="*/ 488 h 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7" h="487">
                  <a:moveTo>
                    <a:pt x="122" y="488"/>
                  </a:moveTo>
                  <a:lnTo>
                    <a:pt x="1097" y="366"/>
                  </a:lnTo>
                  <a:lnTo>
                    <a:pt x="1097" y="244"/>
                  </a:lnTo>
                  <a:lnTo>
                    <a:pt x="487" y="0"/>
                  </a:lnTo>
                  <a:lnTo>
                    <a:pt x="0" y="366"/>
                  </a:lnTo>
                  <a:lnTo>
                    <a:pt x="122" y="48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BD75D60B-6F7A-42AF-9ACE-88FC8F4AE63B}"/>
                </a:ext>
              </a:extLst>
            </p:cNvPr>
            <p:cNvSpPr/>
            <p:nvPr/>
          </p:nvSpPr>
          <p:spPr>
            <a:xfrm>
              <a:off x="4752595" y="2333257"/>
              <a:ext cx="123404" cy="76701"/>
            </a:xfrm>
            <a:custGeom>
              <a:avLst/>
              <a:gdLst>
                <a:gd name="connsiteX0" fmla="*/ 70238 w 123404"/>
                <a:gd name="connsiteY0" fmla="*/ 64507 h 76701"/>
                <a:gd name="connsiteX1" fmla="*/ 71824 w 123404"/>
                <a:gd name="connsiteY1" fmla="*/ 64019 h 76701"/>
                <a:gd name="connsiteX2" fmla="*/ 73531 w 123404"/>
                <a:gd name="connsiteY2" fmla="*/ 64385 h 76701"/>
                <a:gd name="connsiteX3" fmla="*/ 77555 w 123404"/>
                <a:gd name="connsiteY3" fmla="*/ 65483 h 76701"/>
                <a:gd name="connsiteX4" fmla="*/ 79262 w 123404"/>
                <a:gd name="connsiteY4" fmla="*/ 64995 h 76701"/>
                <a:gd name="connsiteX5" fmla="*/ 84262 w 123404"/>
                <a:gd name="connsiteY5" fmla="*/ 63654 h 76701"/>
                <a:gd name="connsiteX6" fmla="*/ 89993 w 123404"/>
                <a:gd name="connsiteY6" fmla="*/ 62068 h 76701"/>
                <a:gd name="connsiteX7" fmla="*/ 94993 w 123404"/>
                <a:gd name="connsiteY7" fmla="*/ 42192 h 76701"/>
                <a:gd name="connsiteX8" fmla="*/ 95236 w 123404"/>
                <a:gd name="connsiteY8" fmla="*/ 40728 h 76701"/>
                <a:gd name="connsiteX9" fmla="*/ 96212 w 123404"/>
                <a:gd name="connsiteY9" fmla="*/ 39753 h 76701"/>
                <a:gd name="connsiteX10" fmla="*/ 111211 w 123404"/>
                <a:gd name="connsiteY10" fmla="*/ 21949 h 76701"/>
                <a:gd name="connsiteX11" fmla="*/ 111821 w 123404"/>
                <a:gd name="connsiteY11" fmla="*/ 21218 h 76701"/>
                <a:gd name="connsiteX12" fmla="*/ 112674 w 123404"/>
                <a:gd name="connsiteY12" fmla="*/ 20730 h 76701"/>
                <a:gd name="connsiteX13" fmla="*/ 120235 w 123404"/>
                <a:gd name="connsiteY13" fmla="*/ 15852 h 76701"/>
                <a:gd name="connsiteX14" fmla="*/ 123405 w 123404"/>
                <a:gd name="connsiteY14" fmla="*/ 13901 h 76701"/>
                <a:gd name="connsiteX15" fmla="*/ 112064 w 123404"/>
                <a:gd name="connsiteY15" fmla="*/ 4390 h 76701"/>
                <a:gd name="connsiteX16" fmla="*/ 107553 w 123404"/>
                <a:gd name="connsiteY16" fmla="*/ 5243 h 76701"/>
                <a:gd name="connsiteX17" fmla="*/ 105358 w 123404"/>
                <a:gd name="connsiteY17" fmla="*/ 5731 h 76701"/>
                <a:gd name="connsiteX18" fmla="*/ 103407 w 123404"/>
                <a:gd name="connsiteY18" fmla="*/ 4634 h 76701"/>
                <a:gd name="connsiteX19" fmla="*/ 100236 w 123404"/>
                <a:gd name="connsiteY19" fmla="*/ 2805 h 76701"/>
                <a:gd name="connsiteX20" fmla="*/ 95236 w 123404"/>
                <a:gd name="connsiteY20" fmla="*/ 0 h 76701"/>
                <a:gd name="connsiteX21" fmla="*/ 82676 w 123404"/>
                <a:gd name="connsiteY21" fmla="*/ 1585 h 76701"/>
                <a:gd name="connsiteX22" fmla="*/ 75482 w 123404"/>
                <a:gd name="connsiteY22" fmla="*/ 2439 h 76701"/>
                <a:gd name="connsiteX23" fmla="*/ 67068 w 123404"/>
                <a:gd name="connsiteY23" fmla="*/ 13292 h 76701"/>
                <a:gd name="connsiteX24" fmla="*/ 65727 w 123404"/>
                <a:gd name="connsiteY24" fmla="*/ 14999 h 76701"/>
                <a:gd name="connsiteX25" fmla="*/ 63776 w 123404"/>
                <a:gd name="connsiteY25" fmla="*/ 15487 h 76701"/>
                <a:gd name="connsiteX26" fmla="*/ 58532 w 123404"/>
                <a:gd name="connsiteY26" fmla="*/ 16950 h 76701"/>
                <a:gd name="connsiteX27" fmla="*/ 49142 w 123404"/>
                <a:gd name="connsiteY27" fmla="*/ 19511 h 76701"/>
                <a:gd name="connsiteX28" fmla="*/ 48411 w 123404"/>
                <a:gd name="connsiteY28" fmla="*/ 19633 h 76701"/>
                <a:gd name="connsiteX29" fmla="*/ 28413 w 123404"/>
                <a:gd name="connsiteY29" fmla="*/ 19633 h 76701"/>
                <a:gd name="connsiteX30" fmla="*/ 27193 w 123404"/>
                <a:gd name="connsiteY30" fmla="*/ 19023 h 76701"/>
                <a:gd name="connsiteX31" fmla="*/ 24388 w 123404"/>
                <a:gd name="connsiteY31" fmla="*/ 17682 h 76701"/>
                <a:gd name="connsiteX32" fmla="*/ 22559 w 123404"/>
                <a:gd name="connsiteY32" fmla="*/ 16706 h 76701"/>
                <a:gd name="connsiteX33" fmla="*/ 15609 w 123404"/>
                <a:gd name="connsiteY33" fmla="*/ 15730 h 76701"/>
                <a:gd name="connsiteX34" fmla="*/ 13292 w 123404"/>
                <a:gd name="connsiteY34" fmla="*/ 15365 h 76701"/>
                <a:gd name="connsiteX35" fmla="*/ 11585 w 123404"/>
                <a:gd name="connsiteY35" fmla="*/ 15243 h 76701"/>
                <a:gd name="connsiteX36" fmla="*/ 10853 w 123404"/>
                <a:gd name="connsiteY36" fmla="*/ 15121 h 76701"/>
                <a:gd name="connsiteX37" fmla="*/ 11950 w 123404"/>
                <a:gd name="connsiteY37" fmla="*/ 22193 h 76701"/>
                <a:gd name="connsiteX38" fmla="*/ 12438 w 123404"/>
                <a:gd name="connsiteY38" fmla="*/ 26339 h 76701"/>
                <a:gd name="connsiteX39" fmla="*/ 8902 w 123404"/>
                <a:gd name="connsiteY39" fmla="*/ 28412 h 76701"/>
                <a:gd name="connsiteX40" fmla="*/ 2439 w 123404"/>
                <a:gd name="connsiteY40" fmla="*/ 32071 h 76701"/>
                <a:gd name="connsiteX41" fmla="*/ 3536 w 123404"/>
                <a:gd name="connsiteY41" fmla="*/ 41460 h 76701"/>
                <a:gd name="connsiteX42" fmla="*/ 3780 w 123404"/>
                <a:gd name="connsiteY42" fmla="*/ 43533 h 76701"/>
                <a:gd name="connsiteX43" fmla="*/ 2683 w 123404"/>
                <a:gd name="connsiteY43" fmla="*/ 45240 h 76701"/>
                <a:gd name="connsiteX44" fmla="*/ 0 w 123404"/>
                <a:gd name="connsiteY44" fmla="*/ 49752 h 76701"/>
                <a:gd name="connsiteX45" fmla="*/ 1829 w 123404"/>
                <a:gd name="connsiteY45" fmla="*/ 52801 h 76701"/>
                <a:gd name="connsiteX46" fmla="*/ 2195 w 123404"/>
                <a:gd name="connsiteY46" fmla="*/ 53410 h 76701"/>
                <a:gd name="connsiteX47" fmla="*/ 9755 w 123404"/>
                <a:gd name="connsiteY47" fmla="*/ 55483 h 76701"/>
                <a:gd name="connsiteX48" fmla="*/ 12438 w 123404"/>
                <a:gd name="connsiteY48" fmla="*/ 56337 h 76701"/>
                <a:gd name="connsiteX49" fmla="*/ 13536 w 123404"/>
                <a:gd name="connsiteY49" fmla="*/ 58898 h 76701"/>
                <a:gd name="connsiteX50" fmla="*/ 14755 w 123404"/>
                <a:gd name="connsiteY50" fmla="*/ 61337 h 76701"/>
                <a:gd name="connsiteX51" fmla="*/ 20730 w 123404"/>
                <a:gd name="connsiteY51" fmla="*/ 74384 h 76701"/>
                <a:gd name="connsiteX52" fmla="*/ 24266 w 123404"/>
                <a:gd name="connsiteY52" fmla="*/ 74750 h 76701"/>
                <a:gd name="connsiteX53" fmla="*/ 44143 w 123404"/>
                <a:gd name="connsiteY53" fmla="*/ 76701 h 76701"/>
                <a:gd name="connsiteX54" fmla="*/ 45240 w 123404"/>
                <a:gd name="connsiteY54" fmla="*/ 74262 h 76701"/>
                <a:gd name="connsiteX55" fmla="*/ 46460 w 123404"/>
                <a:gd name="connsiteY55" fmla="*/ 71946 h 76701"/>
                <a:gd name="connsiteX56" fmla="*/ 48899 w 123404"/>
                <a:gd name="connsiteY56" fmla="*/ 71214 h 76701"/>
                <a:gd name="connsiteX57" fmla="*/ 69873 w 123404"/>
                <a:gd name="connsiteY57" fmla="*/ 64629 h 76701"/>
                <a:gd name="connsiteX58" fmla="*/ 70238 w 123404"/>
                <a:gd name="connsiteY58" fmla="*/ 64507 h 76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23404" h="76701">
                  <a:moveTo>
                    <a:pt x="70238" y="64507"/>
                  </a:moveTo>
                  <a:lnTo>
                    <a:pt x="71824" y="64019"/>
                  </a:lnTo>
                  <a:lnTo>
                    <a:pt x="73531" y="64385"/>
                  </a:lnTo>
                  <a:lnTo>
                    <a:pt x="77555" y="65483"/>
                  </a:lnTo>
                  <a:lnTo>
                    <a:pt x="79262" y="64995"/>
                  </a:lnTo>
                  <a:lnTo>
                    <a:pt x="84262" y="63654"/>
                  </a:lnTo>
                  <a:lnTo>
                    <a:pt x="89993" y="62068"/>
                  </a:lnTo>
                  <a:lnTo>
                    <a:pt x="94993" y="42192"/>
                  </a:lnTo>
                  <a:lnTo>
                    <a:pt x="95236" y="40728"/>
                  </a:lnTo>
                  <a:lnTo>
                    <a:pt x="96212" y="39753"/>
                  </a:lnTo>
                  <a:lnTo>
                    <a:pt x="111211" y="21949"/>
                  </a:lnTo>
                  <a:lnTo>
                    <a:pt x="111821" y="21218"/>
                  </a:lnTo>
                  <a:lnTo>
                    <a:pt x="112674" y="20730"/>
                  </a:lnTo>
                  <a:lnTo>
                    <a:pt x="120235" y="15852"/>
                  </a:lnTo>
                  <a:lnTo>
                    <a:pt x="123405" y="13901"/>
                  </a:lnTo>
                  <a:lnTo>
                    <a:pt x="112064" y="4390"/>
                  </a:lnTo>
                  <a:lnTo>
                    <a:pt x="107553" y="5243"/>
                  </a:lnTo>
                  <a:lnTo>
                    <a:pt x="105358" y="5731"/>
                  </a:lnTo>
                  <a:lnTo>
                    <a:pt x="103407" y="4634"/>
                  </a:lnTo>
                  <a:lnTo>
                    <a:pt x="100236" y="2805"/>
                  </a:lnTo>
                  <a:lnTo>
                    <a:pt x="95236" y="0"/>
                  </a:lnTo>
                  <a:lnTo>
                    <a:pt x="82676" y="1585"/>
                  </a:lnTo>
                  <a:lnTo>
                    <a:pt x="75482" y="2439"/>
                  </a:lnTo>
                  <a:lnTo>
                    <a:pt x="67068" y="13292"/>
                  </a:lnTo>
                  <a:lnTo>
                    <a:pt x="65727" y="14999"/>
                  </a:lnTo>
                  <a:lnTo>
                    <a:pt x="63776" y="15487"/>
                  </a:lnTo>
                  <a:lnTo>
                    <a:pt x="58532" y="16950"/>
                  </a:lnTo>
                  <a:lnTo>
                    <a:pt x="49142" y="19511"/>
                  </a:lnTo>
                  <a:lnTo>
                    <a:pt x="48411" y="19633"/>
                  </a:lnTo>
                  <a:lnTo>
                    <a:pt x="28413" y="19633"/>
                  </a:lnTo>
                  <a:lnTo>
                    <a:pt x="27193" y="19023"/>
                  </a:lnTo>
                  <a:lnTo>
                    <a:pt x="24388" y="17682"/>
                  </a:lnTo>
                  <a:lnTo>
                    <a:pt x="22559" y="16706"/>
                  </a:lnTo>
                  <a:lnTo>
                    <a:pt x="15609" y="15730"/>
                  </a:lnTo>
                  <a:lnTo>
                    <a:pt x="13292" y="15365"/>
                  </a:lnTo>
                  <a:lnTo>
                    <a:pt x="11585" y="15243"/>
                  </a:lnTo>
                  <a:lnTo>
                    <a:pt x="10853" y="15121"/>
                  </a:lnTo>
                  <a:lnTo>
                    <a:pt x="11950" y="22193"/>
                  </a:lnTo>
                  <a:lnTo>
                    <a:pt x="12438" y="26339"/>
                  </a:lnTo>
                  <a:lnTo>
                    <a:pt x="8902" y="28412"/>
                  </a:lnTo>
                  <a:lnTo>
                    <a:pt x="2439" y="32071"/>
                  </a:lnTo>
                  <a:lnTo>
                    <a:pt x="3536" y="41460"/>
                  </a:lnTo>
                  <a:lnTo>
                    <a:pt x="3780" y="43533"/>
                  </a:lnTo>
                  <a:lnTo>
                    <a:pt x="2683" y="45240"/>
                  </a:lnTo>
                  <a:lnTo>
                    <a:pt x="0" y="49752"/>
                  </a:lnTo>
                  <a:lnTo>
                    <a:pt x="1829" y="52801"/>
                  </a:lnTo>
                  <a:lnTo>
                    <a:pt x="2195" y="53410"/>
                  </a:lnTo>
                  <a:lnTo>
                    <a:pt x="9755" y="55483"/>
                  </a:lnTo>
                  <a:lnTo>
                    <a:pt x="12438" y="56337"/>
                  </a:lnTo>
                  <a:lnTo>
                    <a:pt x="13536" y="58898"/>
                  </a:lnTo>
                  <a:lnTo>
                    <a:pt x="14755" y="61337"/>
                  </a:lnTo>
                  <a:lnTo>
                    <a:pt x="20730" y="74384"/>
                  </a:lnTo>
                  <a:lnTo>
                    <a:pt x="24266" y="74750"/>
                  </a:lnTo>
                  <a:lnTo>
                    <a:pt x="44143" y="76701"/>
                  </a:lnTo>
                  <a:lnTo>
                    <a:pt x="45240" y="74262"/>
                  </a:lnTo>
                  <a:lnTo>
                    <a:pt x="46460" y="71946"/>
                  </a:lnTo>
                  <a:lnTo>
                    <a:pt x="48899" y="71214"/>
                  </a:lnTo>
                  <a:lnTo>
                    <a:pt x="69873" y="64629"/>
                  </a:lnTo>
                  <a:lnTo>
                    <a:pt x="70238" y="645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7C0578E9-7AED-4A98-AF71-737AB5F3A437}"/>
                </a:ext>
              </a:extLst>
            </p:cNvPr>
            <p:cNvSpPr/>
            <p:nvPr/>
          </p:nvSpPr>
          <p:spPr>
            <a:xfrm>
              <a:off x="4836247" y="2351792"/>
              <a:ext cx="172181" cy="117795"/>
            </a:xfrm>
            <a:custGeom>
              <a:avLst/>
              <a:gdLst>
                <a:gd name="connsiteX0" fmla="*/ 168279 w 172181"/>
                <a:gd name="connsiteY0" fmla="*/ 75726 h 117795"/>
                <a:gd name="connsiteX1" fmla="*/ 164987 w 172181"/>
                <a:gd name="connsiteY1" fmla="*/ 75970 h 117795"/>
                <a:gd name="connsiteX2" fmla="*/ 164865 w 172181"/>
                <a:gd name="connsiteY2" fmla="*/ 77433 h 117795"/>
                <a:gd name="connsiteX3" fmla="*/ 160963 w 172181"/>
                <a:gd name="connsiteY3" fmla="*/ 76335 h 117795"/>
                <a:gd name="connsiteX4" fmla="*/ 156939 w 172181"/>
                <a:gd name="connsiteY4" fmla="*/ 76701 h 117795"/>
                <a:gd name="connsiteX5" fmla="*/ 157060 w 172181"/>
                <a:gd name="connsiteY5" fmla="*/ 75238 h 117795"/>
                <a:gd name="connsiteX6" fmla="*/ 151817 w 172181"/>
                <a:gd name="connsiteY6" fmla="*/ 73775 h 117795"/>
                <a:gd name="connsiteX7" fmla="*/ 147427 w 172181"/>
                <a:gd name="connsiteY7" fmla="*/ 72433 h 117795"/>
                <a:gd name="connsiteX8" fmla="*/ 147427 w 172181"/>
                <a:gd name="connsiteY8" fmla="*/ 58166 h 117795"/>
                <a:gd name="connsiteX9" fmla="*/ 143525 w 172181"/>
                <a:gd name="connsiteY9" fmla="*/ 53410 h 117795"/>
                <a:gd name="connsiteX10" fmla="*/ 141574 w 172181"/>
                <a:gd name="connsiteY10" fmla="*/ 51094 h 117795"/>
                <a:gd name="connsiteX11" fmla="*/ 140720 w 172181"/>
                <a:gd name="connsiteY11" fmla="*/ 50118 h 117795"/>
                <a:gd name="connsiteX12" fmla="*/ 140355 w 172181"/>
                <a:gd name="connsiteY12" fmla="*/ 48777 h 117795"/>
                <a:gd name="connsiteX13" fmla="*/ 132185 w 172181"/>
                <a:gd name="connsiteY13" fmla="*/ 17194 h 117795"/>
                <a:gd name="connsiteX14" fmla="*/ 128282 w 172181"/>
                <a:gd name="connsiteY14" fmla="*/ 11463 h 117795"/>
                <a:gd name="connsiteX15" fmla="*/ 122063 w 172181"/>
                <a:gd name="connsiteY15" fmla="*/ 2073 h 117795"/>
                <a:gd name="connsiteX16" fmla="*/ 115966 w 172181"/>
                <a:gd name="connsiteY16" fmla="*/ 732 h 117795"/>
                <a:gd name="connsiteX17" fmla="*/ 112186 w 172181"/>
                <a:gd name="connsiteY17" fmla="*/ 0 h 117795"/>
                <a:gd name="connsiteX18" fmla="*/ 108406 w 172181"/>
                <a:gd name="connsiteY18" fmla="*/ 1829 h 117795"/>
                <a:gd name="connsiteX19" fmla="*/ 99504 w 172181"/>
                <a:gd name="connsiteY19" fmla="*/ 6341 h 117795"/>
                <a:gd name="connsiteX20" fmla="*/ 98894 w 172181"/>
                <a:gd name="connsiteY20" fmla="*/ 6585 h 117795"/>
                <a:gd name="connsiteX21" fmla="*/ 98163 w 172181"/>
                <a:gd name="connsiteY21" fmla="*/ 6829 h 117795"/>
                <a:gd name="connsiteX22" fmla="*/ 80725 w 172181"/>
                <a:gd name="connsiteY22" fmla="*/ 10853 h 117795"/>
                <a:gd name="connsiteX23" fmla="*/ 78652 w 172181"/>
                <a:gd name="connsiteY23" fmla="*/ 11219 h 117795"/>
                <a:gd name="connsiteX24" fmla="*/ 76701 w 172181"/>
                <a:gd name="connsiteY24" fmla="*/ 10365 h 117795"/>
                <a:gd name="connsiteX25" fmla="*/ 59629 w 172181"/>
                <a:gd name="connsiteY25" fmla="*/ 2439 h 117795"/>
                <a:gd name="connsiteX26" fmla="*/ 49020 w 172181"/>
                <a:gd name="connsiteY26" fmla="*/ 366 h 117795"/>
                <a:gd name="connsiteX27" fmla="*/ 47191 w 172181"/>
                <a:gd name="connsiteY27" fmla="*/ 0 h 117795"/>
                <a:gd name="connsiteX28" fmla="*/ 46094 w 172181"/>
                <a:gd name="connsiteY28" fmla="*/ 610 h 117795"/>
                <a:gd name="connsiteX29" fmla="*/ 41094 w 172181"/>
                <a:gd name="connsiteY29" fmla="*/ 3902 h 117795"/>
                <a:gd name="connsiteX30" fmla="*/ 33778 w 172181"/>
                <a:gd name="connsiteY30" fmla="*/ 8536 h 117795"/>
                <a:gd name="connsiteX31" fmla="*/ 18901 w 172181"/>
                <a:gd name="connsiteY31" fmla="*/ 25974 h 117795"/>
                <a:gd name="connsiteX32" fmla="*/ 13779 w 172181"/>
                <a:gd name="connsiteY32" fmla="*/ 46582 h 117795"/>
                <a:gd name="connsiteX33" fmla="*/ 12926 w 172181"/>
                <a:gd name="connsiteY33" fmla="*/ 49996 h 117795"/>
                <a:gd name="connsiteX34" fmla="*/ 9389 w 172181"/>
                <a:gd name="connsiteY34" fmla="*/ 50972 h 117795"/>
                <a:gd name="connsiteX35" fmla="*/ 3049 w 172181"/>
                <a:gd name="connsiteY35" fmla="*/ 52679 h 117795"/>
                <a:gd name="connsiteX36" fmla="*/ 0 w 172181"/>
                <a:gd name="connsiteY36" fmla="*/ 53532 h 117795"/>
                <a:gd name="connsiteX37" fmla="*/ 244 w 172181"/>
                <a:gd name="connsiteY37" fmla="*/ 53776 h 117795"/>
                <a:gd name="connsiteX38" fmla="*/ 7072 w 172181"/>
                <a:gd name="connsiteY38" fmla="*/ 65605 h 117795"/>
                <a:gd name="connsiteX39" fmla="*/ 7804 w 172181"/>
                <a:gd name="connsiteY39" fmla="*/ 66824 h 117795"/>
                <a:gd name="connsiteX40" fmla="*/ 7926 w 172181"/>
                <a:gd name="connsiteY40" fmla="*/ 68287 h 117795"/>
                <a:gd name="connsiteX41" fmla="*/ 9146 w 172181"/>
                <a:gd name="connsiteY41" fmla="*/ 87310 h 117795"/>
                <a:gd name="connsiteX42" fmla="*/ 32192 w 172181"/>
                <a:gd name="connsiteY42" fmla="*/ 90968 h 117795"/>
                <a:gd name="connsiteX43" fmla="*/ 34266 w 172181"/>
                <a:gd name="connsiteY43" fmla="*/ 91334 h 117795"/>
                <a:gd name="connsiteX44" fmla="*/ 35729 w 172181"/>
                <a:gd name="connsiteY44" fmla="*/ 92920 h 117795"/>
                <a:gd name="connsiteX45" fmla="*/ 42192 w 172181"/>
                <a:gd name="connsiteY45" fmla="*/ 100236 h 117795"/>
                <a:gd name="connsiteX46" fmla="*/ 45606 w 172181"/>
                <a:gd name="connsiteY46" fmla="*/ 104016 h 117795"/>
                <a:gd name="connsiteX47" fmla="*/ 46216 w 172181"/>
                <a:gd name="connsiteY47" fmla="*/ 104748 h 117795"/>
                <a:gd name="connsiteX48" fmla="*/ 47801 w 172181"/>
                <a:gd name="connsiteY48" fmla="*/ 105723 h 117795"/>
                <a:gd name="connsiteX49" fmla="*/ 58044 w 172181"/>
                <a:gd name="connsiteY49" fmla="*/ 112552 h 117795"/>
                <a:gd name="connsiteX50" fmla="*/ 77920 w 172181"/>
                <a:gd name="connsiteY50" fmla="*/ 117796 h 117795"/>
                <a:gd name="connsiteX51" fmla="*/ 97431 w 172181"/>
                <a:gd name="connsiteY51" fmla="*/ 115235 h 117795"/>
                <a:gd name="connsiteX52" fmla="*/ 104748 w 172181"/>
                <a:gd name="connsiteY52" fmla="*/ 109869 h 117795"/>
                <a:gd name="connsiteX53" fmla="*/ 111577 w 172181"/>
                <a:gd name="connsiteY53" fmla="*/ 104870 h 117795"/>
                <a:gd name="connsiteX54" fmla="*/ 113283 w 172181"/>
                <a:gd name="connsiteY54" fmla="*/ 103772 h 117795"/>
                <a:gd name="connsiteX55" fmla="*/ 125234 w 172181"/>
                <a:gd name="connsiteY55" fmla="*/ 103772 h 117795"/>
                <a:gd name="connsiteX56" fmla="*/ 126331 w 172181"/>
                <a:gd name="connsiteY56" fmla="*/ 104260 h 117795"/>
                <a:gd name="connsiteX57" fmla="*/ 128160 w 172181"/>
                <a:gd name="connsiteY57" fmla="*/ 104992 h 117795"/>
                <a:gd name="connsiteX58" fmla="*/ 149866 w 172181"/>
                <a:gd name="connsiteY58" fmla="*/ 113894 h 117795"/>
                <a:gd name="connsiteX59" fmla="*/ 153768 w 172181"/>
                <a:gd name="connsiteY59" fmla="*/ 98651 h 117795"/>
                <a:gd name="connsiteX60" fmla="*/ 172181 w 172181"/>
                <a:gd name="connsiteY60" fmla="*/ 79262 h 117795"/>
                <a:gd name="connsiteX61" fmla="*/ 170840 w 172181"/>
                <a:gd name="connsiteY61" fmla="*/ 75482 h 117795"/>
                <a:gd name="connsiteX62" fmla="*/ 168279 w 172181"/>
                <a:gd name="connsiteY62" fmla="*/ 75726 h 11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72181" h="117795">
                  <a:moveTo>
                    <a:pt x="168279" y="75726"/>
                  </a:moveTo>
                  <a:lnTo>
                    <a:pt x="164987" y="75970"/>
                  </a:lnTo>
                  <a:lnTo>
                    <a:pt x="164865" y="77433"/>
                  </a:lnTo>
                  <a:lnTo>
                    <a:pt x="160963" y="76335"/>
                  </a:lnTo>
                  <a:lnTo>
                    <a:pt x="156939" y="76701"/>
                  </a:lnTo>
                  <a:lnTo>
                    <a:pt x="157060" y="75238"/>
                  </a:lnTo>
                  <a:lnTo>
                    <a:pt x="151817" y="73775"/>
                  </a:lnTo>
                  <a:lnTo>
                    <a:pt x="147427" y="72433"/>
                  </a:lnTo>
                  <a:lnTo>
                    <a:pt x="147427" y="58166"/>
                  </a:lnTo>
                  <a:lnTo>
                    <a:pt x="143525" y="53410"/>
                  </a:lnTo>
                  <a:lnTo>
                    <a:pt x="141574" y="51094"/>
                  </a:lnTo>
                  <a:lnTo>
                    <a:pt x="140720" y="50118"/>
                  </a:lnTo>
                  <a:lnTo>
                    <a:pt x="140355" y="48777"/>
                  </a:lnTo>
                  <a:lnTo>
                    <a:pt x="132185" y="17194"/>
                  </a:lnTo>
                  <a:lnTo>
                    <a:pt x="128282" y="11463"/>
                  </a:lnTo>
                  <a:lnTo>
                    <a:pt x="122063" y="2073"/>
                  </a:lnTo>
                  <a:lnTo>
                    <a:pt x="115966" y="732"/>
                  </a:lnTo>
                  <a:lnTo>
                    <a:pt x="112186" y="0"/>
                  </a:lnTo>
                  <a:lnTo>
                    <a:pt x="108406" y="1829"/>
                  </a:lnTo>
                  <a:lnTo>
                    <a:pt x="99504" y="6341"/>
                  </a:lnTo>
                  <a:lnTo>
                    <a:pt x="98894" y="6585"/>
                  </a:lnTo>
                  <a:lnTo>
                    <a:pt x="98163" y="6829"/>
                  </a:lnTo>
                  <a:lnTo>
                    <a:pt x="80725" y="10853"/>
                  </a:lnTo>
                  <a:lnTo>
                    <a:pt x="78652" y="11219"/>
                  </a:lnTo>
                  <a:lnTo>
                    <a:pt x="76701" y="10365"/>
                  </a:lnTo>
                  <a:lnTo>
                    <a:pt x="59629" y="2439"/>
                  </a:lnTo>
                  <a:lnTo>
                    <a:pt x="49020" y="366"/>
                  </a:lnTo>
                  <a:lnTo>
                    <a:pt x="47191" y="0"/>
                  </a:lnTo>
                  <a:lnTo>
                    <a:pt x="46094" y="610"/>
                  </a:lnTo>
                  <a:lnTo>
                    <a:pt x="41094" y="3902"/>
                  </a:lnTo>
                  <a:lnTo>
                    <a:pt x="33778" y="8536"/>
                  </a:lnTo>
                  <a:lnTo>
                    <a:pt x="18901" y="25974"/>
                  </a:lnTo>
                  <a:lnTo>
                    <a:pt x="13779" y="46582"/>
                  </a:lnTo>
                  <a:lnTo>
                    <a:pt x="12926" y="49996"/>
                  </a:lnTo>
                  <a:lnTo>
                    <a:pt x="9389" y="50972"/>
                  </a:lnTo>
                  <a:lnTo>
                    <a:pt x="3049" y="52679"/>
                  </a:lnTo>
                  <a:lnTo>
                    <a:pt x="0" y="53532"/>
                  </a:lnTo>
                  <a:lnTo>
                    <a:pt x="244" y="53776"/>
                  </a:lnTo>
                  <a:lnTo>
                    <a:pt x="7072" y="65605"/>
                  </a:lnTo>
                  <a:lnTo>
                    <a:pt x="7804" y="66824"/>
                  </a:lnTo>
                  <a:lnTo>
                    <a:pt x="7926" y="68287"/>
                  </a:lnTo>
                  <a:lnTo>
                    <a:pt x="9146" y="87310"/>
                  </a:lnTo>
                  <a:lnTo>
                    <a:pt x="32192" y="90968"/>
                  </a:lnTo>
                  <a:lnTo>
                    <a:pt x="34266" y="91334"/>
                  </a:lnTo>
                  <a:lnTo>
                    <a:pt x="35729" y="92920"/>
                  </a:lnTo>
                  <a:lnTo>
                    <a:pt x="42192" y="100236"/>
                  </a:lnTo>
                  <a:lnTo>
                    <a:pt x="45606" y="104016"/>
                  </a:lnTo>
                  <a:lnTo>
                    <a:pt x="46216" y="104748"/>
                  </a:lnTo>
                  <a:lnTo>
                    <a:pt x="47801" y="105723"/>
                  </a:lnTo>
                  <a:lnTo>
                    <a:pt x="58044" y="112552"/>
                  </a:lnTo>
                  <a:lnTo>
                    <a:pt x="77920" y="117796"/>
                  </a:lnTo>
                  <a:lnTo>
                    <a:pt x="97431" y="115235"/>
                  </a:lnTo>
                  <a:lnTo>
                    <a:pt x="104748" y="109869"/>
                  </a:lnTo>
                  <a:lnTo>
                    <a:pt x="111577" y="104870"/>
                  </a:lnTo>
                  <a:lnTo>
                    <a:pt x="113283" y="103772"/>
                  </a:lnTo>
                  <a:lnTo>
                    <a:pt x="125234" y="103772"/>
                  </a:lnTo>
                  <a:lnTo>
                    <a:pt x="126331" y="104260"/>
                  </a:lnTo>
                  <a:lnTo>
                    <a:pt x="128160" y="104992"/>
                  </a:lnTo>
                  <a:lnTo>
                    <a:pt x="149866" y="113894"/>
                  </a:lnTo>
                  <a:lnTo>
                    <a:pt x="153768" y="98651"/>
                  </a:lnTo>
                  <a:lnTo>
                    <a:pt x="172181" y="79262"/>
                  </a:lnTo>
                  <a:lnTo>
                    <a:pt x="170840" y="75482"/>
                  </a:lnTo>
                  <a:lnTo>
                    <a:pt x="168279" y="757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2203F876-2AC3-464D-A463-D2CC42E22905}"/>
                </a:ext>
              </a:extLst>
            </p:cNvPr>
            <p:cNvSpPr/>
            <p:nvPr/>
          </p:nvSpPr>
          <p:spPr>
            <a:xfrm>
              <a:off x="4699429" y="2387521"/>
              <a:ext cx="47191" cy="26705"/>
            </a:xfrm>
            <a:custGeom>
              <a:avLst/>
              <a:gdLst>
                <a:gd name="connsiteX0" fmla="*/ 32070 w 47191"/>
                <a:gd name="connsiteY0" fmla="*/ 25608 h 26705"/>
                <a:gd name="connsiteX1" fmla="*/ 39021 w 47191"/>
                <a:gd name="connsiteY1" fmla="*/ 13901 h 26705"/>
                <a:gd name="connsiteX2" fmla="*/ 40241 w 47191"/>
                <a:gd name="connsiteY2" fmla="*/ 7195 h 26705"/>
                <a:gd name="connsiteX3" fmla="*/ 40728 w 47191"/>
                <a:gd name="connsiteY3" fmla="*/ 4146 h 26705"/>
                <a:gd name="connsiteX4" fmla="*/ 43411 w 47191"/>
                <a:gd name="connsiteY4" fmla="*/ 2805 h 26705"/>
                <a:gd name="connsiteX5" fmla="*/ 47191 w 47191"/>
                <a:gd name="connsiteY5" fmla="*/ 854 h 26705"/>
                <a:gd name="connsiteX6" fmla="*/ 46581 w 47191"/>
                <a:gd name="connsiteY6" fmla="*/ 0 h 26705"/>
                <a:gd name="connsiteX7" fmla="*/ 41704 w 47191"/>
                <a:gd name="connsiteY7" fmla="*/ 1219 h 26705"/>
                <a:gd name="connsiteX8" fmla="*/ 33412 w 47191"/>
                <a:gd name="connsiteY8" fmla="*/ 3414 h 26705"/>
                <a:gd name="connsiteX9" fmla="*/ 21706 w 47191"/>
                <a:gd name="connsiteY9" fmla="*/ 10365 h 26705"/>
                <a:gd name="connsiteX10" fmla="*/ 13170 w 47191"/>
                <a:gd name="connsiteY10" fmla="*/ 15365 h 26705"/>
                <a:gd name="connsiteX11" fmla="*/ 10609 w 47191"/>
                <a:gd name="connsiteY11" fmla="*/ 16950 h 26705"/>
                <a:gd name="connsiteX12" fmla="*/ 7804 w 47191"/>
                <a:gd name="connsiteY12" fmla="*/ 15730 h 26705"/>
                <a:gd name="connsiteX13" fmla="*/ 0 w 47191"/>
                <a:gd name="connsiteY13" fmla="*/ 12682 h 26705"/>
                <a:gd name="connsiteX14" fmla="*/ 0 w 47191"/>
                <a:gd name="connsiteY14" fmla="*/ 16706 h 26705"/>
                <a:gd name="connsiteX15" fmla="*/ 4390 w 47191"/>
                <a:gd name="connsiteY15" fmla="*/ 22193 h 26705"/>
                <a:gd name="connsiteX16" fmla="*/ 5731 w 47191"/>
                <a:gd name="connsiteY16" fmla="*/ 23779 h 26705"/>
                <a:gd name="connsiteX17" fmla="*/ 5731 w 47191"/>
                <a:gd name="connsiteY17" fmla="*/ 26705 h 26705"/>
                <a:gd name="connsiteX18" fmla="*/ 32070 w 47191"/>
                <a:gd name="connsiteY18" fmla="*/ 25608 h 2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7191" h="26705">
                  <a:moveTo>
                    <a:pt x="32070" y="25608"/>
                  </a:moveTo>
                  <a:lnTo>
                    <a:pt x="39021" y="13901"/>
                  </a:lnTo>
                  <a:lnTo>
                    <a:pt x="40241" y="7195"/>
                  </a:lnTo>
                  <a:lnTo>
                    <a:pt x="40728" y="4146"/>
                  </a:lnTo>
                  <a:lnTo>
                    <a:pt x="43411" y="2805"/>
                  </a:lnTo>
                  <a:lnTo>
                    <a:pt x="47191" y="854"/>
                  </a:lnTo>
                  <a:lnTo>
                    <a:pt x="46581" y="0"/>
                  </a:lnTo>
                  <a:lnTo>
                    <a:pt x="41704" y="1219"/>
                  </a:lnTo>
                  <a:lnTo>
                    <a:pt x="33412" y="3414"/>
                  </a:lnTo>
                  <a:lnTo>
                    <a:pt x="21706" y="10365"/>
                  </a:lnTo>
                  <a:lnTo>
                    <a:pt x="13170" y="15365"/>
                  </a:lnTo>
                  <a:lnTo>
                    <a:pt x="10609" y="16950"/>
                  </a:lnTo>
                  <a:lnTo>
                    <a:pt x="7804" y="15730"/>
                  </a:lnTo>
                  <a:lnTo>
                    <a:pt x="0" y="12682"/>
                  </a:lnTo>
                  <a:lnTo>
                    <a:pt x="0" y="16706"/>
                  </a:lnTo>
                  <a:lnTo>
                    <a:pt x="4390" y="22193"/>
                  </a:lnTo>
                  <a:lnTo>
                    <a:pt x="5731" y="23779"/>
                  </a:lnTo>
                  <a:lnTo>
                    <a:pt x="5731" y="26705"/>
                  </a:lnTo>
                  <a:lnTo>
                    <a:pt x="32070" y="2560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C488DED5-D675-4E84-982B-B0BB44D8CA73}"/>
                </a:ext>
              </a:extLst>
            </p:cNvPr>
            <p:cNvSpPr/>
            <p:nvPr/>
          </p:nvSpPr>
          <p:spPr>
            <a:xfrm>
              <a:off x="4698453" y="2394350"/>
              <a:ext cx="101089" cy="102674"/>
            </a:xfrm>
            <a:custGeom>
              <a:avLst/>
              <a:gdLst>
                <a:gd name="connsiteX0" fmla="*/ 5243 w 101089"/>
                <a:gd name="connsiteY0" fmla="*/ 42436 h 102674"/>
                <a:gd name="connsiteX1" fmla="*/ 15487 w 101089"/>
                <a:gd name="connsiteY1" fmla="*/ 36095 h 102674"/>
                <a:gd name="connsiteX2" fmla="*/ 15487 w 101089"/>
                <a:gd name="connsiteY2" fmla="*/ 36095 h 102674"/>
                <a:gd name="connsiteX3" fmla="*/ 21950 w 101089"/>
                <a:gd name="connsiteY3" fmla="*/ 50240 h 102674"/>
                <a:gd name="connsiteX4" fmla="*/ 28778 w 101089"/>
                <a:gd name="connsiteY4" fmla="*/ 57069 h 102674"/>
                <a:gd name="connsiteX5" fmla="*/ 30730 w 101089"/>
                <a:gd name="connsiteY5" fmla="*/ 67556 h 102674"/>
                <a:gd name="connsiteX6" fmla="*/ 40485 w 101089"/>
                <a:gd name="connsiteY6" fmla="*/ 78165 h 102674"/>
                <a:gd name="connsiteX7" fmla="*/ 55362 w 101089"/>
                <a:gd name="connsiteY7" fmla="*/ 87432 h 102674"/>
                <a:gd name="connsiteX8" fmla="*/ 73897 w 101089"/>
                <a:gd name="connsiteY8" fmla="*/ 97188 h 102674"/>
                <a:gd name="connsiteX9" fmla="*/ 76336 w 101089"/>
                <a:gd name="connsiteY9" fmla="*/ 102675 h 102674"/>
                <a:gd name="connsiteX10" fmla="*/ 75604 w 101089"/>
                <a:gd name="connsiteY10" fmla="*/ 98407 h 102674"/>
                <a:gd name="connsiteX11" fmla="*/ 74507 w 101089"/>
                <a:gd name="connsiteY11" fmla="*/ 97309 h 102674"/>
                <a:gd name="connsiteX12" fmla="*/ 58044 w 101089"/>
                <a:gd name="connsiteY12" fmla="*/ 82189 h 102674"/>
                <a:gd name="connsiteX13" fmla="*/ 45240 w 101089"/>
                <a:gd name="connsiteY13" fmla="*/ 69263 h 102674"/>
                <a:gd name="connsiteX14" fmla="*/ 44265 w 101089"/>
                <a:gd name="connsiteY14" fmla="*/ 68409 h 102674"/>
                <a:gd name="connsiteX15" fmla="*/ 43045 w 101089"/>
                <a:gd name="connsiteY15" fmla="*/ 67190 h 102674"/>
                <a:gd name="connsiteX16" fmla="*/ 42680 w 101089"/>
                <a:gd name="connsiteY16" fmla="*/ 65605 h 102674"/>
                <a:gd name="connsiteX17" fmla="*/ 41460 w 101089"/>
                <a:gd name="connsiteY17" fmla="*/ 60849 h 102674"/>
                <a:gd name="connsiteX18" fmla="*/ 38899 w 101089"/>
                <a:gd name="connsiteY18" fmla="*/ 50484 h 102674"/>
                <a:gd name="connsiteX19" fmla="*/ 37924 w 101089"/>
                <a:gd name="connsiteY19" fmla="*/ 46582 h 102674"/>
                <a:gd name="connsiteX20" fmla="*/ 41094 w 101089"/>
                <a:gd name="connsiteY20" fmla="*/ 44143 h 102674"/>
                <a:gd name="connsiteX21" fmla="*/ 42924 w 101089"/>
                <a:gd name="connsiteY21" fmla="*/ 42802 h 102674"/>
                <a:gd name="connsiteX22" fmla="*/ 44996 w 101089"/>
                <a:gd name="connsiteY22" fmla="*/ 41338 h 102674"/>
                <a:gd name="connsiteX23" fmla="*/ 47191 w 101089"/>
                <a:gd name="connsiteY23" fmla="*/ 39631 h 102674"/>
                <a:gd name="connsiteX24" fmla="*/ 49752 w 101089"/>
                <a:gd name="connsiteY24" fmla="*/ 40241 h 102674"/>
                <a:gd name="connsiteX25" fmla="*/ 52313 w 101089"/>
                <a:gd name="connsiteY25" fmla="*/ 40729 h 102674"/>
                <a:gd name="connsiteX26" fmla="*/ 53898 w 101089"/>
                <a:gd name="connsiteY26" fmla="*/ 35363 h 102674"/>
                <a:gd name="connsiteX27" fmla="*/ 54752 w 101089"/>
                <a:gd name="connsiteY27" fmla="*/ 32437 h 102674"/>
                <a:gd name="connsiteX28" fmla="*/ 57556 w 101089"/>
                <a:gd name="connsiteY28" fmla="*/ 31339 h 102674"/>
                <a:gd name="connsiteX29" fmla="*/ 62678 w 101089"/>
                <a:gd name="connsiteY29" fmla="*/ 29266 h 102674"/>
                <a:gd name="connsiteX30" fmla="*/ 65483 w 101089"/>
                <a:gd name="connsiteY30" fmla="*/ 28169 h 102674"/>
                <a:gd name="connsiteX31" fmla="*/ 68044 w 101089"/>
                <a:gd name="connsiteY31" fmla="*/ 29632 h 102674"/>
                <a:gd name="connsiteX32" fmla="*/ 68775 w 101089"/>
                <a:gd name="connsiteY32" fmla="*/ 30120 h 102674"/>
                <a:gd name="connsiteX33" fmla="*/ 83042 w 101089"/>
                <a:gd name="connsiteY33" fmla="*/ 38412 h 102674"/>
                <a:gd name="connsiteX34" fmla="*/ 101090 w 101089"/>
                <a:gd name="connsiteY34" fmla="*/ 36217 h 102674"/>
                <a:gd name="connsiteX35" fmla="*/ 100114 w 101089"/>
                <a:gd name="connsiteY35" fmla="*/ 32802 h 102674"/>
                <a:gd name="connsiteX36" fmla="*/ 97553 w 101089"/>
                <a:gd name="connsiteY36" fmla="*/ 23535 h 102674"/>
                <a:gd name="connsiteX37" fmla="*/ 77555 w 101089"/>
                <a:gd name="connsiteY37" fmla="*/ 21462 h 102674"/>
                <a:gd name="connsiteX38" fmla="*/ 73043 w 101089"/>
                <a:gd name="connsiteY38" fmla="*/ 21096 h 102674"/>
                <a:gd name="connsiteX39" fmla="*/ 69507 w 101089"/>
                <a:gd name="connsiteY39" fmla="*/ 20730 h 102674"/>
                <a:gd name="connsiteX40" fmla="*/ 68044 w 101089"/>
                <a:gd name="connsiteY40" fmla="*/ 17560 h 102674"/>
                <a:gd name="connsiteX41" fmla="*/ 61581 w 101089"/>
                <a:gd name="connsiteY41" fmla="*/ 3536 h 102674"/>
                <a:gd name="connsiteX42" fmla="*/ 60849 w 101089"/>
                <a:gd name="connsiteY42" fmla="*/ 1829 h 102674"/>
                <a:gd name="connsiteX43" fmla="*/ 54142 w 101089"/>
                <a:gd name="connsiteY43" fmla="*/ 0 h 102674"/>
                <a:gd name="connsiteX44" fmla="*/ 53533 w 101089"/>
                <a:gd name="connsiteY44" fmla="*/ 366 h 102674"/>
                <a:gd name="connsiteX45" fmla="*/ 48899 w 101089"/>
                <a:gd name="connsiteY45" fmla="*/ 2561 h 102674"/>
                <a:gd name="connsiteX46" fmla="*/ 47801 w 101089"/>
                <a:gd name="connsiteY46" fmla="*/ 8780 h 102674"/>
                <a:gd name="connsiteX47" fmla="*/ 47679 w 101089"/>
                <a:gd name="connsiteY47" fmla="*/ 9877 h 102674"/>
                <a:gd name="connsiteX48" fmla="*/ 47070 w 101089"/>
                <a:gd name="connsiteY48" fmla="*/ 10853 h 102674"/>
                <a:gd name="connsiteX49" fmla="*/ 39387 w 101089"/>
                <a:gd name="connsiteY49" fmla="*/ 23779 h 102674"/>
                <a:gd name="connsiteX50" fmla="*/ 37680 w 101089"/>
                <a:gd name="connsiteY50" fmla="*/ 26583 h 102674"/>
                <a:gd name="connsiteX51" fmla="*/ 34388 w 101089"/>
                <a:gd name="connsiteY51" fmla="*/ 26705 h 102674"/>
                <a:gd name="connsiteX52" fmla="*/ 5853 w 101089"/>
                <a:gd name="connsiteY52" fmla="*/ 27925 h 102674"/>
                <a:gd name="connsiteX53" fmla="*/ 5243 w 101089"/>
                <a:gd name="connsiteY53" fmla="*/ 30364 h 102674"/>
                <a:gd name="connsiteX54" fmla="*/ 5000 w 101089"/>
                <a:gd name="connsiteY54" fmla="*/ 31339 h 102674"/>
                <a:gd name="connsiteX55" fmla="*/ 4512 w 101089"/>
                <a:gd name="connsiteY55" fmla="*/ 32193 h 102674"/>
                <a:gd name="connsiteX56" fmla="*/ 3902 w 101089"/>
                <a:gd name="connsiteY56" fmla="*/ 33168 h 102674"/>
                <a:gd name="connsiteX57" fmla="*/ 0 w 101089"/>
                <a:gd name="connsiteY57" fmla="*/ 39265 h 102674"/>
                <a:gd name="connsiteX58" fmla="*/ 3780 w 101089"/>
                <a:gd name="connsiteY58" fmla="*/ 46338 h 102674"/>
                <a:gd name="connsiteX59" fmla="*/ 5243 w 101089"/>
                <a:gd name="connsiteY59" fmla="*/ 42436 h 10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01089" h="102674">
                  <a:moveTo>
                    <a:pt x="5243" y="42436"/>
                  </a:moveTo>
                  <a:lnTo>
                    <a:pt x="15487" y="36095"/>
                  </a:lnTo>
                  <a:lnTo>
                    <a:pt x="15487" y="36095"/>
                  </a:lnTo>
                  <a:lnTo>
                    <a:pt x="21950" y="50240"/>
                  </a:lnTo>
                  <a:lnTo>
                    <a:pt x="28778" y="57069"/>
                  </a:lnTo>
                  <a:lnTo>
                    <a:pt x="30730" y="67556"/>
                  </a:lnTo>
                  <a:lnTo>
                    <a:pt x="40485" y="78165"/>
                  </a:lnTo>
                  <a:lnTo>
                    <a:pt x="55362" y="87432"/>
                  </a:lnTo>
                  <a:lnTo>
                    <a:pt x="73897" y="97188"/>
                  </a:lnTo>
                  <a:lnTo>
                    <a:pt x="76336" y="102675"/>
                  </a:lnTo>
                  <a:lnTo>
                    <a:pt x="75604" y="98407"/>
                  </a:lnTo>
                  <a:lnTo>
                    <a:pt x="74507" y="97309"/>
                  </a:lnTo>
                  <a:lnTo>
                    <a:pt x="58044" y="82189"/>
                  </a:lnTo>
                  <a:lnTo>
                    <a:pt x="45240" y="69263"/>
                  </a:lnTo>
                  <a:lnTo>
                    <a:pt x="44265" y="68409"/>
                  </a:lnTo>
                  <a:lnTo>
                    <a:pt x="43045" y="67190"/>
                  </a:lnTo>
                  <a:lnTo>
                    <a:pt x="42680" y="65605"/>
                  </a:lnTo>
                  <a:lnTo>
                    <a:pt x="41460" y="60849"/>
                  </a:lnTo>
                  <a:lnTo>
                    <a:pt x="38899" y="50484"/>
                  </a:lnTo>
                  <a:lnTo>
                    <a:pt x="37924" y="46582"/>
                  </a:lnTo>
                  <a:lnTo>
                    <a:pt x="41094" y="44143"/>
                  </a:lnTo>
                  <a:lnTo>
                    <a:pt x="42924" y="42802"/>
                  </a:lnTo>
                  <a:lnTo>
                    <a:pt x="44996" y="41338"/>
                  </a:lnTo>
                  <a:lnTo>
                    <a:pt x="47191" y="39631"/>
                  </a:lnTo>
                  <a:lnTo>
                    <a:pt x="49752" y="40241"/>
                  </a:lnTo>
                  <a:lnTo>
                    <a:pt x="52313" y="40729"/>
                  </a:lnTo>
                  <a:lnTo>
                    <a:pt x="53898" y="35363"/>
                  </a:lnTo>
                  <a:lnTo>
                    <a:pt x="54752" y="32437"/>
                  </a:lnTo>
                  <a:lnTo>
                    <a:pt x="57556" y="31339"/>
                  </a:lnTo>
                  <a:lnTo>
                    <a:pt x="62678" y="29266"/>
                  </a:lnTo>
                  <a:lnTo>
                    <a:pt x="65483" y="28169"/>
                  </a:lnTo>
                  <a:lnTo>
                    <a:pt x="68044" y="29632"/>
                  </a:lnTo>
                  <a:lnTo>
                    <a:pt x="68775" y="30120"/>
                  </a:lnTo>
                  <a:lnTo>
                    <a:pt x="83042" y="38412"/>
                  </a:lnTo>
                  <a:lnTo>
                    <a:pt x="101090" y="36217"/>
                  </a:lnTo>
                  <a:lnTo>
                    <a:pt x="100114" y="32802"/>
                  </a:lnTo>
                  <a:lnTo>
                    <a:pt x="97553" y="23535"/>
                  </a:lnTo>
                  <a:lnTo>
                    <a:pt x="77555" y="21462"/>
                  </a:lnTo>
                  <a:lnTo>
                    <a:pt x="73043" y="21096"/>
                  </a:lnTo>
                  <a:lnTo>
                    <a:pt x="69507" y="20730"/>
                  </a:lnTo>
                  <a:lnTo>
                    <a:pt x="68044" y="17560"/>
                  </a:lnTo>
                  <a:lnTo>
                    <a:pt x="61581" y="3536"/>
                  </a:lnTo>
                  <a:lnTo>
                    <a:pt x="60849" y="1829"/>
                  </a:lnTo>
                  <a:lnTo>
                    <a:pt x="54142" y="0"/>
                  </a:lnTo>
                  <a:lnTo>
                    <a:pt x="53533" y="366"/>
                  </a:lnTo>
                  <a:lnTo>
                    <a:pt x="48899" y="2561"/>
                  </a:lnTo>
                  <a:lnTo>
                    <a:pt x="47801" y="8780"/>
                  </a:lnTo>
                  <a:lnTo>
                    <a:pt x="47679" y="9877"/>
                  </a:lnTo>
                  <a:lnTo>
                    <a:pt x="47070" y="10853"/>
                  </a:lnTo>
                  <a:lnTo>
                    <a:pt x="39387" y="23779"/>
                  </a:lnTo>
                  <a:lnTo>
                    <a:pt x="37680" y="26583"/>
                  </a:lnTo>
                  <a:lnTo>
                    <a:pt x="34388" y="26705"/>
                  </a:lnTo>
                  <a:lnTo>
                    <a:pt x="5853" y="27925"/>
                  </a:lnTo>
                  <a:lnTo>
                    <a:pt x="5243" y="30364"/>
                  </a:lnTo>
                  <a:lnTo>
                    <a:pt x="5000" y="31339"/>
                  </a:lnTo>
                  <a:lnTo>
                    <a:pt x="4512" y="32193"/>
                  </a:lnTo>
                  <a:lnTo>
                    <a:pt x="3902" y="33168"/>
                  </a:lnTo>
                  <a:lnTo>
                    <a:pt x="0" y="39265"/>
                  </a:lnTo>
                  <a:lnTo>
                    <a:pt x="3780" y="46338"/>
                  </a:lnTo>
                  <a:lnTo>
                    <a:pt x="5243" y="4243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4FECDD8B-3BC6-492D-A7B3-FFFD259DC834}"/>
                </a:ext>
              </a:extLst>
            </p:cNvPr>
            <p:cNvSpPr/>
            <p:nvPr/>
          </p:nvSpPr>
          <p:spPr>
            <a:xfrm>
              <a:off x="4621142" y="2112543"/>
              <a:ext cx="15608" cy="10486"/>
            </a:xfrm>
            <a:custGeom>
              <a:avLst/>
              <a:gdLst>
                <a:gd name="connsiteX0" fmla="*/ 0 w 15608"/>
                <a:gd name="connsiteY0" fmla="*/ 1707 h 10486"/>
                <a:gd name="connsiteX1" fmla="*/ 2683 w 15608"/>
                <a:gd name="connsiteY1" fmla="*/ 8292 h 10486"/>
                <a:gd name="connsiteX2" fmla="*/ 11585 w 15608"/>
                <a:gd name="connsiteY2" fmla="*/ 10487 h 10486"/>
                <a:gd name="connsiteX3" fmla="*/ 15609 w 15608"/>
                <a:gd name="connsiteY3" fmla="*/ 5122 h 10486"/>
                <a:gd name="connsiteX4" fmla="*/ 13779 w 15608"/>
                <a:gd name="connsiteY4" fmla="*/ 732 h 10486"/>
                <a:gd name="connsiteX5" fmla="*/ 4268 w 15608"/>
                <a:gd name="connsiteY5" fmla="*/ 0 h 10486"/>
                <a:gd name="connsiteX6" fmla="*/ 0 w 15608"/>
                <a:gd name="connsiteY6" fmla="*/ 1707 h 10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08" h="10486">
                  <a:moveTo>
                    <a:pt x="0" y="1707"/>
                  </a:moveTo>
                  <a:lnTo>
                    <a:pt x="2683" y="8292"/>
                  </a:lnTo>
                  <a:lnTo>
                    <a:pt x="11585" y="10487"/>
                  </a:lnTo>
                  <a:lnTo>
                    <a:pt x="15609" y="5122"/>
                  </a:lnTo>
                  <a:lnTo>
                    <a:pt x="13779" y="732"/>
                  </a:lnTo>
                  <a:lnTo>
                    <a:pt x="4268" y="0"/>
                  </a:lnTo>
                  <a:lnTo>
                    <a:pt x="0" y="170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0D7E0559-2112-4BCE-B081-63C5CF3AA033}"/>
                </a:ext>
              </a:extLst>
            </p:cNvPr>
            <p:cNvSpPr/>
            <p:nvPr/>
          </p:nvSpPr>
          <p:spPr>
            <a:xfrm>
              <a:off x="4645530" y="2131809"/>
              <a:ext cx="7194" cy="4511"/>
            </a:xfrm>
            <a:custGeom>
              <a:avLst/>
              <a:gdLst>
                <a:gd name="connsiteX0" fmla="*/ 0 w 7194"/>
                <a:gd name="connsiteY0" fmla="*/ 1341 h 4511"/>
                <a:gd name="connsiteX1" fmla="*/ 1585 w 7194"/>
                <a:gd name="connsiteY1" fmla="*/ 3902 h 4511"/>
                <a:gd name="connsiteX2" fmla="*/ 7195 w 7194"/>
                <a:gd name="connsiteY2" fmla="*/ 4512 h 4511"/>
                <a:gd name="connsiteX3" fmla="*/ 6951 w 7194"/>
                <a:gd name="connsiteY3" fmla="*/ 2683 h 4511"/>
                <a:gd name="connsiteX4" fmla="*/ 975 w 7194"/>
                <a:gd name="connsiteY4" fmla="*/ 0 h 4511"/>
                <a:gd name="connsiteX5" fmla="*/ 0 w 7194"/>
                <a:gd name="connsiteY5" fmla="*/ 1341 h 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94" h="4511">
                  <a:moveTo>
                    <a:pt x="0" y="1341"/>
                  </a:moveTo>
                  <a:lnTo>
                    <a:pt x="1585" y="3902"/>
                  </a:lnTo>
                  <a:lnTo>
                    <a:pt x="7195" y="4512"/>
                  </a:lnTo>
                  <a:lnTo>
                    <a:pt x="6951" y="2683"/>
                  </a:lnTo>
                  <a:lnTo>
                    <a:pt x="975" y="0"/>
                  </a:lnTo>
                  <a:lnTo>
                    <a:pt x="0" y="134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9567AF1B-59DC-477B-8B2C-5D31A4B991EC}"/>
                </a:ext>
              </a:extLst>
            </p:cNvPr>
            <p:cNvSpPr/>
            <p:nvPr/>
          </p:nvSpPr>
          <p:spPr>
            <a:xfrm>
              <a:off x="4822224" y="2125712"/>
              <a:ext cx="50240" cy="20730"/>
            </a:xfrm>
            <a:custGeom>
              <a:avLst/>
              <a:gdLst>
                <a:gd name="connsiteX0" fmla="*/ 10121 w 50240"/>
                <a:gd name="connsiteY0" fmla="*/ 18047 h 20730"/>
                <a:gd name="connsiteX1" fmla="*/ 26584 w 50240"/>
                <a:gd name="connsiteY1" fmla="*/ 20730 h 20730"/>
                <a:gd name="connsiteX2" fmla="*/ 43533 w 50240"/>
                <a:gd name="connsiteY2" fmla="*/ 19511 h 20730"/>
                <a:gd name="connsiteX3" fmla="*/ 50240 w 50240"/>
                <a:gd name="connsiteY3" fmla="*/ 19023 h 20730"/>
                <a:gd name="connsiteX4" fmla="*/ 48411 w 50240"/>
                <a:gd name="connsiteY4" fmla="*/ 14877 h 20730"/>
                <a:gd name="connsiteX5" fmla="*/ 45972 w 50240"/>
                <a:gd name="connsiteY5" fmla="*/ 9146 h 20730"/>
                <a:gd name="connsiteX6" fmla="*/ 44753 w 50240"/>
                <a:gd name="connsiteY6" fmla="*/ 8414 h 20730"/>
                <a:gd name="connsiteX7" fmla="*/ 37802 w 50240"/>
                <a:gd name="connsiteY7" fmla="*/ 4390 h 20730"/>
                <a:gd name="connsiteX8" fmla="*/ 24998 w 50240"/>
                <a:gd name="connsiteY8" fmla="*/ 122 h 20730"/>
                <a:gd name="connsiteX9" fmla="*/ 24510 w 50240"/>
                <a:gd name="connsiteY9" fmla="*/ 0 h 20730"/>
                <a:gd name="connsiteX10" fmla="*/ 22316 w 50240"/>
                <a:gd name="connsiteY10" fmla="*/ 2805 h 20730"/>
                <a:gd name="connsiteX11" fmla="*/ 1097 w 50240"/>
                <a:gd name="connsiteY11" fmla="*/ 3658 h 20730"/>
                <a:gd name="connsiteX12" fmla="*/ 0 w 50240"/>
                <a:gd name="connsiteY12" fmla="*/ 6951 h 20730"/>
                <a:gd name="connsiteX13" fmla="*/ 3658 w 50240"/>
                <a:gd name="connsiteY13" fmla="*/ 12682 h 20730"/>
                <a:gd name="connsiteX14" fmla="*/ 2683 w 50240"/>
                <a:gd name="connsiteY14" fmla="*/ 16218 h 20730"/>
                <a:gd name="connsiteX15" fmla="*/ 10121 w 50240"/>
                <a:gd name="connsiteY15" fmla="*/ 18047 h 2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240" h="20730">
                  <a:moveTo>
                    <a:pt x="10121" y="18047"/>
                  </a:moveTo>
                  <a:lnTo>
                    <a:pt x="26584" y="20730"/>
                  </a:lnTo>
                  <a:lnTo>
                    <a:pt x="43533" y="19511"/>
                  </a:lnTo>
                  <a:lnTo>
                    <a:pt x="50240" y="19023"/>
                  </a:lnTo>
                  <a:lnTo>
                    <a:pt x="48411" y="14877"/>
                  </a:lnTo>
                  <a:lnTo>
                    <a:pt x="45972" y="9146"/>
                  </a:lnTo>
                  <a:lnTo>
                    <a:pt x="44753" y="8414"/>
                  </a:lnTo>
                  <a:lnTo>
                    <a:pt x="37802" y="4390"/>
                  </a:lnTo>
                  <a:lnTo>
                    <a:pt x="24998" y="122"/>
                  </a:lnTo>
                  <a:lnTo>
                    <a:pt x="24510" y="0"/>
                  </a:lnTo>
                  <a:lnTo>
                    <a:pt x="22316" y="2805"/>
                  </a:lnTo>
                  <a:lnTo>
                    <a:pt x="1097" y="3658"/>
                  </a:lnTo>
                  <a:lnTo>
                    <a:pt x="0" y="6951"/>
                  </a:lnTo>
                  <a:lnTo>
                    <a:pt x="3658" y="12682"/>
                  </a:lnTo>
                  <a:lnTo>
                    <a:pt x="2683" y="16218"/>
                  </a:lnTo>
                  <a:lnTo>
                    <a:pt x="10121" y="1804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67D09B7A-8956-4196-9CA0-CF4750266067}"/>
                </a:ext>
              </a:extLst>
            </p:cNvPr>
            <p:cNvSpPr/>
            <p:nvPr/>
          </p:nvSpPr>
          <p:spPr>
            <a:xfrm>
              <a:off x="4890877" y="2090959"/>
              <a:ext cx="170230" cy="146207"/>
            </a:xfrm>
            <a:custGeom>
              <a:avLst/>
              <a:gdLst>
                <a:gd name="connsiteX0" fmla="*/ 163280 w 170230"/>
                <a:gd name="connsiteY0" fmla="*/ 96700 h 146207"/>
                <a:gd name="connsiteX1" fmla="*/ 167548 w 170230"/>
                <a:gd name="connsiteY1" fmla="*/ 96700 h 146207"/>
                <a:gd name="connsiteX2" fmla="*/ 169499 w 170230"/>
                <a:gd name="connsiteY2" fmla="*/ 90359 h 146207"/>
                <a:gd name="connsiteX3" fmla="*/ 170230 w 170230"/>
                <a:gd name="connsiteY3" fmla="*/ 87676 h 146207"/>
                <a:gd name="connsiteX4" fmla="*/ 151086 w 170230"/>
                <a:gd name="connsiteY4" fmla="*/ 69751 h 146207"/>
                <a:gd name="connsiteX5" fmla="*/ 150354 w 170230"/>
                <a:gd name="connsiteY5" fmla="*/ 69141 h 146207"/>
                <a:gd name="connsiteX6" fmla="*/ 149866 w 170230"/>
                <a:gd name="connsiteY6" fmla="*/ 68165 h 146207"/>
                <a:gd name="connsiteX7" fmla="*/ 140233 w 170230"/>
                <a:gd name="connsiteY7" fmla="*/ 50484 h 146207"/>
                <a:gd name="connsiteX8" fmla="*/ 139745 w 170230"/>
                <a:gd name="connsiteY8" fmla="*/ 49386 h 146207"/>
                <a:gd name="connsiteX9" fmla="*/ 139623 w 170230"/>
                <a:gd name="connsiteY9" fmla="*/ 48167 h 146207"/>
                <a:gd name="connsiteX10" fmla="*/ 137794 w 170230"/>
                <a:gd name="connsiteY10" fmla="*/ 28534 h 146207"/>
                <a:gd name="connsiteX11" fmla="*/ 136941 w 170230"/>
                <a:gd name="connsiteY11" fmla="*/ 18291 h 146207"/>
                <a:gd name="connsiteX12" fmla="*/ 131331 w 170230"/>
                <a:gd name="connsiteY12" fmla="*/ 9511 h 146207"/>
                <a:gd name="connsiteX13" fmla="*/ 119869 w 170230"/>
                <a:gd name="connsiteY13" fmla="*/ 8292 h 146207"/>
                <a:gd name="connsiteX14" fmla="*/ 111699 w 170230"/>
                <a:gd name="connsiteY14" fmla="*/ 10609 h 146207"/>
                <a:gd name="connsiteX15" fmla="*/ 108528 w 170230"/>
                <a:gd name="connsiteY15" fmla="*/ 11463 h 146207"/>
                <a:gd name="connsiteX16" fmla="*/ 106089 w 170230"/>
                <a:gd name="connsiteY16" fmla="*/ 9390 h 146207"/>
                <a:gd name="connsiteX17" fmla="*/ 96456 w 170230"/>
                <a:gd name="connsiteY17" fmla="*/ 976 h 146207"/>
                <a:gd name="connsiteX18" fmla="*/ 87066 w 170230"/>
                <a:gd name="connsiteY18" fmla="*/ 0 h 146207"/>
                <a:gd name="connsiteX19" fmla="*/ 73775 w 170230"/>
                <a:gd name="connsiteY19" fmla="*/ 15487 h 146207"/>
                <a:gd name="connsiteX20" fmla="*/ 72068 w 170230"/>
                <a:gd name="connsiteY20" fmla="*/ 17438 h 146207"/>
                <a:gd name="connsiteX21" fmla="*/ 70238 w 170230"/>
                <a:gd name="connsiteY21" fmla="*/ 19633 h 146207"/>
                <a:gd name="connsiteX22" fmla="*/ 60727 w 170230"/>
                <a:gd name="connsiteY22" fmla="*/ 19633 h 146207"/>
                <a:gd name="connsiteX23" fmla="*/ 55240 w 170230"/>
                <a:gd name="connsiteY23" fmla="*/ 28412 h 146207"/>
                <a:gd name="connsiteX24" fmla="*/ 50606 w 170230"/>
                <a:gd name="connsiteY24" fmla="*/ 35973 h 146207"/>
                <a:gd name="connsiteX25" fmla="*/ 49265 w 170230"/>
                <a:gd name="connsiteY25" fmla="*/ 38412 h 146207"/>
                <a:gd name="connsiteX26" fmla="*/ 42436 w 170230"/>
                <a:gd name="connsiteY26" fmla="*/ 50850 h 146207"/>
                <a:gd name="connsiteX27" fmla="*/ 41460 w 170230"/>
                <a:gd name="connsiteY27" fmla="*/ 52801 h 146207"/>
                <a:gd name="connsiteX28" fmla="*/ 39509 w 170230"/>
                <a:gd name="connsiteY28" fmla="*/ 53532 h 146207"/>
                <a:gd name="connsiteX29" fmla="*/ 29632 w 170230"/>
                <a:gd name="connsiteY29" fmla="*/ 57678 h 146207"/>
                <a:gd name="connsiteX30" fmla="*/ 25120 w 170230"/>
                <a:gd name="connsiteY30" fmla="*/ 59629 h 146207"/>
                <a:gd name="connsiteX31" fmla="*/ 24267 w 170230"/>
                <a:gd name="connsiteY31" fmla="*/ 63897 h 146207"/>
                <a:gd name="connsiteX32" fmla="*/ 23900 w 170230"/>
                <a:gd name="connsiteY32" fmla="*/ 65727 h 146207"/>
                <a:gd name="connsiteX33" fmla="*/ 22559 w 170230"/>
                <a:gd name="connsiteY33" fmla="*/ 67068 h 146207"/>
                <a:gd name="connsiteX34" fmla="*/ 19999 w 170230"/>
                <a:gd name="connsiteY34" fmla="*/ 69629 h 146207"/>
                <a:gd name="connsiteX35" fmla="*/ 16950 w 170230"/>
                <a:gd name="connsiteY35" fmla="*/ 72677 h 146207"/>
                <a:gd name="connsiteX36" fmla="*/ 13902 w 170230"/>
                <a:gd name="connsiteY36" fmla="*/ 75726 h 146207"/>
                <a:gd name="connsiteX37" fmla="*/ 9999 w 170230"/>
                <a:gd name="connsiteY37" fmla="*/ 73775 h 146207"/>
                <a:gd name="connsiteX38" fmla="*/ 5488 w 170230"/>
                <a:gd name="connsiteY38" fmla="*/ 71458 h 146207"/>
                <a:gd name="connsiteX39" fmla="*/ 2927 w 170230"/>
                <a:gd name="connsiteY39" fmla="*/ 70238 h 146207"/>
                <a:gd name="connsiteX40" fmla="*/ 2927 w 170230"/>
                <a:gd name="connsiteY40" fmla="*/ 84140 h 146207"/>
                <a:gd name="connsiteX41" fmla="*/ 8292 w 170230"/>
                <a:gd name="connsiteY41" fmla="*/ 95724 h 146207"/>
                <a:gd name="connsiteX42" fmla="*/ 11828 w 170230"/>
                <a:gd name="connsiteY42" fmla="*/ 103407 h 146207"/>
                <a:gd name="connsiteX43" fmla="*/ 13536 w 170230"/>
                <a:gd name="connsiteY43" fmla="*/ 107065 h 146207"/>
                <a:gd name="connsiteX44" fmla="*/ 10853 w 170230"/>
                <a:gd name="connsiteY44" fmla="*/ 109991 h 146207"/>
                <a:gd name="connsiteX45" fmla="*/ 0 w 170230"/>
                <a:gd name="connsiteY45" fmla="*/ 121942 h 146207"/>
                <a:gd name="connsiteX46" fmla="*/ 11340 w 170230"/>
                <a:gd name="connsiteY46" fmla="*/ 134380 h 146207"/>
                <a:gd name="connsiteX47" fmla="*/ 12560 w 170230"/>
                <a:gd name="connsiteY47" fmla="*/ 135721 h 146207"/>
                <a:gd name="connsiteX48" fmla="*/ 12804 w 170230"/>
                <a:gd name="connsiteY48" fmla="*/ 137428 h 146207"/>
                <a:gd name="connsiteX49" fmla="*/ 13657 w 170230"/>
                <a:gd name="connsiteY49" fmla="*/ 142428 h 146207"/>
                <a:gd name="connsiteX50" fmla="*/ 14389 w 170230"/>
                <a:gd name="connsiteY50" fmla="*/ 146208 h 146207"/>
                <a:gd name="connsiteX51" fmla="*/ 28168 w 170230"/>
                <a:gd name="connsiteY51" fmla="*/ 132429 h 146207"/>
                <a:gd name="connsiteX52" fmla="*/ 29754 w 170230"/>
                <a:gd name="connsiteY52" fmla="*/ 130843 h 146207"/>
                <a:gd name="connsiteX53" fmla="*/ 31949 w 170230"/>
                <a:gd name="connsiteY53" fmla="*/ 130599 h 146207"/>
                <a:gd name="connsiteX54" fmla="*/ 44631 w 170230"/>
                <a:gd name="connsiteY54" fmla="*/ 129380 h 146207"/>
                <a:gd name="connsiteX55" fmla="*/ 46582 w 170230"/>
                <a:gd name="connsiteY55" fmla="*/ 129136 h 146207"/>
                <a:gd name="connsiteX56" fmla="*/ 48289 w 170230"/>
                <a:gd name="connsiteY56" fmla="*/ 130112 h 146207"/>
                <a:gd name="connsiteX57" fmla="*/ 59264 w 170230"/>
                <a:gd name="connsiteY57" fmla="*/ 136209 h 146207"/>
                <a:gd name="connsiteX58" fmla="*/ 68897 w 170230"/>
                <a:gd name="connsiteY58" fmla="*/ 134989 h 146207"/>
                <a:gd name="connsiteX59" fmla="*/ 70116 w 170230"/>
                <a:gd name="connsiteY59" fmla="*/ 134867 h 146207"/>
                <a:gd name="connsiteX60" fmla="*/ 71336 w 170230"/>
                <a:gd name="connsiteY60" fmla="*/ 135233 h 146207"/>
                <a:gd name="connsiteX61" fmla="*/ 84018 w 170230"/>
                <a:gd name="connsiteY61" fmla="*/ 139013 h 146207"/>
                <a:gd name="connsiteX62" fmla="*/ 85481 w 170230"/>
                <a:gd name="connsiteY62" fmla="*/ 138526 h 146207"/>
                <a:gd name="connsiteX63" fmla="*/ 90603 w 170230"/>
                <a:gd name="connsiteY63" fmla="*/ 136819 h 146207"/>
                <a:gd name="connsiteX64" fmla="*/ 92554 w 170230"/>
                <a:gd name="connsiteY64" fmla="*/ 136209 h 146207"/>
                <a:gd name="connsiteX65" fmla="*/ 94383 w 170230"/>
                <a:gd name="connsiteY65" fmla="*/ 136819 h 146207"/>
                <a:gd name="connsiteX66" fmla="*/ 123893 w 170230"/>
                <a:gd name="connsiteY66" fmla="*/ 146086 h 146207"/>
                <a:gd name="connsiteX67" fmla="*/ 131697 w 170230"/>
                <a:gd name="connsiteY67" fmla="*/ 144135 h 146207"/>
                <a:gd name="connsiteX68" fmla="*/ 131941 w 170230"/>
                <a:gd name="connsiteY68" fmla="*/ 144135 h 146207"/>
                <a:gd name="connsiteX69" fmla="*/ 135233 w 170230"/>
                <a:gd name="connsiteY69" fmla="*/ 134502 h 146207"/>
                <a:gd name="connsiteX70" fmla="*/ 136331 w 170230"/>
                <a:gd name="connsiteY70" fmla="*/ 131209 h 146207"/>
                <a:gd name="connsiteX71" fmla="*/ 139745 w 170230"/>
                <a:gd name="connsiteY71" fmla="*/ 130478 h 146207"/>
                <a:gd name="connsiteX72" fmla="*/ 151695 w 170230"/>
                <a:gd name="connsiteY72" fmla="*/ 127917 h 146207"/>
                <a:gd name="connsiteX73" fmla="*/ 154134 w 170230"/>
                <a:gd name="connsiteY73" fmla="*/ 127429 h 146207"/>
                <a:gd name="connsiteX74" fmla="*/ 151452 w 170230"/>
                <a:gd name="connsiteY74" fmla="*/ 118405 h 146207"/>
                <a:gd name="connsiteX75" fmla="*/ 150964 w 170230"/>
                <a:gd name="connsiteY75" fmla="*/ 117918 h 146207"/>
                <a:gd name="connsiteX76" fmla="*/ 144013 w 170230"/>
                <a:gd name="connsiteY76" fmla="*/ 110967 h 146207"/>
                <a:gd name="connsiteX77" fmla="*/ 142794 w 170230"/>
                <a:gd name="connsiteY77" fmla="*/ 109747 h 146207"/>
                <a:gd name="connsiteX78" fmla="*/ 142428 w 170230"/>
                <a:gd name="connsiteY78" fmla="*/ 108040 h 146207"/>
                <a:gd name="connsiteX79" fmla="*/ 140233 w 170230"/>
                <a:gd name="connsiteY79" fmla="*/ 98407 h 146207"/>
                <a:gd name="connsiteX80" fmla="*/ 138648 w 170230"/>
                <a:gd name="connsiteY80" fmla="*/ 90968 h 146207"/>
                <a:gd name="connsiteX81" fmla="*/ 154744 w 170230"/>
                <a:gd name="connsiteY81" fmla="*/ 90968 h 146207"/>
                <a:gd name="connsiteX82" fmla="*/ 163280 w 170230"/>
                <a:gd name="connsiteY82" fmla="*/ 96700 h 14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70230" h="146207">
                  <a:moveTo>
                    <a:pt x="163280" y="96700"/>
                  </a:moveTo>
                  <a:lnTo>
                    <a:pt x="167548" y="96700"/>
                  </a:lnTo>
                  <a:lnTo>
                    <a:pt x="169499" y="90359"/>
                  </a:lnTo>
                  <a:lnTo>
                    <a:pt x="170230" y="87676"/>
                  </a:lnTo>
                  <a:lnTo>
                    <a:pt x="151086" y="69751"/>
                  </a:lnTo>
                  <a:lnTo>
                    <a:pt x="150354" y="69141"/>
                  </a:lnTo>
                  <a:lnTo>
                    <a:pt x="149866" y="68165"/>
                  </a:lnTo>
                  <a:lnTo>
                    <a:pt x="140233" y="50484"/>
                  </a:lnTo>
                  <a:lnTo>
                    <a:pt x="139745" y="49386"/>
                  </a:lnTo>
                  <a:lnTo>
                    <a:pt x="139623" y="48167"/>
                  </a:lnTo>
                  <a:lnTo>
                    <a:pt x="137794" y="28534"/>
                  </a:lnTo>
                  <a:lnTo>
                    <a:pt x="136941" y="18291"/>
                  </a:lnTo>
                  <a:lnTo>
                    <a:pt x="131331" y="9511"/>
                  </a:lnTo>
                  <a:lnTo>
                    <a:pt x="119869" y="8292"/>
                  </a:lnTo>
                  <a:lnTo>
                    <a:pt x="111699" y="10609"/>
                  </a:lnTo>
                  <a:lnTo>
                    <a:pt x="108528" y="11463"/>
                  </a:lnTo>
                  <a:lnTo>
                    <a:pt x="106089" y="9390"/>
                  </a:lnTo>
                  <a:lnTo>
                    <a:pt x="96456" y="976"/>
                  </a:lnTo>
                  <a:lnTo>
                    <a:pt x="87066" y="0"/>
                  </a:lnTo>
                  <a:lnTo>
                    <a:pt x="73775" y="15487"/>
                  </a:lnTo>
                  <a:lnTo>
                    <a:pt x="72068" y="17438"/>
                  </a:lnTo>
                  <a:lnTo>
                    <a:pt x="70238" y="19633"/>
                  </a:lnTo>
                  <a:lnTo>
                    <a:pt x="60727" y="19633"/>
                  </a:lnTo>
                  <a:lnTo>
                    <a:pt x="55240" y="28412"/>
                  </a:lnTo>
                  <a:lnTo>
                    <a:pt x="50606" y="35973"/>
                  </a:lnTo>
                  <a:lnTo>
                    <a:pt x="49265" y="38412"/>
                  </a:lnTo>
                  <a:lnTo>
                    <a:pt x="42436" y="50850"/>
                  </a:lnTo>
                  <a:lnTo>
                    <a:pt x="41460" y="52801"/>
                  </a:lnTo>
                  <a:lnTo>
                    <a:pt x="39509" y="53532"/>
                  </a:lnTo>
                  <a:lnTo>
                    <a:pt x="29632" y="57678"/>
                  </a:lnTo>
                  <a:lnTo>
                    <a:pt x="25120" y="59629"/>
                  </a:lnTo>
                  <a:lnTo>
                    <a:pt x="24267" y="63897"/>
                  </a:lnTo>
                  <a:lnTo>
                    <a:pt x="23900" y="65727"/>
                  </a:lnTo>
                  <a:lnTo>
                    <a:pt x="22559" y="67068"/>
                  </a:lnTo>
                  <a:lnTo>
                    <a:pt x="19999" y="69629"/>
                  </a:lnTo>
                  <a:lnTo>
                    <a:pt x="16950" y="72677"/>
                  </a:lnTo>
                  <a:lnTo>
                    <a:pt x="13902" y="75726"/>
                  </a:lnTo>
                  <a:lnTo>
                    <a:pt x="9999" y="73775"/>
                  </a:lnTo>
                  <a:lnTo>
                    <a:pt x="5488" y="71458"/>
                  </a:lnTo>
                  <a:lnTo>
                    <a:pt x="2927" y="70238"/>
                  </a:lnTo>
                  <a:lnTo>
                    <a:pt x="2927" y="84140"/>
                  </a:lnTo>
                  <a:lnTo>
                    <a:pt x="8292" y="95724"/>
                  </a:lnTo>
                  <a:lnTo>
                    <a:pt x="11828" y="103407"/>
                  </a:lnTo>
                  <a:lnTo>
                    <a:pt x="13536" y="107065"/>
                  </a:lnTo>
                  <a:lnTo>
                    <a:pt x="10853" y="109991"/>
                  </a:lnTo>
                  <a:lnTo>
                    <a:pt x="0" y="121942"/>
                  </a:lnTo>
                  <a:lnTo>
                    <a:pt x="11340" y="134380"/>
                  </a:lnTo>
                  <a:lnTo>
                    <a:pt x="12560" y="135721"/>
                  </a:lnTo>
                  <a:lnTo>
                    <a:pt x="12804" y="137428"/>
                  </a:lnTo>
                  <a:lnTo>
                    <a:pt x="13657" y="142428"/>
                  </a:lnTo>
                  <a:lnTo>
                    <a:pt x="14389" y="146208"/>
                  </a:lnTo>
                  <a:lnTo>
                    <a:pt x="28168" y="132429"/>
                  </a:lnTo>
                  <a:lnTo>
                    <a:pt x="29754" y="130843"/>
                  </a:lnTo>
                  <a:lnTo>
                    <a:pt x="31949" y="130599"/>
                  </a:lnTo>
                  <a:lnTo>
                    <a:pt x="44631" y="129380"/>
                  </a:lnTo>
                  <a:lnTo>
                    <a:pt x="46582" y="129136"/>
                  </a:lnTo>
                  <a:lnTo>
                    <a:pt x="48289" y="130112"/>
                  </a:lnTo>
                  <a:lnTo>
                    <a:pt x="59264" y="136209"/>
                  </a:lnTo>
                  <a:lnTo>
                    <a:pt x="68897" y="134989"/>
                  </a:lnTo>
                  <a:lnTo>
                    <a:pt x="70116" y="134867"/>
                  </a:lnTo>
                  <a:lnTo>
                    <a:pt x="71336" y="135233"/>
                  </a:lnTo>
                  <a:lnTo>
                    <a:pt x="84018" y="139013"/>
                  </a:lnTo>
                  <a:lnTo>
                    <a:pt x="85481" y="138526"/>
                  </a:lnTo>
                  <a:lnTo>
                    <a:pt x="90603" y="136819"/>
                  </a:lnTo>
                  <a:lnTo>
                    <a:pt x="92554" y="136209"/>
                  </a:lnTo>
                  <a:lnTo>
                    <a:pt x="94383" y="136819"/>
                  </a:lnTo>
                  <a:lnTo>
                    <a:pt x="123893" y="146086"/>
                  </a:lnTo>
                  <a:lnTo>
                    <a:pt x="131697" y="144135"/>
                  </a:lnTo>
                  <a:lnTo>
                    <a:pt x="131941" y="144135"/>
                  </a:lnTo>
                  <a:lnTo>
                    <a:pt x="135233" y="134502"/>
                  </a:lnTo>
                  <a:lnTo>
                    <a:pt x="136331" y="131209"/>
                  </a:lnTo>
                  <a:lnTo>
                    <a:pt x="139745" y="130478"/>
                  </a:lnTo>
                  <a:lnTo>
                    <a:pt x="151695" y="127917"/>
                  </a:lnTo>
                  <a:lnTo>
                    <a:pt x="154134" y="127429"/>
                  </a:lnTo>
                  <a:lnTo>
                    <a:pt x="151452" y="118405"/>
                  </a:lnTo>
                  <a:lnTo>
                    <a:pt x="150964" y="117918"/>
                  </a:lnTo>
                  <a:lnTo>
                    <a:pt x="144013" y="110967"/>
                  </a:lnTo>
                  <a:lnTo>
                    <a:pt x="142794" y="109747"/>
                  </a:lnTo>
                  <a:lnTo>
                    <a:pt x="142428" y="108040"/>
                  </a:lnTo>
                  <a:lnTo>
                    <a:pt x="140233" y="98407"/>
                  </a:lnTo>
                  <a:lnTo>
                    <a:pt x="138648" y="90968"/>
                  </a:lnTo>
                  <a:lnTo>
                    <a:pt x="154744" y="90968"/>
                  </a:lnTo>
                  <a:lnTo>
                    <a:pt x="163280" y="9670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95E2C769-9445-46FE-B56F-7BA736949661}"/>
                </a:ext>
              </a:extLst>
            </p:cNvPr>
            <p:cNvSpPr/>
            <p:nvPr/>
          </p:nvSpPr>
          <p:spPr>
            <a:xfrm>
              <a:off x="4745400" y="2431298"/>
              <a:ext cx="60848" cy="67189"/>
            </a:xfrm>
            <a:custGeom>
              <a:avLst/>
              <a:gdLst>
                <a:gd name="connsiteX0" fmla="*/ 34509 w 60848"/>
                <a:gd name="connsiteY0" fmla="*/ 55971 h 67189"/>
                <a:gd name="connsiteX1" fmla="*/ 36095 w 60848"/>
                <a:gd name="connsiteY1" fmla="*/ 57434 h 67189"/>
                <a:gd name="connsiteX2" fmla="*/ 36339 w 60848"/>
                <a:gd name="connsiteY2" fmla="*/ 59507 h 67189"/>
                <a:gd name="connsiteX3" fmla="*/ 37314 w 60848"/>
                <a:gd name="connsiteY3" fmla="*/ 65117 h 67189"/>
                <a:gd name="connsiteX4" fmla="*/ 39143 w 60848"/>
                <a:gd name="connsiteY4" fmla="*/ 65848 h 67189"/>
                <a:gd name="connsiteX5" fmla="*/ 42192 w 60848"/>
                <a:gd name="connsiteY5" fmla="*/ 67190 h 67189"/>
                <a:gd name="connsiteX6" fmla="*/ 46216 w 60848"/>
                <a:gd name="connsiteY6" fmla="*/ 61215 h 67189"/>
                <a:gd name="connsiteX7" fmla="*/ 55362 w 60848"/>
                <a:gd name="connsiteY7" fmla="*/ 49508 h 67189"/>
                <a:gd name="connsiteX8" fmla="*/ 60849 w 60848"/>
                <a:gd name="connsiteY8" fmla="*/ 42558 h 67189"/>
                <a:gd name="connsiteX9" fmla="*/ 59629 w 60848"/>
                <a:gd name="connsiteY9" fmla="*/ 19145 h 67189"/>
                <a:gd name="connsiteX10" fmla="*/ 58288 w 60848"/>
                <a:gd name="connsiteY10" fmla="*/ 14389 h 67189"/>
                <a:gd name="connsiteX11" fmla="*/ 56337 w 60848"/>
                <a:gd name="connsiteY11" fmla="*/ 7073 h 67189"/>
                <a:gd name="connsiteX12" fmla="*/ 36339 w 60848"/>
                <a:gd name="connsiteY12" fmla="*/ 9389 h 67189"/>
                <a:gd name="connsiteX13" fmla="*/ 34388 w 60848"/>
                <a:gd name="connsiteY13" fmla="*/ 9633 h 67189"/>
                <a:gd name="connsiteX14" fmla="*/ 32559 w 60848"/>
                <a:gd name="connsiteY14" fmla="*/ 8658 h 67189"/>
                <a:gd name="connsiteX15" fmla="*/ 17803 w 60848"/>
                <a:gd name="connsiteY15" fmla="*/ 0 h 67189"/>
                <a:gd name="connsiteX16" fmla="*/ 14389 w 60848"/>
                <a:gd name="connsiteY16" fmla="*/ 1463 h 67189"/>
                <a:gd name="connsiteX17" fmla="*/ 12560 w 60848"/>
                <a:gd name="connsiteY17" fmla="*/ 7560 h 67189"/>
                <a:gd name="connsiteX18" fmla="*/ 11097 w 60848"/>
                <a:gd name="connsiteY18" fmla="*/ 13048 h 67189"/>
                <a:gd name="connsiteX19" fmla="*/ 5488 w 60848"/>
                <a:gd name="connsiteY19" fmla="*/ 11950 h 67189"/>
                <a:gd name="connsiteX20" fmla="*/ 2073 w 60848"/>
                <a:gd name="connsiteY20" fmla="*/ 11219 h 67189"/>
                <a:gd name="connsiteX21" fmla="*/ 732 w 60848"/>
                <a:gd name="connsiteY21" fmla="*/ 12194 h 67189"/>
                <a:gd name="connsiteX22" fmla="*/ 0 w 60848"/>
                <a:gd name="connsiteY22" fmla="*/ 12804 h 67189"/>
                <a:gd name="connsiteX23" fmla="*/ 2073 w 60848"/>
                <a:gd name="connsiteY23" fmla="*/ 21218 h 67189"/>
                <a:gd name="connsiteX24" fmla="*/ 3292 w 60848"/>
                <a:gd name="connsiteY24" fmla="*/ 26217 h 67189"/>
                <a:gd name="connsiteX25" fmla="*/ 3658 w 60848"/>
                <a:gd name="connsiteY25" fmla="*/ 26583 h 67189"/>
                <a:gd name="connsiteX26" fmla="*/ 16584 w 60848"/>
                <a:gd name="connsiteY26" fmla="*/ 39509 h 67189"/>
                <a:gd name="connsiteX27" fmla="*/ 33412 w 60848"/>
                <a:gd name="connsiteY27" fmla="*/ 54996 h 67189"/>
                <a:gd name="connsiteX28" fmla="*/ 34509 w 60848"/>
                <a:gd name="connsiteY28" fmla="*/ 55971 h 6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0848" h="67189">
                  <a:moveTo>
                    <a:pt x="34509" y="55971"/>
                  </a:moveTo>
                  <a:lnTo>
                    <a:pt x="36095" y="57434"/>
                  </a:lnTo>
                  <a:lnTo>
                    <a:pt x="36339" y="59507"/>
                  </a:lnTo>
                  <a:lnTo>
                    <a:pt x="37314" y="65117"/>
                  </a:lnTo>
                  <a:lnTo>
                    <a:pt x="39143" y="65848"/>
                  </a:lnTo>
                  <a:lnTo>
                    <a:pt x="42192" y="67190"/>
                  </a:lnTo>
                  <a:lnTo>
                    <a:pt x="46216" y="61215"/>
                  </a:lnTo>
                  <a:lnTo>
                    <a:pt x="55362" y="49508"/>
                  </a:lnTo>
                  <a:lnTo>
                    <a:pt x="60849" y="42558"/>
                  </a:lnTo>
                  <a:lnTo>
                    <a:pt x="59629" y="19145"/>
                  </a:lnTo>
                  <a:lnTo>
                    <a:pt x="58288" y="14389"/>
                  </a:lnTo>
                  <a:lnTo>
                    <a:pt x="56337" y="7073"/>
                  </a:lnTo>
                  <a:lnTo>
                    <a:pt x="36339" y="9389"/>
                  </a:lnTo>
                  <a:lnTo>
                    <a:pt x="34388" y="9633"/>
                  </a:lnTo>
                  <a:lnTo>
                    <a:pt x="32559" y="8658"/>
                  </a:lnTo>
                  <a:lnTo>
                    <a:pt x="17803" y="0"/>
                  </a:lnTo>
                  <a:lnTo>
                    <a:pt x="14389" y="1463"/>
                  </a:lnTo>
                  <a:lnTo>
                    <a:pt x="12560" y="7560"/>
                  </a:lnTo>
                  <a:lnTo>
                    <a:pt x="11097" y="13048"/>
                  </a:lnTo>
                  <a:lnTo>
                    <a:pt x="5488" y="11950"/>
                  </a:lnTo>
                  <a:lnTo>
                    <a:pt x="2073" y="11219"/>
                  </a:lnTo>
                  <a:lnTo>
                    <a:pt x="732" y="12194"/>
                  </a:lnTo>
                  <a:lnTo>
                    <a:pt x="0" y="12804"/>
                  </a:lnTo>
                  <a:lnTo>
                    <a:pt x="2073" y="21218"/>
                  </a:lnTo>
                  <a:lnTo>
                    <a:pt x="3292" y="26217"/>
                  </a:lnTo>
                  <a:lnTo>
                    <a:pt x="3658" y="26583"/>
                  </a:lnTo>
                  <a:lnTo>
                    <a:pt x="16584" y="39509"/>
                  </a:lnTo>
                  <a:lnTo>
                    <a:pt x="33412" y="54996"/>
                  </a:lnTo>
                  <a:lnTo>
                    <a:pt x="34509" y="5597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048F3E6A-6093-4AEF-A8BF-BF768E9E9C95}"/>
                </a:ext>
              </a:extLst>
            </p:cNvPr>
            <p:cNvSpPr/>
            <p:nvPr/>
          </p:nvSpPr>
          <p:spPr>
            <a:xfrm>
              <a:off x="4642604" y="2098397"/>
              <a:ext cx="26461" cy="25119"/>
            </a:xfrm>
            <a:custGeom>
              <a:avLst/>
              <a:gdLst>
                <a:gd name="connsiteX0" fmla="*/ 975 w 26461"/>
                <a:gd name="connsiteY0" fmla="*/ 6219 h 25119"/>
                <a:gd name="connsiteX1" fmla="*/ 0 w 26461"/>
                <a:gd name="connsiteY1" fmla="*/ 8780 h 25119"/>
                <a:gd name="connsiteX2" fmla="*/ 5853 w 26461"/>
                <a:gd name="connsiteY2" fmla="*/ 17194 h 25119"/>
                <a:gd name="connsiteX3" fmla="*/ 9755 w 26461"/>
                <a:gd name="connsiteY3" fmla="*/ 21218 h 25119"/>
                <a:gd name="connsiteX4" fmla="*/ 16706 w 26461"/>
                <a:gd name="connsiteY4" fmla="*/ 21218 h 25119"/>
                <a:gd name="connsiteX5" fmla="*/ 19145 w 26461"/>
                <a:gd name="connsiteY5" fmla="*/ 25120 h 25119"/>
                <a:gd name="connsiteX6" fmla="*/ 24266 w 26461"/>
                <a:gd name="connsiteY6" fmla="*/ 21828 h 25119"/>
                <a:gd name="connsiteX7" fmla="*/ 26461 w 26461"/>
                <a:gd name="connsiteY7" fmla="*/ 16828 h 25119"/>
                <a:gd name="connsiteX8" fmla="*/ 22803 w 26461"/>
                <a:gd name="connsiteY8" fmla="*/ 10365 h 25119"/>
                <a:gd name="connsiteX9" fmla="*/ 24510 w 26461"/>
                <a:gd name="connsiteY9" fmla="*/ 2073 h 25119"/>
                <a:gd name="connsiteX10" fmla="*/ 18535 w 26461"/>
                <a:gd name="connsiteY10" fmla="*/ 0 h 25119"/>
                <a:gd name="connsiteX11" fmla="*/ 9389 w 26461"/>
                <a:gd name="connsiteY11" fmla="*/ 4512 h 25119"/>
                <a:gd name="connsiteX12" fmla="*/ 975 w 26461"/>
                <a:gd name="connsiteY12" fmla="*/ 6219 h 2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461" h="25119">
                  <a:moveTo>
                    <a:pt x="975" y="6219"/>
                  </a:moveTo>
                  <a:lnTo>
                    <a:pt x="0" y="8780"/>
                  </a:lnTo>
                  <a:lnTo>
                    <a:pt x="5853" y="17194"/>
                  </a:lnTo>
                  <a:lnTo>
                    <a:pt x="9755" y="21218"/>
                  </a:lnTo>
                  <a:lnTo>
                    <a:pt x="16706" y="21218"/>
                  </a:lnTo>
                  <a:lnTo>
                    <a:pt x="19145" y="25120"/>
                  </a:lnTo>
                  <a:lnTo>
                    <a:pt x="24266" y="21828"/>
                  </a:lnTo>
                  <a:lnTo>
                    <a:pt x="26461" y="16828"/>
                  </a:lnTo>
                  <a:lnTo>
                    <a:pt x="22803" y="10365"/>
                  </a:lnTo>
                  <a:lnTo>
                    <a:pt x="24510" y="2073"/>
                  </a:lnTo>
                  <a:lnTo>
                    <a:pt x="18535" y="0"/>
                  </a:lnTo>
                  <a:lnTo>
                    <a:pt x="9389" y="4512"/>
                  </a:lnTo>
                  <a:lnTo>
                    <a:pt x="975" y="6219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5C55F16E-B655-4A5C-B85D-1FBB6C91DA62}"/>
                </a:ext>
              </a:extLst>
            </p:cNvPr>
            <p:cNvSpPr/>
            <p:nvPr/>
          </p:nvSpPr>
          <p:spPr>
            <a:xfrm>
              <a:off x="4892950" y="2599821"/>
              <a:ext cx="16462" cy="19876"/>
            </a:xfrm>
            <a:custGeom>
              <a:avLst/>
              <a:gdLst>
                <a:gd name="connsiteX0" fmla="*/ 16096 w 16462"/>
                <a:gd name="connsiteY0" fmla="*/ 14633 h 19876"/>
                <a:gd name="connsiteX1" fmla="*/ 16096 w 16462"/>
                <a:gd name="connsiteY1" fmla="*/ 14267 h 19876"/>
                <a:gd name="connsiteX2" fmla="*/ 5731 w 16462"/>
                <a:gd name="connsiteY2" fmla="*/ 0 h 19876"/>
                <a:gd name="connsiteX3" fmla="*/ 487 w 16462"/>
                <a:gd name="connsiteY3" fmla="*/ 0 h 19876"/>
                <a:gd name="connsiteX4" fmla="*/ 0 w 16462"/>
                <a:gd name="connsiteY4" fmla="*/ 1585 h 19876"/>
                <a:gd name="connsiteX5" fmla="*/ 6097 w 16462"/>
                <a:gd name="connsiteY5" fmla="*/ 7804 h 19876"/>
                <a:gd name="connsiteX6" fmla="*/ 14999 w 16462"/>
                <a:gd name="connsiteY6" fmla="*/ 15121 h 19876"/>
                <a:gd name="connsiteX7" fmla="*/ 16462 w 16462"/>
                <a:gd name="connsiteY7" fmla="*/ 19877 h 19876"/>
                <a:gd name="connsiteX8" fmla="*/ 16096 w 16462"/>
                <a:gd name="connsiteY8" fmla="*/ 14633 h 19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62" h="19876">
                  <a:moveTo>
                    <a:pt x="16096" y="14633"/>
                  </a:moveTo>
                  <a:lnTo>
                    <a:pt x="16096" y="14267"/>
                  </a:lnTo>
                  <a:lnTo>
                    <a:pt x="5731" y="0"/>
                  </a:lnTo>
                  <a:lnTo>
                    <a:pt x="487" y="0"/>
                  </a:lnTo>
                  <a:lnTo>
                    <a:pt x="0" y="1585"/>
                  </a:lnTo>
                  <a:lnTo>
                    <a:pt x="6097" y="7804"/>
                  </a:lnTo>
                  <a:lnTo>
                    <a:pt x="14999" y="15121"/>
                  </a:lnTo>
                  <a:lnTo>
                    <a:pt x="16462" y="19877"/>
                  </a:lnTo>
                  <a:lnTo>
                    <a:pt x="16096" y="146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B9425732-A3E3-44D0-B89A-F2B54195852F}"/>
                </a:ext>
              </a:extLst>
            </p:cNvPr>
            <p:cNvSpPr/>
            <p:nvPr/>
          </p:nvSpPr>
          <p:spPr>
            <a:xfrm>
              <a:off x="3944610" y="1657822"/>
              <a:ext cx="212544" cy="141818"/>
            </a:xfrm>
            <a:custGeom>
              <a:avLst/>
              <a:gdLst>
                <a:gd name="connsiteX0" fmla="*/ 200716 w 212544"/>
                <a:gd name="connsiteY0" fmla="*/ 49630 h 141818"/>
                <a:gd name="connsiteX1" fmla="*/ 196326 w 212544"/>
                <a:gd name="connsiteY1" fmla="*/ 40972 h 141818"/>
                <a:gd name="connsiteX2" fmla="*/ 188400 w 212544"/>
                <a:gd name="connsiteY2" fmla="*/ 39387 h 141818"/>
                <a:gd name="connsiteX3" fmla="*/ 189863 w 212544"/>
                <a:gd name="connsiteY3" fmla="*/ 23901 h 141818"/>
                <a:gd name="connsiteX4" fmla="*/ 185107 w 212544"/>
                <a:gd name="connsiteY4" fmla="*/ 14267 h 141818"/>
                <a:gd name="connsiteX5" fmla="*/ 193887 w 212544"/>
                <a:gd name="connsiteY5" fmla="*/ 8414 h 141818"/>
                <a:gd name="connsiteX6" fmla="*/ 193399 w 212544"/>
                <a:gd name="connsiteY6" fmla="*/ 6463 h 141818"/>
                <a:gd name="connsiteX7" fmla="*/ 188278 w 212544"/>
                <a:gd name="connsiteY7" fmla="*/ 8536 h 141818"/>
                <a:gd name="connsiteX8" fmla="*/ 175230 w 212544"/>
                <a:gd name="connsiteY8" fmla="*/ 8536 h 141818"/>
                <a:gd name="connsiteX9" fmla="*/ 170962 w 212544"/>
                <a:gd name="connsiteY9" fmla="*/ 0 h 141818"/>
                <a:gd name="connsiteX10" fmla="*/ 157426 w 212544"/>
                <a:gd name="connsiteY10" fmla="*/ 0 h 141818"/>
                <a:gd name="connsiteX11" fmla="*/ 158890 w 212544"/>
                <a:gd name="connsiteY11" fmla="*/ 17682 h 141818"/>
                <a:gd name="connsiteX12" fmla="*/ 139379 w 212544"/>
                <a:gd name="connsiteY12" fmla="*/ 25852 h 141818"/>
                <a:gd name="connsiteX13" fmla="*/ 129258 w 212544"/>
                <a:gd name="connsiteY13" fmla="*/ 18657 h 141818"/>
                <a:gd name="connsiteX14" fmla="*/ 121088 w 212544"/>
                <a:gd name="connsiteY14" fmla="*/ 20730 h 141818"/>
                <a:gd name="connsiteX15" fmla="*/ 123771 w 212544"/>
                <a:gd name="connsiteY15" fmla="*/ 28778 h 141818"/>
                <a:gd name="connsiteX16" fmla="*/ 114503 w 212544"/>
                <a:gd name="connsiteY16" fmla="*/ 33412 h 141818"/>
                <a:gd name="connsiteX17" fmla="*/ 108650 w 212544"/>
                <a:gd name="connsiteY17" fmla="*/ 21706 h 141818"/>
                <a:gd name="connsiteX18" fmla="*/ 94871 w 212544"/>
                <a:gd name="connsiteY18" fmla="*/ 25120 h 141818"/>
                <a:gd name="connsiteX19" fmla="*/ 94871 w 212544"/>
                <a:gd name="connsiteY19" fmla="*/ 41948 h 141818"/>
                <a:gd name="connsiteX20" fmla="*/ 83164 w 212544"/>
                <a:gd name="connsiteY20" fmla="*/ 28290 h 141818"/>
                <a:gd name="connsiteX21" fmla="*/ 77677 w 212544"/>
                <a:gd name="connsiteY21" fmla="*/ 27071 h 141818"/>
                <a:gd name="connsiteX22" fmla="*/ 75238 w 212544"/>
                <a:gd name="connsiteY22" fmla="*/ 29022 h 141818"/>
                <a:gd name="connsiteX23" fmla="*/ 82920 w 212544"/>
                <a:gd name="connsiteY23" fmla="*/ 34144 h 141818"/>
                <a:gd name="connsiteX24" fmla="*/ 77189 w 212544"/>
                <a:gd name="connsiteY24" fmla="*/ 43777 h 141818"/>
                <a:gd name="connsiteX25" fmla="*/ 67556 w 212544"/>
                <a:gd name="connsiteY25" fmla="*/ 46094 h 141818"/>
                <a:gd name="connsiteX26" fmla="*/ 69872 w 212544"/>
                <a:gd name="connsiteY26" fmla="*/ 50850 h 141818"/>
                <a:gd name="connsiteX27" fmla="*/ 63288 w 212544"/>
                <a:gd name="connsiteY27" fmla="*/ 57313 h 141818"/>
                <a:gd name="connsiteX28" fmla="*/ 54142 w 212544"/>
                <a:gd name="connsiteY28" fmla="*/ 51825 h 141818"/>
                <a:gd name="connsiteX29" fmla="*/ 48045 w 212544"/>
                <a:gd name="connsiteY29" fmla="*/ 32071 h 141818"/>
                <a:gd name="connsiteX30" fmla="*/ 50728 w 212544"/>
                <a:gd name="connsiteY30" fmla="*/ 18657 h 141818"/>
                <a:gd name="connsiteX31" fmla="*/ 33900 w 212544"/>
                <a:gd name="connsiteY31" fmla="*/ 4268 h 141818"/>
                <a:gd name="connsiteX32" fmla="*/ 23779 w 212544"/>
                <a:gd name="connsiteY32" fmla="*/ 4268 h 141818"/>
                <a:gd name="connsiteX33" fmla="*/ 27925 w 212544"/>
                <a:gd name="connsiteY33" fmla="*/ 13901 h 141818"/>
                <a:gd name="connsiteX34" fmla="*/ 36704 w 212544"/>
                <a:gd name="connsiteY34" fmla="*/ 26096 h 141818"/>
                <a:gd name="connsiteX35" fmla="*/ 22193 w 212544"/>
                <a:gd name="connsiteY35" fmla="*/ 30242 h 141818"/>
                <a:gd name="connsiteX36" fmla="*/ 22193 w 212544"/>
                <a:gd name="connsiteY36" fmla="*/ 30242 h 141818"/>
                <a:gd name="connsiteX37" fmla="*/ 18779 w 212544"/>
                <a:gd name="connsiteY37" fmla="*/ 23535 h 141818"/>
                <a:gd name="connsiteX38" fmla="*/ 16584 w 212544"/>
                <a:gd name="connsiteY38" fmla="*/ 22071 h 141818"/>
                <a:gd name="connsiteX39" fmla="*/ 0 w 212544"/>
                <a:gd name="connsiteY39" fmla="*/ 42436 h 141818"/>
                <a:gd name="connsiteX40" fmla="*/ 853 w 212544"/>
                <a:gd name="connsiteY40" fmla="*/ 46704 h 141818"/>
                <a:gd name="connsiteX41" fmla="*/ 11950 w 212544"/>
                <a:gd name="connsiteY41" fmla="*/ 45484 h 141818"/>
                <a:gd name="connsiteX42" fmla="*/ 40119 w 212544"/>
                <a:gd name="connsiteY42" fmla="*/ 45484 h 141818"/>
                <a:gd name="connsiteX43" fmla="*/ 45972 w 212544"/>
                <a:gd name="connsiteY43" fmla="*/ 55240 h 141818"/>
                <a:gd name="connsiteX44" fmla="*/ 39021 w 212544"/>
                <a:gd name="connsiteY44" fmla="*/ 59995 h 141818"/>
                <a:gd name="connsiteX45" fmla="*/ 56703 w 212544"/>
                <a:gd name="connsiteY45" fmla="*/ 68165 h 141818"/>
                <a:gd name="connsiteX46" fmla="*/ 49630 w 212544"/>
                <a:gd name="connsiteY46" fmla="*/ 75360 h 141818"/>
                <a:gd name="connsiteX47" fmla="*/ 49630 w 212544"/>
                <a:gd name="connsiteY47" fmla="*/ 75360 h 141818"/>
                <a:gd name="connsiteX48" fmla="*/ 37436 w 212544"/>
                <a:gd name="connsiteY48" fmla="*/ 73775 h 141818"/>
                <a:gd name="connsiteX49" fmla="*/ 22193 w 212544"/>
                <a:gd name="connsiteY49" fmla="*/ 75116 h 141818"/>
                <a:gd name="connsiteX50" fmla="*/ 10975 w 212544"/>
                <a:gd name="connsiteY50" fmla="*/ 77677 h 141818"/>
                <a:gd name="connsiteX51" fmla="*/ 10243 w 212544"/>
                <a:gd name="connsiteY51" fmla="*/ 81945 h 141818"/>
                <a:gd name="connsiteX52" fmla="*/ 30607 w 212544"/>
                <a:gd name="connsiteY52" fmla="*/ 79384 h 141818"/>
                <a:gd name="connsiteX53" fmla="*/ 40972 w 212544"/>
                <a:gd name="connsiteY53" fmla="*/ 82920 h 141818"/>
                <a:gd name="connsiteX54" fmla="*/ 40972 w 212544"/>
                <a:gd name="connsiteY54" fmla="*/ 90847 h 141818"/>
                <a:gd name="connsiteX55" fmla="*/ 49630 w 212544"/>
                <a:gd name="connsiteY55" fmla="*/ 102309 h 141818"/>
                <a:gd name="connsiteX56" fmla="*/ 47801 w 212544"/>
                <a:gd name="connsiteY56" fmla="*/ 116332 h 141818"/>
                <a:gd name="connsiteX57" fmla="*/ 33534 w 212544"/>
                <a:gd name="connsiteY57" fmla="*/ 116332 h 141818"/>
                <a:gd name="connsiteX58" fmla="*/ 32802 w 212544"/>
                <a:gd name="connsiteY58" fmla="*/ 119869 h 141818"/>
                <a:gd name="connsiteX59" fmla="*/ 42192 w 212544"/>
                <a:gd name="connsiteY59" fmla="*/ 123527 h 141818"/>
                <a:gd name="connsiteX60" fmla="*/ 63775 w 212544"/>
                <a:gd name="connsiteY60" fmla="*/ 126332 h 141818"/>
                <a:gd name="connsiteX61" fmla="*/ 86335 w 212544"/>
                <a:gd name="connsiteY61" fmla="*/ 141818 h 141818"/>
                <a:gd name="connsiteX62" fmla="*/ 121576 w 212544"/>
                <a:gd name="connsiteY62" fmla="*/ 140477 h 141818"/>
                <a:gd name="connsiteX63" fmla="*/ 135721 w 212544"/>
                <a:gd name="connsiteY63" fmla="*/ 124990 h 141818"/>
                <a:gd name="connsiteX64" fmla="*/ 151329 w 212544"/>
                <a:gd name="connsiteY64" fmla="*/ 122186 h 141818"/>
                <a:gd name="connsiteX65" fmla="*/ 164133 w 212544"/>
                <a:gd name="connsiteY65" fmla="*/ 107918 h 141818"/>
                <a:gd name="connsiteX66" fmla="*/ 182059 w 212544"/>
                <a:gd name="connsiteY66" fmla="*/ 106455 h 141818"/>
                <a:gd name="connsiteX67" fmla="*/ 187546 w 212544"/>
                <a:gd name="connsiteY67" fmla="*/ 93041 h 141818"/>
                <a:gd name="connsiteX68" fmla="*/ 203155 w 212544"/>
                <a:gd name="connsiteY68" fmla="*/ 81579 h 141818"/>
                <a:gd name="connsiteX69" fmla="*/ 212544 w 212544"/>
                <a:gd name="connsiteY69" fmla="*/ 61581 h 141818"/>
                <a:gd name="connsiteX70" fmla="*/ 209008 w 212544"/>
                <a:gd name="connsiteY70" fmla="*/ 49630 h 141818"/>
                <a:gd name="connsiteX71" fmla="*/ 200716 w 212544"/>
                <a:gd name="connsiteY71" fmla="*/ 49630 h 14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12544" h="141818">
                  <a:moveTo>
                    <a:pt x="200716" y="49630"/>
                  </a:moveTo>
                  <a:lnTo>
                    <a:pt x="196326" y="40972"/>
                  </a:lnTo>
                  <a:lnTo>
                    <a:pt x="188400" y="39387"/>
                  </a:lnTo>
                  <a:lnTo>
                    <a:pt x="189863" y="23901"/>
                  </a:lnTo>
                  <a:lnTo>
                    <a:pt x="185107" y="14267"/>
                  </a:lnTo>
                  <a:lnTo>
                    <a:pt x="193887" y="8414"/>
                  </a:lnTo>
                  <a:lnTo>
                    <a:pt x="193399" y="6463"/>
                  </a:lnTo>
                  <a:lnTo>
                    <a:pt x="188278" y="8536"/>
                  </a:lnTo>
                  <a:lnTo>
                    <a:pt x="175230" y="8536"/>
                  </a:lnTo>
                  <a:lnTo>
                    <a:pt x="170962" y="0"/>
                  </a:lnTo>
                  <a:lnTo>
                    <a:pt x="157426" y="0"/>
                  </a:lnTo>
                  <a:lnTo>
                    <a:pt x="158890" y="17682"/>
                  </a:lnTo>
                  <a:lnTo>
                    <a:pt x="139379" y="25852"/>
                  </a:lnTo>
                  <a:lnTo>
                    <a:pt x="129258" y="18657"/>
                  </a:lnTo>
                  <a:lnTo>
                    <a:pt x="121088" y="20730"/>
                  </a:lnTo>
                  <a:lnTo>
                    <a:pt x="123771" y="28778"/>
                  </a:lnTo>
                  <a:lnTo>
                    <a:pt x="114503" y="33412"/>
                  </a:lnTo>
                  <a:lnTo>
                    <a:pt x="108650" y="21706"/>
                  </a:lnTo>
                  <a:lnTo>
                    <a:pt x="94871" y="25120"/>
                  </a:lnTo>
                  <a:lnTo>
                    <a:pt x="94871" y="41948"/>
                  </a:lnTo>
                  <a:lnTo>
                    <a:pt x="83164" y="28290"/>
                  </a:lnTo>
                  <a:lnTo>
                    <a:pt x="77677" y="27071"/>
                  </a:lnTo>
                  <a:lnTo>
                    <a:pt x="75238" y="29022"/>
                  </a:lnTo>
                  <a:lnTo>
                    <a:pt x="82920" y="34144"/>
                  </a:lnTo>
                  <a:lnTo>
                    <a:pt x="77189" y="43777"/>
                  </a:lnTo>
                  <a:lnTo>
                    <a:pt x="67556" y="46094"/>
                  </a:lnTo>
                  <a:lnTo>
                    <a:pt x="69872" y="50850"/>
                  </a:lnTo>
                  <a:lnTo>
                    <a:pt x="63288" y="57313"/>
                  </a:lnTo>
                  <a:lnTo>
                    <a:pt x="54142" y="51825"/>
                  </a:lnTo>
                  <a:lnTo>
                    <a:pt x="48045" y="32071"/>
                  </a:lnTo>
                  <a:lnTo>
                    <a:pt x="50728" y="18657"/>
                  </a:lnTo>
                  <a:lnTo>
                    <a:pt x="33900" y="4268"/>
                  </a:lnTo>
                  <a:lnTo>
                    <a:pt x="23779" y="4268"/>
                  </a:lnTo>
                  <a:lnTo>
                    <a:pt x="27925" y="13901"/>
                  </a:lnTo>
                  <a:lnTo>
                    <a:pt x="36704" y="26096"/>
                  </a:lnTo>
                  <a:lnTo>
                    <a:pt x="22193" y="30242"/>
                  </a:lnTo>
                  <a:lnTo>
                    <a:pt x="22193" y="30242"/>
                  </a:lnTo>
                  <a:lnTo>
                    <a:pt x="18779" y="23535"/>
                  </a:lnTo>
                  <a:lnTo>
                    <a:pt x="16584" y="22071"/>
                  </a:lnTo>
                  <a:lnTo>
                    <a:pt x="0" y="42436"/>
                  </a:lnTo>
                  <a:lnTo>
                    <a:pt x="853" y="46704"/>
                  </a:lnTo>
                  <a:lnTo>
                    <a:pt x="11950" y="45484"/>
                  </a:lnTo>
                  <a:lnTo>
                    <a:pt x="40119" y="45484"/>
                  </a:lnTo>
                  <a:lnTo>
                    <a:pt x="45972" y="55240"/>
                  </a:lnTo>
                  <a:lnTo>
                    <a:pt x="39021" y="59995"/>
                  </a:lnTo>
                  <a:lnTo>
                    <a:pt x="56703" y="68165"/>
                  </a:lnTo>
                  <a:lnTo>
                    <a:pt x="49630" y="75360"/>
                  </a:lnTo>
                  <a:lnTo>
                    <a:pt x="49630" y="75360"/>
                  </a:lnTo>
                  <a:lnTo>
                    <a:pt x="37436" y="73775"/>
                  </a:lnTo>
                  <a:lnTo>
                    <a:pt x="22193" y="75116"/>
                  </a:lnTo>
                  <a:lnTo>
                    <a:pt x="10975" y="77677"/>
                  </a:lnTo>
                  <a:lnTo>
                    <a:pt x="10243" y="81945"/>
                  </a:lnTo>
                  <a:lnTo>
                    <a:pt x="30607" y="79384"/>
                  </a:lnTo>
                  <a:lnTo>
                    <a:pt x="40972" y="82920"/>
                  </a:lnTo>
                  <a:lnTo>
                    <a:pt x="40972" y="90847"/>
                  </a:lnTo>
                  <a:lnTo>
                    <a:pt x="49630" y="102309"/>
                  </a:lnTo>
                  <a:lnTo>
                    <a:pt x="47801" y="116332"/>
                  </a:lnTo>
                  <a:lnTo>
                    <a:pt x="33534" y="116332"/>
                  </a:lnTo>
                  <a:lnTo>
                    <a:pt x="32802" y="119869"/>
                  </a:lnTo>
                  <a:lnTo>
                    <a:pt x="42192" y="123527"/>
                  </a:lnTo>
                  <a:lnTo>
                    <a:pt x="63775" y="126332"/>
                  </a:lnTo>
                  <a:lnTo>
                    <a:pt x="86335" y="141818"/>
                  </a:lnTo>
                  <a:lnTo>
                    <a:pt x="121576" y="140477"/>
                  </a:lnTo>
                  <a:lnTo>
                    <a:pt x="135721" y="124990"/>
                  </a:lnTo>
                  <a:lnTo>
                    <a:pt x="151329" y="122186"/>
                  </a:lnTo>
                  <a:lnTo>
                    <a:pt x="164133" y="107918"/>
                  </a:lnTo>
                  <a:lnTo>
                    <a:pt x="182059" y="106455"/>
                  </a:lnTo>
                  <a:lnTo>
                    <a:pt x="187546" y="93041"/>
                  </a:lnTo>
                  <a:lnTo>
                    <a:pt x="203155" y="81579"/>
                  </a:lnTo>
                  <a:lnTo>
                    <a:pt x="212544" y="61581"/>
                  </a:lnTo>
                  <a:lnTo>
                    <a:pt x="209008" y="49630"/>
                  </a:lnTo>
                  <a:lnTo>
                    <a:pt x="200716" y="4963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5" name="Freihandform: Form 914">
              <a:extLst>
                <a:ext uri="{FF2B5EF4-FFF2-40B4-BE49-F238E27FC236}">
                  <a16:creationId xmlns:a16="http://schemas.microsoft.com/office/drawing/2014/main" id="{8A79BF05-CB86-4781-9306-F58B1A6BC283}"/>
                </a:ext>
              </a:extLst>
            </p:cNvPr>
            <p:cNvSpPr/>
            <p:nvPr/>
          </p:nvSpPr>
          <p:spPr>
            <a:xfrm>
              <a:off x="4896852" y="2687010"/>
              <a:ext cx="43289" cy="10608"/>
            </a:xfrm>
            <a:custGeom>
              <a:avLst/>
              <a:gdLst>
                <a:gd name="connsiteX0" fmla="*/ 32314 w 43289"/>
                <a:gd name="connsiteY0" fmla="*/ 2926 h 10608"/>
                <a:gd name="connsiteX1" fmla="*/ 27681 w 43289"/>
                <a:gd name="connsiteY1" fmla="*/ 5243 h 10608"/>
                <a:gd name="connsiteX2" fmla="*/ 23047 w 43289"/>
                <a:gd name="connsiteY2" fmla="*/ 2926 h 10608"/>
                <a:gd name="connsiteX3" fmla="*/ 14145 w 43289"/>
                <a:gd name="connsiteY3" fmla="*/ 3658 h 10608"/>
                <a:gd name="connsiteX4" fmla="*/ 10487 w 43289"/>
                <a:gd name="connsiteY4" fmla="*/ 0 h 10608"/>
                <a:gd name="connsiteX5" fmla="*/ 366 w 43289"/>
                <a:gd name="connsiteY5" fmla="*/ 0 h 10608"/>
                <a:gd name="connsiteX6" fmla="*/ 0 w 43289"/>
                <a:gd name="connsiteY6" fmla="*/ 1463 h 10608"/>
                <a:gd name="connsiteX7" fmla="*/ 487 w 43289"/>
                <a:gd name="connsiteY7" fmla="*/ 4512 h 10608"/>
                <a:gd name="connsiteX8" fmla="*/ 11950 w 43289"/>
                <a:gd name="connsiteY8" fmla="*/ 5731 h 10608"/>
                <a:gd name="connsiteX9" fmla="*/ 21096 w 43289"/>
                <a:gd name="connsiteY9" fmla="*/ 9999 h 10608"/>
                <a:gd name="connsiteX10" fmla="*/ 35607 w 43289"/>
                <a:gd name="connsiteY10" fmla="*/ 10609 h 10608"/>
                <a:gd name="connsiteX11" fmla="*/ 39631 w 43289"/>
                <a:gd name="connsiteY11" fmla="*/ 7926 h 10608"/>
                <a:gd name="connsiteX12" fmla="*/ 43289 w 43289"/>
                <a:gd name="connsiteY12" fmla="*/ 7438 h 10608"/>
                <a:gd name="connsiteX13" fmla="*/ 43289 w 43289"/>
                <a:gd name="connsiteY13" fmla="*/ 6341 h 10608"/>
                <a:gd name="connsiteX14" fmla="*/ 37680 w 43289"/>
                <a:gd name="connsiteY14" fmla="*/ 3536 h 10608"/>
                <a:gd name="connsiteX15" fmla="*/ 32314 w 43289"/>
                <a:gd name="connsiteY15" fmla="*/ 2926 h 1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289" h="10608">
                  <a:moveTo>
                    <a:pt x="32314" y="2926"/>
                  </a:moveTo>
                  <a:lnTo>
                    <a:pt x="27681" y="5243"/>
                  </a:lnTo>
                  <a:lnTo>
                    <a:pt x="23047" y="2926"/>
                  </a:lnTo>
                  <a:lnTo>
                    <a:pt x="14145" y="3658"/>
                  </a:lnTo>
                  <a:lnTo>
                    <a:pt x="10487" y="0"/>
                  </a:lnTo>
                  <a:lnTo>
                    <a:pt x="366" y="0"/>
                  </a:lnTo>
                  <a:lnTo>
                    <a:pt x="0" y="1463"/>
                  </a:lnTo>
                  <a:lnTo>
                    <a:pt x="487" y="4512"/>
                  </a:lnTo>
                  <a:lnTo>
                    <a:pt x="11950" y="5731"/>
                  </a:lnTo>
                  <a:lnTo>
                    <a:pt x="21096" y="9999"/>
                  </a:lnTo>
                  <a:lnTo>
                    <a:pt x="35607" y="10609"/>
                  </a:lnTo>
                  <a:lnTo>
                    <a:pt x="39631" y="7926"/>
                  </a:lnTo>
                  <a:lnTo>
                    <a:pt x="43289" y="7438"/>
                  </a:lnTo>
                  <a:lnTo>
                    <a:pt x="43289" y="6341"/>
                  </a:lnTo>
                  <a:lnTo>
                    <a:pt x="37680" y="3536"/>
                  </a:lnTo>
                  <a:lnTo>
                    <a:pt x="32314" y="292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6" name="Freihandform: Form 915">
              <a:extLst>
                <a:ext uri="{FF2B5EF4-FFF2-40B4-BE49-F238E27FC236}">
                  <a16:creationId xmlns:a16="http://schemas.microsoft.com/office/drawing/2014/main" id="{CCD161E0-C113-42BA-9EB6-ADA3D8CFCDDF}"/>
                </a:ext>
              </a:extLst>
            </p:cNvPr>
            <p:cNvSpPr/>
            <p:nvPr/>
          </p:nvSpPr>
          <p:spPr>
            <a:xfrm>
              <a:off x="4808444" y="2506414"/>
              <a:ext cx="31704" cy="70238"/>
            </a:xfrm>
            <a:custGeom>
              <a:avLst/>
              <a:gdLst>
                <a:gd name="connsiteX0" fmla="*/ 24388 w 31704"/>
                <a:gd name="connsiteY0" fmla="*/ 63775 h 70238"/>
                <a:gd name="connsiteX1" fmla="*/ 29266 w 31704"/>
                <a:gd name="connsiteY1" fmla="*/ 55849 h 70238"/>
                <a:gd name="connsiteX2" fmla="*/ 31705 w 31704"/>
                <a:gd name="connsiteY2" fmla="*/ 51703 h 70238"/>
                <a:gd name="connsiteX3" fmla="*/ 29875 w 31704"/>
                <a:gd name="connsiteY3" fmla="*/ 44630 h 70238"/>
                <a:gd name="connsiteX4" fmla="*/ 29388 w 31704"/>
                <a:gd name="connsiteY4" fmla="*/ 42436 h 70238"/>
                <a:gd name="connsiteX5" fmla="*/ 29022 w 31704"/>
                <a:gd name="connsiteY5" fmla="*/ 41582 h 70238"/>
                <a:gd name="connsiteX6" fmla="*/ 22803 w 31704"/>
                <a:gd name="connsiteY6" fmla="*/ 29388 h 70238"/>
                <a:gd name="connsiteX7" fmla="*/ 21827 w 31704"/>
                <a:gd name="connsiteY7" fmla="*/ 27193 h 70238"/>
                <a:gd name="connsiteX8" fmla="*/ 22437 w 31704"/>
                <a:gd name="connsiteY8" fmla="*/ 24876 h 70238"/>
                <a:gd name="connsiteX9" fmla="*/ 25973 w 31704"/>
                <a:gd name="connsiteY9" fmla="*/ 13170 h 70238"/>
                <a:gd name="connsiteX10" fmla="*/ 25730 w 31704"/>
                <a:gd name="connsiteY10" fmla="*/ 12682 h 70238"/>
                <a:gd name="connsiteX11" fmla="*/ 22803 w 31704"/>
                <a:gd name="connsiteY11" fmla="*/ 7438 h 70238"/>
                <a:gd name="connsiteX12" fmla="*/ 20486 w 31704"/>
                <a:gd name="connsiteY12" fmla="*/ 3292 h 70238"/>
                <a:gd name="connsiteX13" fmla="*/ 9877 w 31704"/>
                <a:gd name="connsiteY13" fmla="*/ 0 h 70238"/>
                <a:gd name="connsiteX14" fmla="*/ 4999 w 31704"/>
                <a:gd name="connsiteY14" fmla="*/ 3902 h 70238"/>
                <a:gd name="connsiteX15" fmla="*/ 2439 w 31704"/>
                <a:gd name="connsiteY15" fmla="*/ 8414 h 70238"/>
                <a:gd name="connsiteX16" fmla="*/ 732 w 31704"/>
                <a:gd name="connsiteY16" fmla="*/ 11340 h 70238"/>
                <a:gd name="connsiteX17" fmla="*/ 0 w 31704"/>
                <a:gd name="connsiteY17" fmla="*/ 12560 h 70238"/>
                <a:gd name="connsiteX18" fmla="*/ 5853 w 31704"/>
                <a:gd name="connsiteY18" fmla="*/ 19876 h 70238"/>
                <a:gd name="connsiteX19" fmla="*/ 6950 w 31704"/>
                <a:gd name="connsiteY19" fmla="*/ 30241 h 70238"/>
                <a:gd name="connsiteX20" fmla="*/ 4024 w 31704"/>
                <a:gd name="connsiteY20" fmla="*/ 42436 h 70238"/>
                <a:gd name="connsiteX21" fmla="*/ 6707 w 31704"/>
                <a:gd name="connsiteY21" fmla="*/ 58532 h 70238"/>
                <a:gd name="connsiteX22" fmla="*/ 16218 w 31704"/>
                <a:gd name="connsiteY22" fmla="*/ 70238 h 70238"/>
                <a:gd name="connsiteX23" fmla="*/ 20730 w 31704"/>
                <a:gd name="connsiteY23" fmla="*/ 66702 h 70238"/>
                <a:gd name="connsiteX24" fmla="*/ 24388 w 31704"/>
                <a:gd name="connsiteY24" fmla="*/ 63775 h 7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704" h="70238">
                  <a:moveTo>
                    <a:pt x="24388" y="63775"/>
                  </a:moveTo>
                  <a:lnTo>
                    <a:pt x="29266" y="55849"/>
                  </a:lnTo>
                  <a:lnTo>
                    <a:pt x="31705" y="51703"/>
                  </a:lnTo>
                  <a:lnTo>
                    <a:pt x="29875" y="44630"/>
                  </a:lnTo>
                  <a:lnTo>
                    <a:pt x="29388" y="42436"/>
                  </a:lnTo>
                  <a:lnTo>
                    <a:pt x="29022" y="41582"/>
                  </a:lnTo>
                  <a:lnTo>
                    <a:pt x="22803" y="29388"/>
                  </a:lnTo>
                  <a:lnTo>
                    <a:pt x="21827" y="27193"/>
                  </a:lnTo>
                  <a:lnTo>
                    <a:pt x="22437" y="24876"/>
                  </a:lnTo>
                  <a:lnTo>
                    <a:pt x="25973" y="13170"/>
                  </a:lnTo>
                  <a:lnTo>
                    <a:pt x="25730" y="12682"/>
                  </a:lnTo>
                  <a:lnTo>
                    <a:pt x="22803" y="7438"/>
                  </a:lnTo>
                  <a:lnTo>
                    <a:pt x="20486" y="3292"/>
                  </a:lnTo>
                  <a:lnTo>
                    <a:pt x="9877" y="0"/>
                  </a:lnTo>
                  <a:lnTo>
                    <a:pt x="4999" y="3902"/>
                  </a:lnTo>
                  <a:lnTo>
                    <a:pt x="2439" y="8414"/>
                  </a:lnTo>
                  <a:lnTo>
                    <a:pt x="732" y="11340"/>
                  </a:lnTo>
                  <a:lnTo>
                    <a:pt x="0" y="12560"/>
                  </a:lnTo>
                  <a:lnTo>
                    <a:pt x="5853" y="19876"/>
                  </a:lnTo>
                  <a:lnTo>
                    <a:pt x="6950" y="30241"/>
                  </a:lnTo>
                  <a:lnTo>
                    <a:pt x="4024" y="42436"/>
                  </a:lnTo>
                  <a:lnTo>
                    <a:pt x="6707" y="58532"/>
                  </a:lnTo>
                  <a:lnTo>
                    <a:pt x="16218" y="70238"/>
                  </a:lnTo>
                  <a:lnTo>
                    <a:pt x="20730" y="66702"/>
                  </a:lnTo>
                  <a:lnTo>
                    <a:pt x="24388" y="6377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4052780A-47E7-4496-BDDE-53EA2500E226}"/>
                </a:ext>
              </a:extLst>
            </p:cNvPr>
            <p:cNvSpPr/>
            <p:nvPr/>
          </p:nvSpPr>
          <p:spPr>
            <a:xfrm>
              <a:off x="4477617" y="2251068"/>
              <a:ext cx="63531" cy="48288"/>
            </a:xfrm>
            <a:custGeom>
              <a:avLst/>
              <a:gdLst>
                <a:gd name="connsiteX0" fmla="*/ 20608 w 63531"/>
                <a:gd name="connsiteY0" fmla="*/ 27071 h 48288"/>
                <a:gd name="connsiteX1" fmla="*/ 29388 w 63531"/>
                <a:gd name="connsiteY1" fmla="*/ 33168 h 48288"/>
                <a:gd name="connsiteX2" fmla="*/ 37924 w 63531"/>
                <a:gd name="connsiteY2" fmla="*/ 36095 h 48288"/>
                <a:gd name="connsiteX3" fmla="*/ 41704 w 63531"/>
                <a:gd name="connsiteY3" fmla="*/ 37802 h 48288"/>
                <a:gd name="connsiteX4" fmla="*/ 50484 w 63531"/>
                <a:gd name="connsiteY4" fmla="*/ 41704 h 48288"/>
                <a:gd name="connsiteX5" fmla="*/ 51094 w 63531"/>
                <a:gd name="connsiteY5" fmla="*/ 41948 h 48288"/>
                <a:gd name="connsiteX6" fmla="*/ 51703 w 63531"/>
                <a:gd name="connsiteY6" fmla="*/ 42436 h 48288"/>
                <a:gd name="connsiteX7" fmla="*/ 59508 w 63531"/>
                <a:gd name="connsiteY7" fmla="*/ 48289 h 48288"/>
                <a:gd name="connsiteX8" fmla="*/ 59263 w 63531"/>
                <a:gd name="connsiteY8" fmla="*/ 45850 h 48288"/>
                <a:gd name="connsiteX9" fmla="*/ 59263 w 63531"/>
                <a:gd name="connsiteY9" fmla="*/ 45362 h 48288"/>
                <a:gd name="connsiteX10" fmla="*/ 59386 w 63531"/>
                <a:gd name="connsiteY10" fmla="*/ 44996 h 48288"/>
                <a:gd name="connsiteX11" fmla="*/ 59873 w 63531"/>
                <a:gd name="connsiteY11" fmla="*/ 38656 h 48288"/>
                <a:gd name="connsiteX12" fmla="*/ 59995 w 63531"/>
                <a:gd name="connsiteY12" fmla="*/ 37070 h 48288"/>
                <a:gd name="connsiteX13" fmla="*/ 60117 w 63531"/>
                <a:gd name="connsiteY13" fmla="*/ 35607 h 48288"/>
                <a:gd name="connsiteX14" fmla="*/ 60849 w 63531"/>
                <a:gd name="connsiteY14" fmla="*/ 34388 h 48288"/>
                <a:gd name="connsiteX15" fmla="*/ 62434 w 63531"/>
                <a:gd name="connsiteY15" fmla="*/ 31949 h 48288"/>
                <a:gd name="connsiteX16" fmla="*/ 63531 w 63531"/>
                <a:gd name="connsiteY16" fmla="*/ 30242 h 48288"/>
                <a:gd name="connsiteX17" fmla="*/ 62922 w 63531"/>
                <a:gd name="connsiteY17" fmla="*/ 18657 h 48288"/>
                <a:gd name="connsiteX18" fmla="*/ 62678 w 63531"/>
                <a:gd name="connsiteY18" fmla="*/ 18535 h 48288"/>
                <a:gd name="connsiteX19" fmla="*/ 61092 w 63531"/>
                <a:gd name="connsiteY19" fmla="*/ 23291 h 48288"/>
                <a:gd name="connsiteX20" fmla="*/ 54142 w 63531"/>
                <a:gd name="connsiteY20" fmla="*/ 14267 h 48288"/>
                <a:gd name="connsiteX21" fmla="*/ 51947 w 63531"/>
                <a:gd name="connsiteY21" fmla="*/ 11463 h 48288"/>
                <a:gd name="connsiteX22" fmla="*/ 50972 w 63531"/>
                <a:gd name="connsiteY22" fmla="*/ 10121 h 48288"/>
                <a:gd name="connsiteX23" fmla="*/ 50728 w 63531"/>
                <a:gd name="connsiteY23" fmla="*/ 8536 h 48288"/>
                <a:gd name="connsiteX24" fmla="*/ 49874 w 63531"/>
                <a:gd name="connsiteY24" fmla="*/ 976 h 48288"/>
                <a:gd name="connsiteX25" fmla="*/ 42558 w 63531"/>
                <a:gd name="connsiteY25" fmla="*/ 488 h 48288"/>
                <a:gd name="connsiteX26" fmla="*/ 42192 w 63531"/>
                <a:gd name="connsiteY26" fmla="*/ 488 h 48288"/>
                <a:gd name="connsiteX27" fmla="*/ 41704 w 63531"/>
                <a:gd name="connsiteY27" fmla="*/ 366 h 48288"/>
                <a:gd name="connsiteX28" fmla="*/ 39753 w 63531"/>
                <a:gd name="connsiteY28" fmla="*/ 0 h 48288"/>
                <a:gd name="connsiteX29" fmla="*/ 23291 w 63531"/>
                <a:gd name="connsiteY29" fmla="*/ 5122 h 48288"/>
                <a:gd name="connsiteX30" fmla="*/ 22437 w 63531"/>
                <a:gd name="connsiteY30" fmla="*/ 5487 h 48288"/>
                <a:gd name="connsiteX31" fmla="*/ 21461 w 63531"/>
                <a:gd name="connsiteY31" fmla="*/ 5731 h 48288"/>
                <a:gd name="connsiteX32" fmla="*/ 9755 w 63531"/>
                <a:gd name="connsiteY32" fmla="*/ 9512 h 48288"/>
                <a:gd name="connsiteX33" fmla="*/ 12194 w 63531"/>
                <a:gd name="connsiteY33" fmla="*/ 5243 h 48288"/>
                <a:gd name="connsiteX34" fmla="*/ 6950 w 63531"/>
                <a:gd name="connsiteY34" fmla="*/ 3171 h 48288"/>
                <a:gd name="connsiteX35" fmla="*/ 5853 w 63531"/>
                <a:gd name="connsiteY35" fmla="*/ 4634 h 48288"/>
                <a:gd name="connsiteX36" fmla="*/ 0 w 63531"/>
                <a:gd name="connsiteY36" fmla="*/ 8780 h 48288"/>
                <a:gd name="connsiteX37" fmla="*/ 11828 w 63531"/>
                <a:gd name="connsiteY37" fmla="*/ 20974 h 48288"/>
                <a:gd name="connsiteX38" fmla="*/ 20608 w 63531"/>
                <a:gd name="connsiteY38" fmla="*/ 27071 h 4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3531" h="48288">
                  <a:moveTo>
                    <a:pt x="20608" y="27071"/>
                  </a:moveTo>
                  <a:lnTo>
                    <a:pt x="29388" y="33168"/>
                  </a:lnTo>
                  <a:lnTo>
                    <a:pt x="37924" y="36095"/>
                  </a:lnTo>
                  <a:lnTo>
                    <a:pt x="41704" y="37802"/>
                  </a:lnTo>
                  <a:lnTo>
                    <a:pt x="50484" y="41704"/>
                  </a:lnTo>
                  <a:lnTo>
                    <a:pt x="51094" y="41948"/>
                  </a:lnTo>
                  <a:lnTo>
                    <a:pt x="51703" y="42436"/>
                  </a:lnTo>
                  <a:lnTo>
                    <a:pt x="59508" y="48289"/>
                  </a:lnTo>
                  <a:lnTo>
                    <a:pt x="59263" y="45850"/>
                  </a:lnTo>
                  <a:lnTo>
                    <a:pt x="59263" y="45362"/>
                  </a:lnTo>
                  <a:lnTo>
                    <a:pt x="59386" y="44996"/>
                  </a:lnTo>
                  <a:lnTo>
                    <a:pt x="59873" y="38656"/>
                  </a:lnTo>
                  <a:lnTo>
                    <a:pt x="59995" y="37070"/>
                  </a:lnTo>
                  <a:lnTo>
                    <a:pt x="60117" y="35607"/>
                  </a:lnTo>
                  <a:lnTo>
                    <a:pt x="60849" y="34388"/>
                  </a:lnTo>
                  <a:lnTo>
                    <a:pt x="62434" y="31949"/>
                  </a:lnTo>
                  <a:lnTo>
                    <a:pt x="63531" y="30242"/>
                  </a:lnTo>
                  <a:lnTo>
                    <a:pt x="62922" y="18657"/>
                  </a:lnTo>
                  <a:lnTo>
                    <a:pt x="62678" y="18535"/>
                  </a:lnTo>
                  <a:lnTo>
                    <a:pt x="61092" y="23291"/>
                  </a:lnTo>
                  <a:lnTo>
                    <a:pt x="54142" y="14267"/>
                  </a:lnTo>
                  <a:lnTo>
                    <a:pt x="51947" y="11463"/>
                  </a:lnTo>
                  <a:lnTo>
                    <a:pt x="50972" y="10121"/>
                  </a:lnTo>
                  <a:lnTo>
                    <a:pt x="50728" y="8536"/>
                  </a:lnTo>
                  <a:lnTo>
                    <a:pt x="49874" y="976"/>
                  </a:lnTo>
                  <a:lnTo>
                    <a:pt x="42558" y="488"/>
                  </a:lnTo>
                  <a:lnTo>
                    <a:pt x="42192" y="488"/>
                  </a:lnTo>
                  <a:lnTo>
                    <a:pt x="41704" y="366"/>
                  </a:lnTo>
                  <a:lnTo>
                    <a:pt x="39753" y="0"/>
                  </a:lnTo>
                  <a:lnTo>
                    <a:pt x="23291" y="5122"/>
                  </a:lnTo>
                  <a:lnTo>
                    <a:pt x="22437" y="5487"/>
                  </a:lnTo>
                  <a:lnTo>
                    <a:pt x="21461" y="5731"/>
                  </a:lnTo>
                  <a:lnTo>
                    <a:pt x="9755" y="9512"/>
                  </a:lnTo>
                  <a:lnTo>
                    <a:pt x="12194" y="5243"/>
                  </a:lnTo>
                  <a:lnTo>
                    <a:pt x="6950" y="3171"/>
                  </a:lnTo>
                  <a:lnTo>
                    <a:pt x="5853" y="4634"/>
                  </a:lnTo>
                  <a:lnTo>
                    <a:pt x="0" y="8780"/>
                  </a:lnTo>
                  <a:lnTo>
                    <a:pt x="11828" y="20974"/>
                  </a:lnTo>
                  <a:lnTo>
                    <a:pt x="20608" y="2707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5D1B82FB-F29C-4EA0-9CA3-13F4679287B7}"/>
                </a:ext>
              </a:extLst>
            </p:cNvPr>
            <p:cNvSpPr/>
            <p:nvPr/>
          </p:nvSpPr>
          <p:spPr>
            <a:xfrm>
              <a:off x="4792592" y="2405568"/>
              <a:ext cx="86700" cy="108284"/>
            </a:xfrm>
            <a:custGeom>
              <a:avLst/>
              <a:gdLst>
                <a:gd name="connsiteX0" fmla="*/ 24023 w 86700"/>
                <a:gd name="connsiteY0" fmla="*/ 92066 h 108284"/>
                <a:gd name="connsiteX1" fmla="*/ 27071 w 86700"/>
                <a:gd name="connsiteY1" fmla="*/ 93042 h 108284"/>
                <a:gd name="connsiteX2" fmla="*/ 39387 w 86700"/>
                <a:gd name="connsiteY2" fmla="*/ 96700 h 108284"/>
                <a:gd name="connsiteX3" fmla="*/ 41704 w 86700"/>
                <a:gd name="connsiteY3" fmla="*/ 97431 h 108284"/>
                <a:gd name="connsiteX4" fmla="*/ 42923 w 86700"/>
                <a:gd name="connsiteY4" fmla="*/ 99504 h 108284"/>
                <a:gd name="connsiteX5" fmla="*/ 46216 w 86700"/>
                <a:gd name="connsiteY5" fmla="*/ 105358 h 108284"/>
                <a:gd name="connsiteX6" fmla="*/ 47557 w 86700"/>
                <a:gd name="connsiteY6" fmla="*/ 107918 h 108284"/>
                <a:gd name="connsiteX7" fmla="*/ 59386 w 86700"/>
                <a:gd name="connsiteY7" fmla="*/ 100358 h 108284"/>
                <a:gd name="connsiteX8" fmla="*/ 59995 w 86700"/>
                <a:gd name="connsiteY8" fmla="*/ 99992 h 108284"/>
                <a:gd name="connsiteX9" fmla="*/ 60727 w 86700"/>
                <a:gd name="connsiteY9" fmla="*/ 99748 h 108284"/>
                <a:gd name="connsiteX10" fmla="*/ 68165 w 86700"/>
                <a:gd name="connsiteY10" fmla="*/ 97187 h 108284"/>
                <a:gd name="connsiteX11" fmla="*/ 79872 w 86700"/>
                <a:gd name="connsiteY11" fmla="*/ 93285 h 108284"/>
                <a:gd name="connsiteX12" fmla="*/ 80238 w 86700"/>
                <a:gd name="connsiteY12" fmla="*/ 93285 h 108284"/>
                <a:gd name="connsiteX13" fmla="*/ 86701 w 86700"/>
                <a:gd name="connsiteY13" fmla="*/ 80238 h 108284"/>
                <a:gd name="connsiteX14" fmla="*/ 78408 w 86700"/>
                <a:gd name="connsiteY14" fmla="*/ 72068 h 108284"/>
                <a:gd name="connsiteX15" fmla="*/ 75360 w 86700"/>
                <a:gd name="connsiteY15" fmla="*/ 68897 h 108284"/>
                <a:gd name="connsiteX16" fmla="*/ 77311 w 86700"/>
                <a:gd name="connsiteY16" fmla="*/ 64995 h 108284"/>
                <a:gd name="connsiteX17" fmla="*/ 82554 w 86700"/>
                <a:gd name="connsiteY17" fmla="*/ 54630 h 108284"/>
                <a:gd name="connsiteX18" fmla="*/ 80725 w 86700"/>
                <a:gd name="connsiteY18" fmla="*/ 52679 h 108284"/>
                <a:gd name="connsiteX19" fmla="*/ 73897 w 86700"/>
                <a:gd name="connsiteY19" fmla="*/ 44875 h 108284"/>
                <a:gd name="connsiteX20" fmla="*/ 49996 w 86700"/>
                <a:gd name="connsiteY20" fmla="*/ 41094 h 108284"/>
                <a:gd name="connsiteX21" fmla="*/ 45240 w 86700"/>
                <a:gd name="connsiteY21" fmla="*/ 40363 h 108284"/>
                <a:gd name="connsiteX22" fmla="*/ 44874 w 86700"/>
                <a:gd name="connsiteY22" fmla="*/ 35485 h 108284"/>
                <a:gd name="connsiteX23" fmla="*/ 43655 w 86700"/>
                <a:gd name="connsiteY23" fmla="*/ 15487 h 108284"/>
                <a:gd name="connsiteX24" fmla="*/ 36948 w 86700"/>
                <a:gd name="connsiteY24" fmla="*/ 4024 h 108284"/>
                <a:gd name="connsiteX25" fmla="*/ 35607 w 86700"/>
                <a:gd name="connsiteY25" fmla="*/ 1707 h 108284"/>
                <a:gd name="connsiteX26" fmla="*/ 34997 w 86700"/>
                <a:gd name="connsiteY26" fmla="*/ 732 h 108284"/>
                <a:gd name="connsiteX27" fmla="*/ 32071 w 86700"/>
                <a:gd name="connsiteY27" fmla="*/ 0 h 108284"/>
                <a:gd name="connsiteX28" fmla="*/ 12072 w 86700"/>
                <a:gd name="connsiteY28" fmla="*/ 6219 h 108284"/>
                <a:gd name="connsiteX29" fmla="*/ 10731 w 86700"/>
                <a:gd name="connsiteY29" fmla="*/ 9024 h 108284"/>
                <a:gd name="connsiteX30" fmla="*/ 13779 w 86700"/>
                <a:gd name="connsiteY30" fmla="*/ 19876 h 108284"/>
                <a:gd name="connsiteX31" fmla="*/ 14999 w 86700"/>
                <a:gd name="connsiteY31" fmla="*/ 24144 h 108284"/>
                <a:gd name="connsiteX32" fmla="*/ 14999 w 86700"/>
                <a:gd name="connsiteY32" fmla="*/ 24144 h 108284"/>
                <a:gd name="connsiteX33" fmla="*/ 15974 w 86700"/>
                <a:gd name="connsiteY33" fmla="*/ 27681 h 108284"/>
                <a:gd name="connsiteX34" fmla="*/ 17194 w 86700"/>
                <a:gd name="connsiteY34" fmla="*/ 31827 h 108284"/>
                <a:gd name="connsiteX35" fmla="*/ 17194 w 86700"/>
                <a:gd name="connsiteY35" fmla="*/ 31827 h 108284"/>
                <a:gd name="connsiteX36" fmla="*/ 20120 w 86700"/>
                <a:gd name="connsiteY36" fmla="*/ 42801 h 108284"/>
                <a:gd name="connsiteX37" fmla="*/ 20364 w 86700"/>
                <a:gd name="connsiteY37" fmla="*/ 43411 h 108284"/>
                <a:gd name="connsiteX38" fmla="*/ 20364 w 86700"/>
                <a:gd name="connsiteY38" fmla="*/ 44021 h 108284"/>
                <a:gd name="connsiteX39" fmla="*/ 21706 w 86700"/>
                <a:gd name="connsiteY39" fmla="*/ 68531 h 108284"/>
                <a:gd name="connsiteX40" fmla="*/ 21828 w 86700"/>
                <a:gd name="connsiteY40" fmla="*/ 70848 h 108284"/>
                <a:gd name="connsiteX41" fmla="*/ 20364 w 86700"/>
                <a:gd name="connsiteY41" fmla="*/ 72677 h 108284"/>
                <a:gd name="connsiteX42" fmla="*/ 14999 w 86700"/>
                <a:gd name="connsiteY42" fmla="*/ 79506 h 108284"/>
                <a:gd name="connsiteX43" fmla="*/ 5488 w 86700"/>
                <a:gd name="connsiteY43" fmla="*/ 91578 h 108284"/>
                <a:gd name="connsiteX44" fmla="*/ 732 w 86700"/>
                <a:gd name="connsiteY44" fmla="*/ 98651 h 108284"/>
                <a:gd name="connsiteX45" fmla="*/ 366 w 86700"/>
                <a:gd name="connsiteY45" fmla="*/ 99260 h 108284"/>
                <a:gd name="connsiteX46" fmla="*/ 244 w 86700"/>
                <a:gd name="connsiteY46" fmla="*/ 100358 h 108284"/>
                <a:gd name="connsiteX47" fmla="*/ 0 w 86700"/>
                <a:gd name="connsiteY47" fmla="*/ 102553 h 108284"/>
                <a:gd name="connsiteX48" fmla="*/ 122 w 86700"/>
                <a:gd name="connsiteY48" fmla="*/ 102553 h 108284"/>
                <a:gd name="connsiteX49" fmla="*/ 9756 w 86700"/>
                <a:gd name="connsiteY49" fmla="*/ 108284 h 108284"/>
                <a:gd name="connsiteX50" fmla="*/ 11340 w 86700"/>
                <a:gd name="connsiteY50" fmla="*/ 105236 h 108284"/>
                <a:gd name="connsiteX51" fmla="*/ 14145 w 86700"/>
                <a:gd name="connsiteY51" fmla="*/ 100480 h 108284"/>
                <a:gd name="connsiteX52" fmla="*/ 14755 w 86700"/>
                <a:gd name="connsiteY52" fmla="*/ 99504 h 108284"/>
                <a:gd name="connsiteX53" fmla="*/ 15609 w 86700"/>
                <a:gd name="connsiteY53" fmla="*/ 98773 h 108284"/>
                <a:gd name="connsiteX54" fmla="*/ 21462 w 86700"/>
                <a:gd name="connsiteY54" fmla="*/ 94017 h 108284"/>
                <a:gd name="connsiteX55" fmla="*/ 24023 w 86700"/>
                <a:gd name="connsiteY55" fmla="*/ 92066 h 10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86700" h="108284">
                  <a:moveTo>
                    <a:pt x="24023" y="92066"/>
                  </a:moveTo>
                  <a:lnTo>
                    <a:pt x="27071" y="93042"/>
                  </a:lnTo>
                  <a:lnTo>
                    <a:pt x="39387" y="96700"/>
                  </a:lnTo>
                  <a:lnTo>
                    <a:pt x="41704" y="97431"/>
                  </a:lnTo>
                  <a:lnTo>
                    <a:pt x="42923" y="99504"/>
                  </a:lnTo>
                  <a:lnTo>
                    <a:pt x="46216" y="105358"/>
                  </a:lnTo>
                  <a:lnTo>
                    <a:pt x="47557" y="107918"/>
                  </a:lnTo>
                  <a:lnTo>
                    <a:pt x="59386" y="100358"/>
                  </a:lnTo>
                  <a:lnTo>
                    <a:pt x="59995" y="99992"/>
                  </a:lnTo>
                  <a:lnTo>
                    <a:pt x="60727" y="99748"/>
                  </a:lnTo>
                  <a:lnTo>
                    <a:pt x="68165" y="97187"/>
                  </a:lnTo>
                  <a:lnTo>
                    <a:pt x="79872" y="93285"/>
                  </a:lnTo>
                  <a:lnTo>
                    <a:pt x="80238" y="93285"/>
                  </a:lnTo>
                  <a:lnTo>
                    <a:pt x="86701" y="80238"/>
                  </a:lnTo>
                  <a:lnTo>
                    <a:pt x="78408" y="72068"/>
                  </a:lnTo>
                  <a:lnTo>
                    <a:pt x="75360" y="68897"/>
                  </a:lnTo>
                  <a:lnTo>
                    <a:pt x="77311" y="64995"/>
                  </a:lnTo>
                  <a:lnTo>
                    <a:pt x="82554" y="54630"/>
                  </a:lnTo>
                  <a:lnTo>
                    <a:pt x="80725" y="52679"/>
                  </a:lnTo>
                  <a:lnTo>
                    <a:pt x="73897" y="44875"/>
                  </a:lnTo>
                  <a:lnTo>
                    <a:pt x="49996" y="41094"/>
                  </a:lnTo>
                  <a:lnTo>
                    <a:pt x="45240" y="40363"/>
                  </a:lnTo>
                  <a:lnTo>
                    <a:pt x="44874" y="35485"/>
                  </a:lnTo>
                  <a:lnTo>
                    <a:pt x="43655" y="15487"/>
                  </a:lnTo>
                  <a:lnTo>
                    <a:pt x="36948" y="4024"/>
                  </a:lnTo>
                  <a:lnTo>
                    <a:pt x="35607" y="1707"/>
                  </a:lnTo>
                  <a:lnTo>
                    <a:pt x="34997" y="732"/>
                  </a:lnTo>
                  <a:lnTo>
                    <a:pt x="32071" y="0"/>
                  </a:lnTo>
                  <a:lnTo>
                    <a:pt x="12072" y="6219"/>
                  </a:lnTo>
                  <a:lnTo>
                    <a:pt x="10731" y="9024"/>
                  </a:lnTo>
                  <a:lnTo>
                    <a:pt x="13779" y="19876"/>
                  </a:lnTo>
                  <a:lnTo>
                    <a:pt x="14999" y="24144"/>
                  </a:lnTo>
                  <a:lnTo>
                    <a:pt x="14999" y="24144"/>
                  </a:lnTo>
                  <a:lnTo>
                    <a:pt x="15974" y="27681"/>
                  </a:lnTo>
                  <a:lnTo>
                    <a:pt x="17194" y="31827"/>
                  </a:lnTo>
                  <a:lnTo>
                    <a:pt x="17194" y="31827"/>
                  </a:lnTo>
                  <a:lnTo>
                    <a:pt x="20120" y="42801"/>
                  </a:lnTo>
                  <a:lnTo>
                    <a:pt x="20364" y="43411"/>
                  </a:lnTo>
                  <a:lnTo>
                    <a:pt x="20364" y="44021"/>
                  </a:lnTo>
                  <a:lnTo>
                    <a:pt x="21706" y="68531"/>
                  </a:lnTo>
                  <a:lnTo>
                    <a:pt x="21828" y="70848"/>
                  </a:lnTo>
                  <a:lnTo>
                    <a:pt x="20364" y="72677"/>
                  </a:lnTo>
                  <a:lnTo>
                    <a:pt x="14999" y="79506"/>
                  </a:lnTo>
                  <a:lnTo>
                    <a:pt x="5488" y="91578"/>
                  </a:lnTo>
                  <a:lnTo>
                    <a:pt x="732" y="98651"/>
                  </a:lnTo>
                  <a:lnTo>
                    <a:pt x="366" y="99260"/>
                  </a:lnTo>
                  <a:lnTo>
                    <a:pt x="244" y="100358"/>
                  </a:lnTo>
                  <a:lnTo>
                    <a:pt x="0" y="102553"/>
                  </a:lnTo>
                  <a:lnTo>
                    <a:pt x="122" y="102553"/>
                  </a:lnTo>
                  <a:lnTo>
                    <a:pt x="9756" y="108284"/>
                  </a:lnTo>
                  <a:lnTo>
                    <a:pt x="11340" y="105236"/>
                  </a:lnTo>
                  <a:lnTo>
                    <a:pt x="14145" y="100480"/>
                  </a:lnTo>
                  <a:lnTo>
                    <a:pt x="14755" y="99504"/>
                  </a:lnTo>
                  <a:lnTo>
                    <a:pt x="15609" y="98773"/>
                  </a:lnTo>
                  <a:lnTo>
                    <a:pt x="21462" y="94017"/>
                  </a:lnTo>
                  <a:lnTo>
                    <a:pt x="24023" y="92066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6E253EA8-12E6-4543-8C69-E6503F6E5690}"/>
                </a:ext>
              </a:extLst>
            </p:cNvPr>
            <p:cNvSpPr/>
            <p:nvPr/>
          </p:nvSpPr>
          <p:spPr>
            <a:xfrm>
              <a:off x="4503346" y="2185342"/>
              <a:ext cx="57678" cy="70726"/>
            </a:xfrm>
            <a:custGeom>
              <a:avLst/>
              <a:gdLst>
                <a:gd name="connsiteX0" fmla="*/ 854 w 57678"/>
                <a:gd name="connsiteY0" fmla="*/ 59020 h 70726"/>
                <a:gd name="connsiteX1" fmla="*/ 5488 w 57678"/>
                <a:gd name="connsiteY1" fmla="*/ 59020 h 70726"/>
                <a:gd name="connsiteX2" fmla="*/ 8048 w 57678"/>
                <a:gd name="connsiteY2" fmla="*/ 57678 h 70726"/>
                <a:gd name="connsiteX3" fmla="*/ 9999 w 57678"/>
                <a:gd name="connsiteY3" fmla="*/ 56703 h 70726"/>
                <a:gd name="connsiteX4" fmla="*/ 12194 w 57678"/>
                <a:gd name="connsiteY4" fmla="*/ 57069 h 70726"/>
                <a:gd name="connsiteX5" fmla="*/ 17438 w 57678"/>
                <a:gd name="connsiteY5" fmla="*/ 58288 h 70726"/>
                <a:gd name="connsiteX6" fmla="*/ 26217 w 57678"/>
                <a:gd name="connsiteY6" fmla="*/ 58898 h 70726"/>
                <a:gd name="connsiteX7" fmla="*/ 27559 w 57678"/>
                <a:gd name="connsiteY7" fmla="*/ 59020 h 70726"/>
                <a:gd name="connsiteX8" fmla="*/ 35119 w 57678"/>
                <a:gd name="connsiteY8" fmla="*/ 59020 h 70726"/>
                <a:gd name="connsiteX9" fmla="*/ 31339 w 57678"/>
                <a:gd name="connsiteY9" fmla="*/ 60239 h 70726"/>
                <a:gd name="connsiteX10" fmla="*/ 31827 w 57678"/>
                <a:gd name="connsiteY10" fmla="*/ 64263 h 70726"/>
                <a:gd name="connsiteX11" fmla="*/ 32680 w 57678"/>
                <a:gd name="connsiteY11" fmla="*/ 70726 h 70726"/>
                <a:gd name="connsiteX12" fmla="*/ 32924 w 57678"/>
                <a:gd name="connsiteY12" fmla="*/ 69385 h 70726"/>
                <a:gd name="connsiteX13" fmla="*/ 33046 w 57678"/>
                <a:gd name="connsiteY13" fmla="*/ 68775 h 70726"/>
                <a:gd name="connsiteX14" fmla="*/ 33290 w 57678"/>
                <a:gd name="connsiteY14" fmla="*/ 68165 h 70726"/>
                <a:gd name="connsiteX15" fmla="*/ 38046 w 57678"/>
                <a:gd name="connsiteY15" fmla="*/ 58288 h 70726"/>
                <a:gd name="connsiteX16" fmla="*/ 36217 w 57678"/>
                <a:gd name="connsiteY16" fmla="*/ 55483 h 70726"/>
                <a:gd name="connsiteX17" fmla="*/ 34388 w 57678"/>
                <a:gd name="connsiteY17" fmla="*/ 52557 h 70726"/>
                <a:gd name="connsiteX18" fmla="*/ 35973 w 57678"/>
                <a:gd name="connsiteY18" fmla="*/ 49508 h 70726"/>
                <a:gd name="connsiteX19" fmla="*/ 38046 w 57678"/>
                <a:gd name="connsiteY19" fmla="*/ 45362 h 70726"/>
                <a:gd name="connsiteX20" fmla="*/ 38656 w 57678"/>
                <a:gd name="connsiteY20" fmla="*/ 44021 h 70726"/>
                <a:gd name="connsiteX21" fmla="*/ 39875 w 57678"/>
                <a:gd name="connsiteY21" fmla="*/ 43167 h 70726"/>
                <a:gd name="connsiteX22" fmla="*/ 54386 w 57678"/>
                <a:gd name="connsiteY22" fmla="*/ 32437 h 70726"/>
                <a:gd name="connsiteX23" fmla="*/ 55484 w 57678"/>
                <a:gd name="connsiteY23" fmla="*/ 23169 h 70726"/>
                <a:gd name="connsiteX24" fmla="*/ 53410 w 57678"/>
                <a:gd name="connsiteY24" fmla="*/ 18657 h 70726"/>
                <a:gd name="connsiteX25" fmla="*/ 52313 w 57678"/>
                <a:gd name="connsiteY25" fmla="*/ 16218 h 70726"/>
                <a:gd name="connsiteX26" fmla="*/ 53410 w 57678"/>
                <a:gd name="connsiteY26" fmla="*/ 13657 h 70726"/>
                <a:gd name="connsiteX27" fmla="*/ 57679 w 57678"/>
                <a:gd name="connsiteY27" fmla="*/ 4146 h 70726"/>
                <a:gd name="connsiteX28" fmla="*/ 55605 w 57678"/>
                <a:gd name="connsiteY28" fmla="*/ 1707 h 70726"/>
                <a:gd name="connsiteX29" fmla="*/ 54142 w 57678"/>
                <a:gd name="connsiteY29" fmla="*/ 0 h 70726"/>
                <a:gd name="connsiteX30" fmla="*/ 38168 w 57678"/>
                <a:gd name="connsiteY30" fmla="*/ 732 h 70726"/>
                <a:gd name="connsiteX31" fmla="*/ 29144 w 57678"/>
                <a:gd name="connsiteY31" fmla="*/ 6585 h 70726"/>
                <a:gd name="connsiteX32" fmla="*/ 28413 w 57678"/>
                <a:gd name="connsiteY32" fmla="*/ 11950 h 70726"/>
                <a:gd name="connsiteX33" fmla="*/ 35973 w 57678"/>
                <a:gd name="connsiteY33" fmla="*/ 17560 h 70726"/>
                <a:gd name="connsiteX34" fmla="*/ 34753 w 57678"/>
                <a:gd name="connsiteY34" fmla="*/ 27315 h 70726"/>
                <a:gd name="connsiteX35" fmla="*/ 22437 w 57678"/>
                <a:gd name="connsiteY35" fmla="*/ 35973 h 70726"/>
                <a:gd name="connsiteX36" fmla="*/ 22437 w 57678"/>
                <a:gd name="connsiteY36" fmla="*/ 35973 h 70726"/>
                <a:gd name="connsiteX37" fmla="*/ 22437 w 57678"/>
                <a:gd name="connsiteY37" fmla="*/ 35973 h 70726"/>
                <a:gd name="connsiteX38" fmla="*/ 18169 w 57678"/>
                <a:gd name="connsiteY38" fmla="*/ 25852 h 70726"/>
                <a:gd name="connsiteX39" fmla="*/ 22681 w 57678"/>
                <a:gd name="connsiteY39" fmla="*/ 19511 h 70726"/>
                <a:gd name="connsiteX40" fmla="*/ 21584 w 57678"/>
                <a:gd name="connsiteY40" fmla="*/ 18047 h 70726"/>
                <a:gd name="connsiteX41" fmla="*/ 15487 w 57678"/>
                <a:gd name="connsiteY41" fmla="*/ 19389 h 70726"/>
                <a:gd name="connsiteX42" fmla="*/ 9024 w 57678"/>
                <a:gd name="connsiteY42" fmla="*/ 35851 h 70726"/>
                <a:gd name="connsiteX43" fmla="*/ 854 w 57678"/>
                <a:gd name="connsiteY43" fmla="*/ 46826 h 70726"/>
                <a:gd name="connsiteX44" fmla="*/ 0 w 57678"/>
                <a:gd name="connsiteY44" fmla="*/ 54264 h 70726"/>
                <a:gd name="connsiteX45" fmla="*/ 976 w 57678"/>
                <a:gd name="connsiteY45" fmla="*/ 58532 h 70726"/>
                <a:gd name="connsiteX46" fmla="*/ 854 w 57678"/>
                <a:gd name="connsiteY46" fmla="*/ 59020 h 70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7678" h="70726">
                  <a:moveTo>
                    <a:pt x="854" y="59020"/>
                  </a:moveTo>
                  <a:lnTo>
                    <a:pt x="5488" y="59020"/>
                  </a:lnTo>
                  <a:lnTo>
                    <a:pt x="8048" y="57678"/>
                  </a:lnTo>
                  <a:lnTo>
                    <a:pt x="9999" y="56703"/>
                  </a:lnTo>
                  <a:lnTo>
                    <a:pt x="12194" y="57069"/>
                  </a:lnTo>
                  <a:lnTo>
                    <a:pt x="17438" y="58288"/>
                  </a:lnTo>
                  <a:lnTo>
                    <a:pt x="26217" y="58898"/>
                  </a:lnTo>
                  <a:lnTo>
                    <a:pt x="27559" y="59020"/>
                  </a:lnTo>
                  <a:lnTo>
                    <a:pt x="35119" y="59020"/>
                  </a:lnTo>
                  <a:lnTo>
                    <a:pt x="31339" y="60239"/>
                  </a:lnTo>
                  <a:lnTo>
                    <a:pt x="31827" y="64263"/>
                  </a:lnTo>
                  <a:lnTo>
                    <a:pt x="32680" y="70726"/>
                  </a:lnTo>
                  <a:lnTo>
                    <a:pt x="32924" y="69385"/>
                  </a:lnTo>
                  <a:lnTo>
                    <a:pt x="33046" y="68775"/>
                  </a:lnTo>
                  <a:lnTo>
                    <a:pt x="33290" y="68165"/>
                  </a:lnTo>
                  <a:lnTo>
                    <a:pt x="38046" y="58288"/>
                  </a:lnTo>
                  <a:lnTo>
                    <a:pt x="36217" y="55483"/>
                  </a:lnTo>
                  <a:lnTo>
                    <a:pt x="34388" y="52557"/>
                  </a:lnTo>
                  <a:lnTo>
                    <a:pt x="35973" y="49508"/>
                  </a:lnTo>
                  <a:lnTo>
                    <a:pt x="38046" y="45362"/>
                  </a:lnTo>
                  <a:lnTo>
                    <a:pt x="38656" y="44021"/>
                  </a:lnTo>
                  <a:lnTo>
                    <a:pt x="39875" y="43167"/>
                  </a:lnTo>
                  <a:lnTo>
                    <a:pt x="54386" y="32437"/>
                  </a:lnTo>
                  <a:lnTo>
                    <a:pt x="55484" y="23169"/>
                  </a:lnTo>
                  <a:lnTo>
                    <a:pt x="53410" y="18657"/>
                  </a:lnTo>
                  <a:lnTo>
                    <a:pt x="52313" y="16218"/>
                  </a:lnTo>
                  <a:lnTo>
                    <a:pt x="53410" y="13657"/>
                  </a:lnTo>
                  <a:lnTo>
                    <a:pt x="57679" y="4146"/>
                  </a:lnTo>
                  <a:lnTo>
                    <a:pt x="55605" y="1707"/>
                  </a:lnTo>
                  <a:lnTo>
                    <a:pt x="54142" y="0"/>
                  </a:lnTo>
                  <a:lnTo>
                    <a:pt x="38168" y="732"/>
                  </a:lnTo>
                  <a:lnTo>
                    <a:pt x="29144" y="6585"/>
                  </a:lnTo>
                  <a:lnTo>
                    <a:pt x="28413" y="11950"/>
                  </a:lnTo>
                  <a:lnTo>
                    <a:pt x="35973" y="17560"/>
                  </a:lnTo>
                  <a:lnTo>
                    <a:pt x="34753" y="27315"/>
                  </a:lnTo>
                  <a:lnTo>
                    <a:pt x="22437" y="35973"/>
                  </a:lnTo>
                  <a:lnTo>
                    <a:pt x="22437" y="35973"/>
                  </a:lnTo>
                  <a:lnTo>
                    <a:pt x="22437" y="35973"/>
                  </a:lnTo>
                  <a:lnTo>
                    <a:pt x="18169" y="25852"/>
                  </a:lnTo>
                  <a:lnTo>
                    <a:pt x="22681" y="19511"/>
                  </a:lnTo>
                  <a:lnTo>
                    <a:pt x="21584" y="18047"/>
                  </a:lnTo>
                  <a:lnTo>
                    <a:pt x="15487" y="19389"/>
                  </a:lnTo>
                  <a:lnTo>
                    <a:pt x="9024" y="35851"/>
                  </a:lnTo>
                  <a:lnTo>
                    <a:pt x="854" y="46826"/>
                  </a:lnTo>
                  <a:lnTo>
                    <a:pt x="0" y="54264"/>
                  </a:lnTo>
                  <a:lnTo>
                    <a:pt x="976" y="58532"/>
                  </a:lnTo>
                  <a:lnTo>
                    <a:pt x="854" y="5902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A270ECA7-7B7F-4590-82C7-372D9DBB03BB}"/>
                </a:ext>
              </a:extLst>
            </p:cNvPr>
            <p:cNvSpPr/>
            <p:nvPr/>
          </p:nvSpPr>
          <p:spPr>
            <a:xfrm>
              <a:off x="4597607" y="2499219"/>
              <a:ext cx="11340" cy="29753"/>
            </a:xfrm>
            <a:custGeom>
              <a:avLst/>
              <a:gdLst>
                <a:gd name="connsiteX0" fmla="*/ 6585 w 11340"/>
                <a:gd name="connsiteY0" fmla="*/ 27803 h 29753"/>
                <a:gd name="connsiteX1" fmla="*/ 11340 w 11340"/>
                <a:gd name="connsiteY1" fmla="*/ 6341 h 29753"/>
                <a:gd name="connsiteX2" fmla="*/ 10121 w 11340"/>
                <a:gd name="connsiteY2" fmla="*/ 0 h 29753"/>
                <a:gd name="connsiteX3" fmla="*/ 10121 w 11340"/>
                <a:gd name="connsiteY3" fmla="*/ 122 h 29753"/>
                <a:gd name="connsiteX4" fmla="*/ 1829 w 11340"/>
                <a:gd name="connsiteY4" fmla="*/ 5609 h 29753"/>
                <a:gd name="connsiteX5" fmla="*/ 0 w 11340"/>
                <a:gd name="connsiteY5" fmla="*/ 11585 h 29753"/>
                <a:gd name="connsiteX6" fmla="*/ 610 w 11340"/>
                <a:gd name="connsiteY6" fmla="*/ 26096 h 29753"/>
                <a:gd name="connsiteX7" fmla="*/ 3902 w 11340"/>
                <a:gd name="connsiteY7" fmla="*/ 29754 h 29753"/>
                <a:gd name="connsiteX8" fmla="*/ 6585 w 11340"/>
                <a:gd name="connsiteY8" fmla="*/ 27803 h 29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40" h="29753">
                  <a:moveTo>
                    <a:pt x="6585" y="27803"/>
                  </a:moveTo>
                  <a:lnTo>
                    <a:pt x="11340" y="6341"/>
                  </a:lnTo>
                  <a:lnTo>
                    <a:pt x="10121" y="0"/>
                  </a:lnTo>
                  <a:lnTo>
                    <a:pt x="10121" y="122"/>
                  </a:lnTo>
                  <a:lnTo>
                    <a:pt x="1829" y="5609"/>
                  </a:lnTo>
                  <a:lnTo>
                    <a:pt x="0" y="11585"/>
                  </a:lnTo>
                  <a:lnTo>
                    <a:pt x="610" y="26096"/>
                  </a:lnTo>
                  <a:lnTo>
                    <a:pt x="3902" y="29754"/>
                  </a:lnTo>
                  <a:lnTo>
                    <a:pt x="6585" y="2780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09B3592D-CC51-495F-B55F-4B34CCA29796}"/>
                </a:ext>
              </a:extLst>
            </p:cNvPr>
            <p:cNvSpPr/>
            <p:nvPr/>
          </p:nvSpPr>
          <p:spPr>
            <a:xfrm>
              <a:off x="4543099" y="2140101"/>
              <a:ext cx="175352" cy="228884"/>
            </a:xfrm>
            <a:custGeom>
              <a:avLst/>
              <a:gdLst>
                <a:gd name="connsiteX0" fmla="*/ 44752 w 175352"/>
                <a:gd name="connsiteY0" fmla="*/ 190595 h 228884"/>
                <a:gd name="connsiteX1" fmla="*/ 39875 w 175352"/>
                <a:gd name="connsiteY1" fmla="*/ 202789 h 228884"/>
                <a:gd name="connsiteX2" fmla="*/ 38168 w 175352"/>
                <a:gd name="connsiteY2" fmla="*/ 209008 h 228884"/>
                <a:gd name="connsiteX3" fmla="*/ 35729 w 175352"/>
                <a:gd name="connsiteY3" fmla="*/ 218032 h 228884"/>
                <a:gd name="connsiteX4" fmla="*/ 35973 w 175352"/>
                <a:gd name="connsiteY4" fmla="*/ 217910 h 228884"/>
                <a:gd name="connsiteX5" fmla="*/ 37070 w 175352"/>
                <a:gd name="connsiteY5" fmla="*/ 217666 h 228884"/>
                <a:gd name="connsiteX6" fmla="*/ 48411 w 175352"/>
                <a:gd name="connsiteY6" fmla="*/ 215105 h 228884"/>
                <a:gd name="connsiteX7" fmla="*/ 51215 w 175352"/>
                <a:gd name="connsiteY7" fmla="*/ 214495 h 228884"/>
                <a:gd name="connsiteX8" fmla="*/ 53532 w 175352"/>
                <a:gd name="connsiteY8" fmla="*/ 216203 h 228884"/>
                <a:gd name="connsiteX9" fmla="*/ 64873 w 175352"/>
                <a:gd name="connsiteY9" fmla="*/ 225104 h 228884"/>
                <a:gd name="connsiteX10" fmla="*/ 69141 w 175352"/>
                <a:gd name="connsiteY10" fmla="*/ 226080 h 228884"/>
                <a:gd name="connsiteX11" fmla="*/ 71945 w 175352"/>
                <a:gd name="connsiteY11" fmla="*/ 226811 h 228884"/>
                <a:gd name="connsiteX12" fmla="*/ 74994 w 175352"/>
                <a:gd name="connsiteY12" fmla="*/ 227543 h 228884"/>
                <a:gd name="connsiteX13" fmla="*/ 75726 w 175352"/>
                <a:gd name="connsiteY13" fmla="*/ 227665 h 228884"/>
                <a:gd name="connsiteX14" fmla="*/ 91212 w 175352"/>
                <a:gd name="connsiteY14" fmla="*/ 228884 h 228884"/>
                <a:gd name="connsiteX15" fmla="*/ 100236 w 175352"/>
                <a:gd name="connsiteY15" fmla="*/ 227177 h 228884"/>
                <a:gd name="connsiteX16" fmla="*/ 110967 w 175352"/>
                <a:gd name="connsiteY16" fmla="*/ 224982 h 228884"/>
                <a:gd name="connsiteX17" fmla="*/ 122917 w 175352"/>
                <a:gd name="connsiteY17" fmla="*/ 218519 h 228884"/>
                <a:gd name="connsiteX18" fmla="*/ 124868 w 175352"/>
                <a:gd name="connsiteY18" fmla="*/ 217422 h 228884"/>
                <a:gd name="connsiteX19" fmla="*/ 126941 w 175352"/>
                <a:gd name="connsiteY19" fmla="*/ 217910 h 228884"/>
                <a:gd name="connsiteX20" fmla="*/ 138038 w 175352"/>
                <a:gd name="connsiteY20" fmla="*/ 220105 h 228884"/>
                <a:gd name="connsiteX21" fmla="*/ 140964 w 175352"/>
                <a:gd name="connsiteY21" fmla="*/ 216325 h 228884"/>
                <a:gd name="connsiteX22" fmla="*/ 138891 w 175352"/>
                <a:gd name="connsiteY22" fmla="*/ 206813 h 228884"/>
                <a:gd name="connsiteX23" fmla="*/ 138038 w 175352"/>
                <a:gd name="connsiteY23" fmla="*/ 202911 h 228884"/>
                <a:gd name="connsiteX24" fmla="*/ 141208 w 175352"/>
                <a:gd name="connsiteY24" fmla="*/ 200594 h 228884"/>
                <a:gd name="connsiteX25" fmla="*/ 150476 w 175352"/>
                <a:gd name="connsiteY25" fmla="*/ 193643 h 228884"/>
                <a:gd name="connsiteX26" fmla="*/ 151451 w 175352"/>
                <a:gd name="connsiteY26" fmla="*/ 190717 h 228884"/>
                <a:gd name="connsiteX27" fmla="*/ 151939 w 175352"/>
                <a:gd name="connsiteY27" fmla="*/ 189010 h 228884"/>
                <a:gd name="connsiteX28" fmla="*/ 126453 w 175352"/>
                <a:gd name="connsiteY28" fmla="*/ 168523 h 228884"/>
                <a:gd name="connsiteX29" fmla="*/ 124624 w 175352"/>
                <a:gd name="connsiteY29" fmla="*/ 167182 h 228884"/>
                <a:gd name="connsiteX30" fmla="*/ 124259 w 175352"/>
                <a:gd name="connsiteY30" fmla="*/ 164987 h 228884"/>
                <a:gd name="connsiteX31" fmla="*/ 120478 w 175352"/>
                <a:gd name="connsiteY31" fmla="*/ 145964 h 228884"/>
                <a:gd name="connsiteX32" fmla="*/ 119503 w 175352"/>
                <a:gd name="connsiteY32" fmla="*/ 141574 h 228884"/>
                <a:gd name="connsiteX33" fmla="*/ 123527 w 175352"/>
                <a:gd name="connsiteY33" fmla="*/ 139379 h 228884"/>
                <a:gd name="connsiteX34" fmla="*/ 148769 w 175352"/>
                <a:gd name="connsiteY34" fmla="*/ 125600 h 228884"/>
                <a:gd name="connsiteX35" fmla="*/ 152427 w 175352"/>
                <a:gd name="connsiteY35" fmla="*/ 123649 h 228884"/>
                <a:gd name="connsiteX36" fmla="*/ 157061 w 175352"/>
                <a:gd name="connsiteY36" fmla="*/ 116820 h 228884"/>
                <a:gd name="connsiteX37" fmla="*/ 158646 w 175352"/>
                <a:gd name="connsiteY37" fmla="*/ 114259 h 228884"/>
                <a:gd name="connsiteX38" fmla="*/ 161695 w 175352"/>
                <a:gd name="connsiteY38" fmla="*/ 114137 h 228884"/>
                <a:gd name="connsiteX39" fmla="*/ 175352 w 175352"/>
                <a:gd name="connsiteY39" fmla="*/ 113040 h 228884"/>
                <a:gd name="connsiteX40" fmla="*/ 172304 w 175352"/>
                <a:gd name="connsiteY40" fmla="*/ 103529 h 228884"/>
                <a:gd name="connsiteX41" fmla="*/ 160109 w 175352"/>
                <a:gd name="connsiteY41" fmla="*/ 65970 h 228884"/>
                <a:gd name="connsiteX42" fmla="*/ 159744 w 175352"/>
                <a:gd name="connsiteY42" fmla="*/ 64629 h 228884"/>
                <a:gd name="connsiteX43" fmla="*/ 159865 w 175352"/>
                <a:gd name="connsiteY43" fmla="*/ 63288 h 228884"/>
                <a:gd name="connsiteX44" fmla="*/ 162548 w 175352"/>
                <a:gd name="connsiteY44" fmla="*/ 40363 h 228884"/>
                <a:gd name="connsiteX45" fmla="*/ 161329 w 175352"/>
                <a:gd name="connsiteY45" fmla="*/ 34753 h 228884"/>
                <a:gd name="connsiteX46" fmla="*/ 159744 w 175352"/>
                <a:gd name="connsiteY46" fmla="*/ 27437 h 228884"/>
                <a:gd name="connsiteX47" fmla="*/ 158768 w 175352"/>
                <a:gd name="connsiteY47" fmla="*/ 23291 h 228884"/>
                <a:gd name="connsiteX48" fmla="*/ 153402 w 175352"/>
                <a:gd name="connsiteY48" fmla="*/ 17316 h 228884"/>
                <a:gd name="connsiteX49" fmla="*/ 147549 w 175352"/>
                <a:gd name="connsiteY49" fmla="*/ 14389 h 228884"/>
                <a:gd name="connsiteX50" fmla="*/ 146330 w 175352"/>
                <a:gd name="connsiteY50" fmla="*/ 3780 h 228884"/>
                <a:gd name="connsiteX51" fmla="*/ 126575 w 175352"/>
                <a:gd name="connsiteY51" fmla="*/ 9024 h 228884"/>
                <a:gd name="connsiteX52" fmla="*/ 116820 w 175352"/>
                <a:gd name="connsiteY52" fmla="*/ 18657 h 228884"/>
                <a:gd name="connsiteX53" fmla="*/ 99017 w 175352"/>
                <a:gd name="connsiteY53" fmla="*/ 17682 h 228884"/>
                <a:gd name="connsiteX54" fmla="*/ 94139 w 175352"/>
                <a:gd name="connsiteY54" fmla="*/ 12804 h 228884"/>
                <a:gd name="connsiteX55" fmla="*/ 80725 w 175352"/>
                <a:gd name="connsiteY55" fmla="*/ 10975 h 228884"/>
                <a:gd name="connsiteX56" fmla="*/ 74628 w 175352"/>
                <a:gd name="connsiteY56" fmla="*/ 976 h 228884"/>
                <a:gd name="connsiteX57" fmla="*/ 70604 w 175352"/>
                <a:gd name="connsiteY57" fmla="*/ 732 h 228884"/>
                <a:gd name="connsiteX58" fmla="*/ 60239 w 175352"/>
                <a:gd name="connsiteY58" fmla="*/ 0 h 228884"/>
                <a:gd name="connsiteX59" fmla="*/ 58410 w 175352"/>
                <a:gd name="connsiteY59" fmla="*/ 488 h 228884"/>
                <a:gd name="connsiteX60" fmla="*/ 54752 w 175352"/>
                <a:gd name="connsiteY60" fmla="*/ 1341 h 228884"/>
                <a:gd name="connsiteX61" fmla="*/ 58532 w 175352"/>
                <a:gd name="connsiteY61" fmla="*/ 13414 h 228884"/>
                <a:gd name="connsiteX62" fmla="*/ 57556 w 175352"/>
                <a:gd name="connsiteY62" fmla="*/ 28047 h 228884"/>
                <a:gd name="connsiteX63" fmla="*/ 49142 w 175352"/>
                <a:gd name="connsiteY63" fmla="*/ 34266 h 228884"/>
                <a:gd name="connsiteX64" fmla="*/ 42435 w 175352"/>
                <a:gd name="connsiteY64" fmla="*/ 38777 h 228884"/>
                <a:gd name="connsiteX65" fmla="*/ 35119 w 175352"/>
                <a:gd name="connsiteY65" fmla="*/ 35607 h 228884"/>
                <a:gd name="connsiteX66" fmla="*/ 26217 w 175352"/>
                <a:gd name="connsiteY66" fmla="*/ 35607 h 228884"/>
                <a:gd name="connsiteX67" fmla="*/ 21584 w 175352"/>
                <a:gd name="connsiteY67" fmla="*/ 41460 h 228884"/>
                <a:gd name="connsiteX68" fmla="*/ 24754 w 175352"/>
                <a:gd name="connsiteY68" fmla="*/ 44996 h 228884"/>
                <a:gd name="connsiteX69" fmla="*/ 27315 w 175352"/>
                <a:gd name="connsiteY69" fmla="*/ 47923 h 228884"/>
                <a:gd name="connsiteX70" fmla="*/ 25730 w 175352"/>
                <a:gd name="connsiteY70" fmla="*/ 51459 h 228884"/>
                <a:gd name="connsiteX71" fmla="*/ 21340 w 175352"/>
                <a:gd name="connsiteY71" fmla="*/ 61459 h 228884"/>
                <a:gd name="connsiteX72" fmla="*/ 23169 w 175352"/>
                <a:gd name="connsiteY72" fmla="*/ 65605 h 228884"/>
                <a:gd name="connsiteX73" fmla="*/ 23900 w 175352"/>
                <a:gd name="connsiteY73" fmla="*/ 67190 h 228884"/>
                <a:gd name="connsiteX74" fmla="*/ 23657 w 175352"/>
                <a:gd name="connsiteY74" fmla="*/ 68897 h 228884"/>
                <a:gd name="connsiteX75" fmla="*/ 22437 w 175352"/>
                <a:gd name="connsiteY75" fmla="*/ 79384 h 228884"/>
                <a:gd name="connsiteX76" fmla="*/ 22071 w 175352"/>
                <a:gd name="connsiteY76" fmla="*/ 82067 h 228884"/>
                <a:gd name="connsiteX77" fmla="*/ 19998 w 175352"/>
                <a:gd name="connsiteY77" fmla="*/ 83652 h 228884"/>
                <a:gd name="connsiteX78" fmla="*/ 5243 w 175352"/>
                <a:gd name="connsiteY78" fmla="*/ 94505 h 228884"/>
                <a:gd name="connsiteX79" fmla="*/ 3780 w 175352"/>
                <a:gd name="connsiteY79" fmla="*/ 97309 h 228884"/>
                <a:gd name="connsiteX80" fmla="*/ 7317 w 175352"/>
                <a:gd name="connsiteY80" fmla="*/ 102919 h 228884"/>
                <a:gd name="connsiteX81" fmla="*/ 5853 w 175352"/>
                <a:gd name="connsiteY81" fmla="*/ 105967 h 228884"/>
                <a:gd name="connsiteX82" fmla="*/ 975 w 175352"/>
                <a:gd name="connsiteY82" fmla="*/ 116454 h 228884"/>
                <a:gd name="connsiteX83" fmla="*/ 0 w 175352"/>
                <a:gd name="connsiteY83" fmla="*/ 120600 h 228884"/>
                <a:gd name="connsiteX84" fmla="*/ 1097 w 175352"/>
                <a:gd name="connsiteY84" fmla="*/ 121820 h 228884"/>
                <a:gd name="connsiteX85" fmla="*/ 3780 w 175352"/>
                <a:gd name="connsiteY85" fmla="*/ 124868 h 228884"/>
                <a:gd name="connsiteX86" fmla="*/ 5243 w 175352"/>
                <a:gd name="connsiteY86" fmla="*/ 126454 h 228884"/>
                <a:gd name="connsiteX87" fmla="*/ 5365 w 175352"/>
                <a:gd name="connsiteY87" fmla="*/ 128648 h 228884"/>
                <a:gd name="connsiteX88" fmla="*/ 5975 w 175352"/>
                <a:gd name="connsiteY88" fmla="*/ 140965 h 228884"/>
                <a:gd name="connsiteX89" fmla="*/ 7195 w 175352"/>
                <a:gd name="connsiteY89" fmla="*/ 142916 h 228884"/>
                <a:gd name="connsiteX90" fmla="*/ 11584 w 175352"/>
                <a:gd name="connsiteY90" fmla="*/ 149622 h 228884"/>
                <a:gd name="connsiteX91" fmla="*/ 12194 w 175352"/>
                <a:gd name="connsiteY91" fmla="*/ 150598 h 228884"/>
                <a:gd name="connsiteX92" fmla="*/ 12438 w 175352"/>
                <a:gd name="connsiteY92" fmla="*/ 151817 h 228884"/>
                <a:gd name="connsiteX93" fmla="*/ 15243 w 175352"/>
                <a:gd name="connsiteY93" fmla="*/ 166694 h 228884"/>
                <a:gd name="connsiteX94" fmla="*/ 15365 w 175352"/>
                <a:gd name="connsiteY94" fmla="*/ 166816 h 228884"/>
                <a:gd name="connsiteX95" fmla="*/ 29022 w 175352"/>
                <a:gd name="connsiteY95" fmla="*/ 167914 h 228884"/>
                <a:gd name="connsiteX96" fmla="*/ 30485 w 175352"/>
                <a:gd name="connsiteY96" fmla="*/ 168036 h 228884"/>
                <a:gd name="connsiteX97" fmla="*/ 31095 w 175352"/>
                <a:gd name="connsiteY97" fmla="*/ 168036 h 228884"/>
                <a:gd name="connsiteX98" fmla="*/ 31705 w 175352"/>
                <a:gd name="connsiteY98" fmla="*/ 168158 h 228884"/>
                <a:gd name="connsiteX99" fmla="*/ 44752 w 175352"/>
                <a:gd name="connsiteY99" fmla="*/ 171816 h 228884"/>
                <a:gd name="connsiteX100" fmla="*/ 51337 w 175352"/>
                <a:gd name="connsiteY100" fmla="*/ 173523 h 228884"/>
                <a:gd name="connsiteX101" fmla="*/ 48899 w 175352"/>
                <a:gd name="connsiteY101" fmla="*/ 179864 h 228884"/>
                <a:gd name="connsiteX102" fmla="*/ 44752 w 175352"/>
                <a:gd name="connsiteY102" fmla="*/ 190595 h 22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175352" h="228884">
                  <a:moveTo>
                    <a:pt x="44752" y="190595"/>
                  </a:moveTo>
                  <a:lnTo>
                    <a:pt x="39875" y="202789"/>
                  </a:lnTo>
                  <a:lnTo>
                    <a:pt x="38168" y="209008"/>
                  </a:lnTo>
                  <a:lnTo>
                    <a:pt x="35729" y="218032"/>
                  </a:lnTo>
                  <a:lnTo>
                    <a:pt x="35973" y="217910"/>
                  </a:lnTo>
                  <a:lnTo>
                    <a:pt x="37070" y="217666"/>
                  </a:lnTo>
                  <a:lnTo>
                    <a:pt x="48411" y="215105"/>
                  </a:lnTo>
                  <a:lnTo>
                    <a:pt x="51215" y="214495"/>
                  </a:lnTo>
                  <a:lnTo>
                    <a:pt x="53532" y="216203"/>
                  </a:lnTo>
                  <a:lnTo>
                    <a:pt x="64873" y="225104"/>
                  </a:lnTo>
                  <a:lnTo>
                    <a:pt x="69141" y="226080"/>
                  </a:lnTo>
                  <a:lnTo>
                    <a:pt x="71945" y="226811"/>
                  </a:lnTo>
                  <a:lnTo>
                    <a:pt x="74994" y="227543"/>
                  </a:lnTo>
                  <a:lnTo>
                    <a:pt x="75726" y="227665"/>
                  </a:lnTo>
                  <a:lnTo>
                    <a:pt x="91212" y="228884"/>
                  </a:lnTo>
                  <a:lnTo>
                    <a:pt x="100236" y="227177"/>
                  </a:lnTo>
                  <a:lnTo>
                    <a:pt x="110967" y="224982"/>
                  </a:lnTo>
                  <a:lnTo>
                    <a:pt x="122917" y="218519"/>
                  </a:lnTo>
                  <a:lnTo>
                    <a:pt x="124868" y="217422"/>
                  </a:lnTo>
                  <a:lnTo>
                    <a:pt x="126941" y="217910"/>
                  </a:lnTo>
                  <a:lnTo>
                    <a:pt x="138038" y="220105"/>
                  </a:lnTo>
                  <a:lnTo>
                    <a:pt x="140964" y="216325"/>
                  </a:lnTo>
                  <a:lnTo>
                    <a:pt x="138891" y="206813"/>
                  </a:lnTo>
                  <a:lnTo>
                    <a:pt x="138038" y="202911"/>
                  </a:lnTo>
                  <a:lnTo>
                    <a:pt x="141208" y="200594"/>
                  </a:lnTo>
                  <a:lnTo>
                    <a:pt x="150476" y="193643"/>
                  </a:lnTo>
                  <a:lnTo>
                    <a:pt x="151451" y="190717"/>
                  </a:lnTo>
                  <a:lnTo>
                    <a:pt x="151939" y="189010"/>
                  </a:lnTo>
                  <a:lnTo>
                    <a:pt x="126453" y="168523"/>
                  </a:lnTo>
                  <a:lnTo>
                    <a:pt x="124624" y="167182"/>
                  </a:lnTo>
                  <a:lnTo>
                    <a:pt x="124259" y="164987"/>
                  </a:lnTo>
                  <a:lnTo>
                    <a:pt x="120478" y="145964"/>
                  </a:lnTo>
                  <a:lnTo>
                    <a:pt x="119503" y="141574"/>
                  </a:lnTo>
                  <a:lnTo>
                    <a:pt x="123527" y="139379"/>
                  </a:lnTo>
                  <a:lnTo>
                    <a:pt x="148769" y="125600"/>
                  </a:lnTo>
                  <a:lnTo>
                    <a:pt x="152427" y="123649"/>
                  </a:lnTo>
                  <a:lnTo>
                    <a:pt x="157061" y="116820"/>
                  </a:lnTo>
                  <a:lnTo>
                    <a:pt x="158646" y="114259"/>
                  </a:lnTo>
                  <a:lnTo>
                    <a:pt x="161695" y="114137"/>
                  </a:lnTo>
                  <a:lnTo>
                    <a:pt x="175352" y="113040"/>
                  </a:lnTo>
                  <a:lnTo>
                    <a:pt x="172304" y="103529"/>
                  </a:lnTo>
                  <a:lnTo>
                    <a:pt x="160109" y="65970"/>
                  </a:lnTo>
                  <a:lnTo>
                    <a:pt x="159744" y="64629"/>
                  </a:lnTo>
                  <a:lnTo>
                    <a:pt x="159865" y="63288"/>
                  </a:lnTo>
                  <a:lnTo>
                    <a:pt x="162548" y="40363"/>
                  </a:lnTo>
                  <a:lnTo>
                    <a:pt x="161329" y="34753"/>
                  </a:lnTo>
                  <a:lnTo>
                    <a:pt x="159744" y="27437"/>
                  </a:lnTo>
                  <a:lnTo>
                    <a:pt x="158768" y="23291"/>
                  </a:lnTo>
                  <a:lnTo>
                    <a:pt x="153402" y="17316"/>
                  </a:lnTo>
                  <a:lnTo>
                    <a:pt x="147549" y="14389"/>
                  </a:lnTo>
                  <a:lnTo>
                    <a:pt x="146330" y="3780"/>
                  </a:lnTo>
                  <a:lnTo>
                    <a:pt x="126575" y="9024"/>
                  </a:lnTo>
                  <a:lnTo>
                    <a:pt x="116820" y="18657"/>
                  </a:lnTo>
                  <a:lnTo>
                    <a:pt x="99017" y="17682"/>
                  </a:lnTo>
                  <a:lnTo>
                    <a:pt x="94139" y="12804"/>
                  </a:lnTo>
                  <a:lnTo>
                    <a:pt x="80725" y="10975"/>
                  </a:lnTo>
                  <a:lnTo>
                    <a:pt x="74628" y="976"/>
                  </a:lnTo>
                  <a:lnTo>
                    <a:pt x="70604" y="732"/>
                  </a:lnTo>
                  <a:lnTo>
                    <a:pt x="60239" y="0"/>
                  </a:lnTo>
                  <a:lnTo>
                    <a:pt x="58410" y="488"/>
                  </a:lnTo>
                  <a:lnTo>
                    <a:pt x="54752" y="1341"/>
                  </a:lnTo>
                  <a:lnTo>
                    <a:pt x="58532" y="13414"/>
                  </a:lnTo>
                  <a:lnTo>
                    <a:pt x="57556" y="28047"/>
                  </a:lnTo>
                  <a:lnTo>
                    <a:pt x="49142" y="34266"/>
                  </a:lnTo>
                  <a:lnTo>
                    <a:pt x="42435" y="38777"/>
                  </a:lnTo>
                  <a:lnTo>
                    <a:pt x="35119" y="35607"/>
                  </a:lnTo>
                  <a:lnTo>
                    <a:pt x="26217" y="35607"/>
                  </a:lnTo>
                  <a:lnTo>
                    <a:pt x="21584" y="41460"/>
                  </a:lnTo>
                  <a:lnTo>
                    <a:pt x="24754" y="44996"/>
                  </a:lnTo>
                  <a:lnTo>
                    <a:pt x="27315" y="47923"/>
                  </a:lnTo>
                  <a:lnTo>
                    <a:pt x="25730" y="51459"/>
                  </a:lnTo>
                  <a:lnTo>
                    <a:pt x="21340" y="61459"/>
                  </a:lnTo>
                  <a:lnTo>
                    <a:pt x="23169" y="65605"/>
                  </a:lnTo>
                  <a:lnTo>
                    <a:pt x="23900" y="67190"/>
                  </a:lnTo>
                  <a:lnTo>
                    <a:pt x="23657" y="68897"/>
                  </a:lnTo>
                  <a:lnTo>
                    <a:pt x="22437" y="79384"/>
                  </a:lnTo>
                  <a:lnTo>
                    <a:pt x="22071" y="82067"/>
                  </a:lnTo>
                  <a:lnTo>
                    <a:pt x="19998" y="83652"/>
                  </a:lnTo>
                  <a:lnTo>
                    <a:pt x="5243" y="94505"/>
                  </a:lnTo>
                  <a:lnTo>
                    <a:pt x="3780" y="97309"/>
                  </a:lnTo>
                  <a:lnTo>
                    <a:pt x="7317" y="102919"/>
                  </a:lnTo>
                  <a:lnTo>
                    <a:pt x="5853" y="105967"/>
                  </a:lnTo>
                  <a:lnTo>
                    <a:pt x="975" y="116454"/>
                  </a:lnTo>
                  <a:lnTo>
                    <a:pt x="0" y="120600"/>
                  </a:lnTo>
                  <a:lnTo>
                    <a:pt x="1097" y="121820"/>
                  </a:lnTo>
                  <a:lnTo>
                    <a:pt x="3780" y="124868"/>
                  </a:lnTo>
                  <a:lnTo>
                    <a:pt x="5243" y="126454"/>
                  </a:lnTo>
                  <a:lnTo>
                    <a:pt x="5365" y="128648"/>
                  </a:lnTo>
                  <a:lnTo>
                    <a:pt x="5975" y="140965"/>
                  </a:lnTo>
                  <a:lnTo>
                    <a:pt x="7195" y="142916"/>
                  </a:lnTo>
                  <a:lnTo>
                    <a:pt x="11584" y="149622"/>
                  </a:lnTo>
                  <a:lnTo>
                    <a:pt x="12194" y="150598"/>
                  </a:lnTo>
                  <a:lnTo>
                    <a:pt x="12438" y="151817"/>
                  </a:lnTo>
                  <a:lnTo>
                    <a:pt x="15243" y="166694"/>
                  </a:lnTo>
                  <a:lnTo>
                    <a:pt x="15365" y="166816"/>
                  </a:lnTo>
                  <a:lnTo>
                    <a:pt x="29022" y="167914"/>
                  </a:lnTo>
                  <a:lnTo>
                    <a:pt x="30485" y="168036"/>
                  </a:lnTo>
                  <a:lnTo>
                    <a:pt x="31095" y="168036"/>
                  </a:lnTo>
                  <a:lnTo>
                    <a:pt x="31705" y="168158"/>
                  </a:lnTo>
                  <a:lnTo>
                    <a:pt x="44752" y="171816"/>
                  </a:lnTo>
                  <a:lnTo>
                    <a:pt x="51337" y="173523"/>
                  </a:lnTo>
                  <a:lnTo>
                    <a:pt x="48899" y="179864"/>
                  </a:lnTo>
                  <a:lnTo>
                    <a:pt x="44752" y="19059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BFF2D095-4F95-4C8A-BD90-A0A297C6DF80}"/>
                </a:ext>
              </a:extLst>
            </p:cNvPr>
            <p:cNvSpPr/>
            <p:nvPr/>
          </p:nvSpPr>
          <p:spPr>
            <a:xfrm>
              <a:off x="4870147" y="2218388"/>
              <a:ext cx="337534" cy="230103"/>
            </a:xfrm>
            <a:custGeom>
              <a:avLst/>
              <a:gdLst>
                <a:gd name="connsiteX0" fmla="*/ 325218 w 337534"/>
                <a:gd name="connsiteY0" fmla="*/ 81701 h 230103"/>
                <a:gd name="connsiteX1" fmla="*/ 313146 w 337534"/>
                <a:gd name="connsiteY1" fmla="*/ 70726 h 230103"/>
                <a:gd name="connsiteX2" fmla="*/ 300464 w 337534"/>
                <a:gd name="connsiteY2" fmla="*/ 70726 h 230103"/>
                <a:gd name="connsiteX3" fmla="*/ 298757 w 337534"/>
                <a:gd name="connsiteY3" fmla="*/ 69385 h 230103"/>
                <a:gd name="connsiteX4" fmla="*/ 292050 w 337534"/>
                <a:gd name="connsiteY4" fmla="*/ 63897 h 230103"/>
                <a:gd name="connsiteX5" fmla="*/ 284977 w 337534"/>
                <a:gd name="connsiteY5" fmla="*/ 58044 h 230103"/>
                <a:gd name="connsiteX6" fmla="*/ 274734 w 337534"/>
                <a:gd name="connsiteY6" fmla="*/ 58532 h 230103"/>
                <a:gd name="connsiteX7" fmla="*/ 254858 w 337534"/>
                <a:gd name="connsiteY7" fmla="*/ 59386 h 230103"/>
                <a:gd name="connsiteX8" fmla="*/ 251931 w 337534"/>
                <a:gd name="connsiteY8" fmla="*/ 59508 h 230103"/>
                <a:gd name="connsiteX9" fmla="*/ 249980 w 337534"/>
                <a:gd name="connsiteY9" fmla="*/ 57313 h 230103"/>
                <a:gd name="connsiteX10" fmla="*/ 242542 w 337534"/>
                <a:gd name="connsiteY10" fmla="*/ 48655 h 230103"/>
                <a:gd name="connsiteX11" fmla="*/ 241322 w 337534"/>
                <a:gd name="connsiteY11" fmla="*/ 47191 h 230103"/>
                <a:gd name="connsiteX12" fmla="*/ 241078 w 337534"/>
                <a:gd name="connsiteY12" fmla="*/ 45362 h 230103"/>
                <a:gd name="connsiteX13" fmla="*/ 240103 w 337534"/>
                <a:gd name="connsiteY13" fmla="*/ 37558 h 230103"/>
                <a:gd name="connsiteX14" fmla="*/ 230104 w 337534"/>
                <a:gd name="connsiteY14" fmla="*/ 35485 h 230103"/>
                <a:gd name="connsiteX15" fmla="*/ 226324 w 337534"/>
                <a:gd name="connsiteY15" fmla="*/ 34753 h 230103"/>
                <a:gd name="connsiteX16" fmla="*/ 225348 w 337534"/>
                <a:gd name="connsiteY16" fmla="*/ 31095 h 230103"/>
                <a:gd name="connsiteX17" fmla="*/ 219129 w 337534"/>
                <a:gd name="connsiteY17" fmla="*/ 7195 h 230103"/>
                <a:gd name="connsiteX18" fmla="*/ 217910 w 337534"/>
                <a:gd name="connsiteY18" fmla="*/ 2439 h 230103"/>
                <a:gd name="connsiteX19" fmla="*/ 210227 w 337534"/>
                <a:gd name="connsiteY19" fmla="*/ 1585 h 230103"/>
                <a:gd name="connsiteX20" fmla="*/ 194862 w 337534"/>
                <a:gd name="connsiteY20" fmla="*/ 0 h 230103"/>
                <a:gd name="connsiteX21" fmla="*/ 186814 w 337534"/>
                <a:gd name="connsiteY21" fmla="*/ 4024 h 230103"/>
                <a:gd name="connsiteX22" fmla="*/ 184741 w 337534"/>
                <a:gd name="connsiteY22" fmla="*/ 5000 h 230103"/>
                <a:gd name="connsiteX23" fmla="*/ 184985 w 337534"/>
                <a:gd name="connsiteY23" fmla="*/ 5975 h 230103"/>
                <a:gd name="connsiteX24" fmla="*/ 181205 w 337534"/>
                <a:gd name="connsiteY24" fmla="*/ 6829 h 230103"/>
                <a:gd name="connsiteX25" fmla="*/ 177425 w 337534"/>
                <a:gd name="connsiteY25" fmla="*/ 8658 h 230103"/>
                <a:gd name="connsiteX26" fmla="*/ 177181 w 337534"/>
                <a:gd name="connsiteY26" fmla="*/ 7682 h 230103"/>
                <a:gd name="connsiteX27" fmla="*/ 177059 w 337534"/>
                <a:gd name="connsiteY27" fmla="*/ 7682 h 230103"/>
                <a:gd name="connsiteX28" fmla="*/ 163158 w 337534"/>
                <a:gd name="connsiteY28" fmla="*/ 10731 h 230103"/>
                <a:gd name="connsiteX29" fmla="*/ 159987 w 337534"/>
                <a:gd name="connsiteY29" fmla="*/ 20120 h 230103"/>
                <a:gd name="connsiteX30" fmla="*/ 158890 w 337534"/>
                <a:gd name="connsiteY30" fmla="*/ 23291 h 230103"/>
                <a:gd name="connsiteX31" fmla="*/ 155597 w 337534"/>
                <a:gd name="connsiteY31" fmla="*/ 24144 h 230103"/>
                <a:gd name="connsiteX32" fmla="*/ 154866 w 337534"/>
                <a:gd name="connsiteY32" fmla="*/ 24388 h 230103"/>
                <a:gd name="connsiteX33" fmla="*/ 145964 w 337534"/>
                <a:gd name="connsiteY33" fmla="*/ 26583 h 230103"/>
                <a:gd name="connsiteX34" fmla="*/ 144379 w 337534"/>
                <a:gd name="connsiteY34" fmla="*/ 26949 h 230103"/>
                <a:gd name="connsiteX35" fmla="*/ 142671 w 337534"/>
                <a:gd name="connsiteY35" fmla="*/ 26461 h 230103"/>
                <a:gd name="connsiteX36" fmla="*/ 113283 w 337534"/>
                <a:gd name="connsiteY36" fmla="*/ 17072 h 230103"/>
                <a:gd name="connsiteX37" fmla="*/ 109016 w 337534"/>
                <a:gd name="connsiteY37" fmla="*/ 18535 h 230103"/>
                <a:gd name="connsiteX38" fmla="*/ 106699 w 337534"/>
                <a:gd name="connsiteY38" fmla="*/ 19267 h 230103"/>
                <a:gd name="connsiteX39" fmla="*/ 104869 w 337534"/>
                <a:gd name="connsiteY39" fmla="*/ 19877 h 230103"/>
                <a:gd name="connsiteX40" fmla="*/ 102919 w 337534"/>
                <a:gd name="connsiteY40" fmla="*/ 19389 h 230103"/>
                <a:gd name="connsiteX41" fmla="*/ 90237 w 337534"/>
                <a:gd name="connsiteY41" fmla="*/ 15609 h 230103"/>
                <a:gd name="connsiteX42" fmla="*/ 80359 w 337534"/>
                <a:gd name="connsiteY42" fmla="*/ 16828 h 230103"/>
                <a:gd name="connsiteX43" fmla="*/ 78408 w 337534"/>
                <a:gd name="connsiteY43" fmla="*/ 17072 h 230103"/>
                <a:gd name="connsiteX44" fmla="*/ 76701 w 337534"/>
                <a:gd name="connsiteY44" fmla="*/ 16096 h 230103"/>
                <a:gd name="connsiteX45" fmla="*/ 65604 w 337534"/>
                <a:gd name="connsiteY45" fmla="*/ 9877 h 230103"/>
                <a:gd name="connsiteX46" fmla="*/ 54020 w 337534"/>
                <a:gd name="connsiteY46" fmla="*/ 11097 h 230103"/>
                <a:gd name="connsiteX47" fmla="*/ 38167 w 337534"/>
                <a:gd name="connsiteY47" fmla="*/ 27071 h 230103"/>
                <a:gd name="connsiteX48" fmla="*/ 36582 w 337534"/>
                <a:gd name="connsiteY48" fmla="*/ 28534 h 230103"/>
                <a:gd name="connsiteX49" fmla="*/ 39143 w 337534"/>
                <a:gd name="connsiteY49" fmla="*/ 51216 h 230103"/>
                <a:gd name="connsiteX50" fmla="*/ 39387 w 337534"/>
                <a:gd name="connsiteY50" fmla="*/ 53898 h 230103"/>
                <a:gd name="connsiteX51" fmla="*/ 37558 w 337534"/>
                <a:gd name="connsiteY51" fmla="*/ 55971 h 230103"/>
                <a:gd name="connsiteX52" fmla="*/ 12560 w 337534"/>
                <a:gd name="connsiteY52" fmla="*/ 83530 h 230103"/>
                <a:gd name="connsiteX53" fmla="*/ 13413 w 337534"/>
                <a:gd name="connsiteY53" fmla="*/ 87432 h 230103"/>
                <a:gd name="connsiteX54" fmla="*/ 14023 w 337534"/>
                <a:gd name="connsiteY54" fmla="*/ 90969 h 230103"/>
                <a:gd name="connsiteX55" fmla="*/ 11340 w 337534"/>
                <a:gd name="connsiteY55" fmla="*/ 93285 h 230103"/>
                <a:gd name="connsiteX56" fmla="*/ 7438 w 337534"/>
                <a:gd name="connsiteY56" fmla="*/ 96700 h 230103"/>
                <a:gd name="connsiteX57" fmla="*/ 3780 w 337534"/>
                <a:gd name="connsiteY57" fmla="*/ 99748 h 230103"/>
                <a:gd name="connsiteX58" fmla="*/ 3292 w 337534"/>
                <a:gd name="connsiteY58" fmla="*/ 100236 h 230103"/>
                <a:gd name="connsiteX59" fmla="*/ 3292 w 337534"/>
                <a:gd name="connsiteY59" fmla="*/ 100236 h 230103"/>
                <a:gd name="connsiteX60" fmla="*/ 0 w 337534"/>
                <a:gd name="connsiteY60" fmla="*/ 113528 h 230103"/>
                <a:gd name="connsiteX61" fmla="*/ 12194 w 337534"/>
                <a:gd name="connsiteY61" fmla="*/ 123649 h 230103"/>
                <a:gd name="connsiteX62" fmla="*/ 12926 w 337534"/>
                <a:gd name="connsiteY62" fmla="*/ 124259 h 230103"/>
                <a:gd name="connsiteX63" fmla="*/ 14389 w 337534"/>
                <a:gd name="connsiteY63" fmla="*/ 125478 h 230103"/>
                <a:gd name="connsiteX64" fmla="*/ 27315 w 337534"/>
                <a:gd name="connsiteY64" fmla="*/ 128039 h 230103"/>
                <a:gd name="connsiteX65" fmla="*/ 28046 w 337534"/>
                <a:gd name="connsiteY65" fmla="*/ 128161 h 230103"/>
                <a:gd name="connsiteX66" fmla="*/ 28656 w 337534"/>
                <a:gd name="connsiteY66" fmla="*/ 128526 h 230103"/>
                <a:gd name="connsiteX67" fmla="*/ 30241 w 337534"/>
                <a:gd name="connsiteY67" fmla="*/ 129258 h 230103"/>
                <a:gd name="connsiteX68" fmla="*/ 45606 w 337534"/>
                <a:gd name="connsiteY68" fmla="*/ 136331 h 230103"/>
                <a:gd name="connsiteX69" fmla="*/ 62068 w 337534"/>
                <a:gd name="connsiteY69" fmla="*/ 132551 h 230103"/>
                <a:gd name="connsiteX70" fmla="*/ 75360 w 337534"/>
                <a:gd name="connsiteY70" fmla="*/ 125966 h 230103"/>
                <a:gd name="connsiteX71" fmla="*/ 75848 w 337534"/>
                <a:gd name="connsiteY71" fmla="*/ 125600 h 230103"/>
                <a:gd name="connsiteX72" fmla="*/ 80359 w 337534"/>
                <a:gd name="connsiteY72" fmla="*/ 123039 h 230103"/>
                <a:gd name="connsiteX73" fmla="*/ 89383 w 337534"/>
                <a:gd name="connsiteY73" fmla="*/ 117552 h 230103"/>
                <a:gd name="connsiteX74" fmla="*/ 90846 w 337534"/>
                <a:gd name="connsiteY74" fmla="*/ 116698 h 230103"/>
                <a:gd name="connsiteX75" fmla="*/ 123649 w 337534"/>
                <a:gd name="connsiteY75" fmla="*/ 116698 h 230103"/>
                <a:gd name="connsiteX76" fmla="*/ 125478 w 337534"/>
                <a:gd name="connsiteY76" fmla="*/ 118893 h 230103"/>
                <a:gd name="connsiteX77" fmla="*/ 135233 w 337534"/>
                <a:gd name="connsiteY77" fmla="*/ 131087 h 230103"/>
                <a:gd name="connsiteX78" fmla="*/ 135965 w 337534"/>
                <a:gd name="connsiteY78" fmla="*/ 131941 h 230103"/>
                <a:gd name="connsiteX79" fmla="*/ 136819 w 337534"/>
                <a:gd name="connsiteY79" fmla="*/ 133038 h 230103"/>
                <a:gd name="connsiteX80" fmla="*/ 137062 w 337534"/>
                <a:gd name="connsiteY80" fmla="*/ 134380 h 230103"/>
                <a:gd name="connsiteX81" fmla="*/ 142428 w 337534"/>
                <a:gd name="connsiteY81" fmla="*/ 158402 h 230103"/>
                <a:gd name="connsiteX82" fmla="*/ 142671 w 337534"/>
                <a:gd name="connsiteY82" fmla="*/ 158646 h 230103"/>
                <a:gd name="connsiteX83" fmla="*/ 149134 w 337534"/>
                <a:gd name="connsiteY83" fmla="*/ 165109 h 230103"/>
                <a:gd name="connsiteX84" fmla="*/ 151817 w 337534"/>
                <a:gd name="connsiteY84" fmla="*/ 167792 h 230103"/>
                <a:gd name="connsiteX85" fmla="*/ 150720 w 337534"/>
                <a:gd name="connsiteY85" fmla="*/ 171328 h 230103"/>
                <a:gd name="connsiteX86" fmla="*/ 148769 w 337534"/>
                <a:gd name="connsiteY86" fmla="*/ 176937 h 230103"/>
                <a:gd name="connsiteX87" fmla="*/ 147183 w 337534"/>
                <a:gd name="connsiteY87" fmla="*/ 181815 h 230103"/>
                <a:gd name="connsiteX88" fmla="*/ 142062 w 337534"/>
                <a:gd name="connsiteY88" fmla="*/ 180961 h 230103"/>
                <a:gd name="connsiteX89" fmla="*/ 138038 w 337534"/>
                <a:gd name="connsiteY89" fmla="*/ 180352 h 230103"/>
                <a:gd name="connsiteX90" fmla="*/ 132794 w 337534"/>
                <a:gd name="connsiteY90" fmla="*/ 189863 h 230103"/>
                <a:gd name="connsiteX91" fmla="*/ 131819 w 337534"/>
                <a:gd name="connsiteY91" fmla="*/ 201326 h 230103"/>
                <a:gd name="connsiteX92" fmla="*/ 133404 w 337534"/>
                <a:gd name="connsiteY92" fmla="*/ 201204 h 230103"/>
                <a:gd name="connsiteX93" fmla="*/ 135843 w 337534"/>
                <a:gd name="connsiteY93" fmla="*/ 200960 h 230103"/>
                <a:gd name="connsiteX94" fmla="*/ 139013 w 337534"/>
                <a:gd name="connsiteY94" fmla="*/ 200716 h 230103"/>
                <a:gd name="connsiteX95" fmla="*/ 150842 w 337534"/>
                <a:gd name="connsiteY95" fmla="*/ 188766 h 230103"/>
                <a:gd name="connsiteX96" fmla="*/ 150842 w 337534"/>
                <a:gd name="connsiteY96" fmla="*/ 178279 h 230103"/>
                <a:gd name="connsiteX97" fmla="*/ 164377 w 337534"/>
                <a:gd name="connsiteY97" fmla="*/ 177181 h 230103"/>
                <a:gd name="connsiteX98" fmla="*/ 171206 w 337534"/>
                <a:gd name="connsiteY98" fmla="*/ 170352 h 230103"/>
                <a:gd name="connsiteX99" fmla="*/ 178766 w 337534"/>
                <a:gd name="connsiteY99" fmla="*/ 171694 h 230103"/>
                <a:gd name="connsiteX100" fmla="*/ 184497 w 337534"/>
                <a:gd name="connsiteY100" fmla="*/ 180230 h 230103"/>
                <a:gd name="connsiteX101" fmla="*/ 192911 w 337534"/>
                <a:gd name="connsiteY101" fmla="*/ 181815 h 230103"/>
                <a:gd name="connsiteX102" fmla="*/ 206691 w 337534"/>
                <a:gd name="connsiteY102" fmla="*/ 182912 h 230103"/>
                <a:gd name="connsiteX103" fmla="*/ 217544 w 337534"/>
                <a:gd name="connsiteY103" fmla="*/ 187302 h 230103"/>
                <a:gd name="connsiteX104" fmla="*/ 217544 w 337534"/>
                <a:gd name="connsiteY104" fmla="*/ 194619 h 230103"/>
                <a:gd name="connsiteX105" fmla="*/ 203886 w 337534"/>
                <a:gd name="connsiteY105" fmla="*/ 203033 h 230103"/>
                <a:gd name="connsiteX106" fmla="*/ 200472 w 337534"/>
                <a:gd name="connsiteY106" fmla="*/ 203643 h 230103"/>
                <a:gd name="connsiteX107" fmla="*/ 200472 w 337534"/>
                <a:gd name="connsiteY107" fmla="*/ 206081 h 230103"/>
                <a:gd name="connsiteX108" fmla="*/ 214739 w 337534"/>
                <a:gd name="connsiteY108" fmla="*/ 210837 h 230103"/>
                <a:gd name="connsiteX109" fmla="*/ 213764 w 337534"/>
                <a:gd name="connsiteY109" fmla="*/ 222422 h 230103"/>
                <a:gd name="connsiteX110" fmla="*/ 216812 w 337534"/>
                <a:gd name="connsiteY110" fmla="*/ 230104 h 230103"/>
                <a:gd name="connsiteX111" fmla="*/ 227909 w 337534"/>
                <a:gd name="connsiteY111" fmla="*/ 230104 h 230103"/>
                <a:gd name="connsiteX112" fmla="*/ 241932 w 337534"/>
                <a:gd name="connsiteY112" fmla="*/ 219861 h 230103"/>
                <a:gd name="connsiteX113" fmla="*/ 253638 w 337534"/>
                <a:gd name="connsiteY113" fmla="*/ 214983 h 230103"/>
                <a:gd name="connsiteX114" fmla="*/ 265223 w 337534"/>
                <a:gd name="connsiteY114" fmla="*/ 214130 h 230103"/>
                <a:gd name="connsiteX115" fmla="*/ 265223 w 337534"/>
                <a:gd name="connsiteY115" fmla="*/ 210349 h 230103"/>
                <a:gd name="connsiteX116" fmla="*/ 260467 w 337534"/>
                <a:gd name="connsiteY116" fmla="*/ 209740 h 230103"/>
                <a:gd name="connsiteX117" fmla="*/ 241688 w 337534"/>
                <a:gd name="connsiteY117" fmla="*/ 207667 h 230103"/>
                <a:gd name="connsiteX118" fmla="*/ 235835 w 337534"/>
                <a:gd name="connsiteY118" fmla="*/ 199862 h 230103"/>
                <a:gd name="connsiteX119" fmla="*/ 221324 w 337534"/>
                <a:gd name="connsiteY119" fmla="*/ 194131 h 230103"/>
                <a:gd name="connsiteX120" fmla="*/ 218031 w 337534"/>
                <a:gd name="connsiteY120" fmla="*/ 185961 h 230103"/>
                <a:gd name="connsiteX121" fmla="*/ 241688 w 337534"/>
                <a:gd name="connsiteY121" fmla="*/ 182912 h 230103"/>
                <a:gd name="connsiteX122" fmla="*/ 244493 w 337534"/>
                <a:gd name="connsiteY122" fmla="*/ 179376 h 230103"/>
                <a:gd name="connsiteX123" fmla="*/ 245712 w 337534"/>
                <a:gd name="connsiteY123" fmla="*/ 171572 h 230103"/>
                <a:gd name="connsiteX124" fmla="*/ 271198 w 337534"/>
                <a:gd name="connsiteY124" fmla="*/ 170596 h 230103"/>
                <a:gd name="connsiteX125" fmla="*/ 279734 w 337534"/>
                <a:gd name="connsiteY125" fmla="*/ 161939 h 230103"/>
                <a:gd name="connsiteX126" fmla="*/ 290587 w 337534"/>
                <a:gd name="connsiteY126" fmla="*/ 162792 h 230103"/>
                <a:gd name="connsiteX127" fmla="*/ 293147 w 337534"/>
                <a:gd name="connsiteY127" fmla="*/ 158402 h 230103"/>
                <a:gd name="connsiteX128" fmla="*/ 302537 w 337534"/>
                <a:gd name="connsiteY128" fmla="*/ 141574 h 230103"/>
                <a:gd name="connsiteX129" fmla="*/ 302903 w 337534"/>
                <a:gd name="connsiteY129" fmla="*/ 140843 h 230103"/>
                <a:gd name="connsiteX130" fmla="*/ 303512 w 337534"/>
                <a:gd name="connsiteY130" fmla="*/ 140355 h 230103"/>
                <a:gd name="connsiteX131" fmla="*/ 313390 w 337534"/>
                <a:gd name="connsiteY131" fmla="*/ 130356 h 230103"/>
                <a:gd name="connsiteX132" fmla="*/ 316804 w 337534"/>
                <a:gd name="connsiteY132" fmla="*/ 127063 h 230103"/>
                <a:gd name="connsiteX133" fmla="*/ 318999 w 337534"/>
                <a:gd name="connsiteY133" fmla="*/ 124868 h 230103"/>
                <a:gd name="connsiteX134" fmla="*/ 322047 w 337534"/>
                <a:gd name="connsiteY134" fmla="*/ 125356 h 230103"/>
                <a:gd name="connsiteX135" fmla="*/ 325340 w 337534"/>
                <a:gd name="connsiteY135" fmla="*/ 125966 h 230103"/>
                <a:gd name="connsiteX136" fmla="*/ 327657 w 337534"/>
                <a:gd name="connsiteY136" fmla="*/ 106577 h 230103"/>
                <a:gd name="connsiteX137" fmla="*/ 327901 w 337534"/>
                <a:gd name="connsiteY137" fmla="*/ 104870 h 230103"/>
                <a:gd name="connsiteX138" fmla="*/ 328998 w 337534"/>
                <a:gd name="connsiteY138" fmla="*/ 103529 h 230103"/>
                <a:gd name="connsiteX139" fmla="*/ 337534 w 337534"/>
                <a:gd name="connsiteY139" fmla="*/ 92798 h 230103"/>
                <a:gd name="connsiteX140" fmla="*/ 325218 w 337534"/>
                <a:gd name="connsiteY140" fmla="*/ 81701 h 23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337534" h="230103">
                  <a:moveTo>
                    <a:pt x="325218" y="81701"/>
                  </a:moveTo>
                  <a:lnTo>
                    <a:pt x="313146" y="70726"/>
                  </a:lnTo>
                  <a:lnTo>
                    <a:pt x="300464" y="70726"/>
                  </a:lnTo>
                  <a:lnTo>
                    <a:pt x="298757" y="69385"/>
                  </a:lnTo>
                  <a:lnTo>
                    <a:pt x="292050" y="63897"/>
                  </a:lnTo>
                  <a:lnTo>
                    <a:pt x="284977" y="58044"/>
                  </a:lnTo>
                  <a:lnTo>
                    <a:pt x="274734" y="58532"/>
                  </a:lnTo>
                  <a:lnTo>
                    <a:pt x="254858" y="59386"/>
                  </a:lnTo>
                  <a:lnTo>
                    <a:pt x="251931" y="59508"/>
                  </a:lnTo>
                  <a:lnTo>
                    <a:pt x="249980" y="57313"/>
                  </a:lnTo>
                  <a:lnTo>
                    <a:pt x="242542" y="48655"/>
                  </a:lnTo>
                  <a:lnTo>
                    <a:pt x="241322" y="47191"/>
                  </a:lnTo>
                  <a:lnTo>
                    <a:pt x="241078" y="45362"/>
                  </a:lnTo>
                  <a:lnTo>
                    <a:pt x="240103" y="37558"/>
                  </a:lnTo>
                  <a:lnTo>
                    <a:pt x="230104" y="35485"/>
                  </a:lnTo>
                  <a:lnTo>
                    <a:pt x="226324" y="34753"/>
                  </a:lnTo>
                  <a:lnTo>
                    <a:pt x="225348" y="31095"/>
                  </a:lnTo>
                  <a:lnTo>
                    <a:pt x="219129" y="7195"/>
                  </a:lnTo>
                  <a:lnTo>
                    <a:pt x="217910" y="2439"/>
                  </a:lnTo>
                  <a:lnTo>
                    <a:pt x="210227" y="1585"/>
                  </a:lnTo>
                  <a:lnTo>
                    <a:pt x="194862" y="0"/>
                  </a:lnTo>
                  <a:lnTo>
                    <a:pt x="186814" y="4024"/>
                  </a:lnTo>
                  <a:lnTo>
                    <a:pt x="184741" y="5000"/>
                  </a:lnTo>
                  <a:lnTo>
                    <a:pt x="184985" y="5975"/>
                  </a:lnTo>
                  <a:lnTo>
                    <a:pt x="181205" y="6829"/>
                  </a:lnTo>
                  <a:lnTo>
                    <a:pt x="177425" y="8658"/>
                  </a:lnTo>
                  <a:lnTo>
                    <a:pt x="177181" y="7682"/>
                  </a:lnTo>
                  <a:lnTo>
                    <a:pt x="177059" y="7682"/>
                  </a:lnTo>
                  <a:lnTo>
                    <a:pt x="163158" y="10731"/>
                  </a:lnTo>
                  <a:lnTo>
                    <a:pt x="159987" y="20120"/>
                  </a:lnTo>
                  <a:lnTo>
                    <a:pt x="158890" y="23291"/>
                  </a:lnTo>
                  <a:lnTo>
                    <a:pt x="155597" y="24144"/>
                  </a:lnTo>
                  <a:lnTo>
                    <a:pt x="154866" y="24388"/>
                  </a:lnTo>
                  <a:lnTo>
                    <a:pt x="145964" y="26583"/>
                  </a:lnTo>
                  <a:lnTo>
                    <a:pt x="144379" y="26949"/>
                  </a:lnTo>
                  <a:lnTo>
                    <a:pt x="142671" y="26461"/>
                  </a:lnTo>
                  <a:lnTo>
                    <a:pt x="113283" y="17072"/>
                  </a:lnTo>
                  <a:lnTo>
                    <a:pt x="109016" y="18535"/>
                  </a:lnTo>
                  <a:lnTo>
                    <a:pt x="106699" y="19267"/>
                  </a:lnTo>
                  <a:lnTo>
                    <a:pt x="104869" y="19877"/>
                  </a:lnTo>
                  <a:lnTo>
                    <a:pt x="102919" y="19389"/>
                  </a:lnTo>
                  <a:lnTo>
                    <a:pt x="90237" y="15609"/>
                  </a:lnTo>
                  <a:lnTo>
                    <a:pt x="80359" y="16828"/>
                  </a:lnTo>
                  <a:lnTo>
                    <a:pt x="78408" y="17072"/>
                  </a:lnTo>
                  <a:lnTo>
                    <a:pt x="76701" y="16096"/>
                  </a:lnTo>
                  <a:lnTo>
                    <a:pt x="65604" y="9877"/>
                  </a:lnTo>
                  <a:lnTo>
                    <a:pt x="54020" y="11097"/>
                  </a:lnTo>
                  <a:lnTo>
                    <a:pt x="38167" y="27071"/>
                  </a:lnTo>
                  <a:lnTo>
                    <a:pt x="36582" y="28534"/>
                  </a:lnTo>
                  <a:lnTo>
                    <a:pt x="39143" y="51216"/>
                  </a:lnTo>
                  <a:lnTo>
                    <a:pt x="39387" y="53898"/>
                  </a:lnTo>
                  <a:lnTo>
                    <a:pt x="37558" y="55971"/>
                  </a:lnTo>
                  <a:lnTo>
                    <a:pt x="12560" y="83530"/>
                  </a:lnTo>
                  <a:lnTo>
                    <a:pt x="13413" y="87432"/>
                  </a:lnTo>
                  <a:lnTo>
                    <a:pt x="14023" y="90969"/>
                  </a:lnTo>
                  <a:lnTo>
                    <a:pt x="11340" y="93285"/>
                  </a:lnTo>
                  <a:lnTo>
                    <a:pt x="7438" y="96700"/>
                  </a:lnTo>
                  <a:lnTo>
                    <a:pt x="3780" y="99748"/>
                  </a:lnTo>
                  <a:lnTo>
                    <a:pt x="3292" y="100236"/>
                  </a:lnTo>
                  <a:lnTo>
                    <a:pt x="3292" y="100236"/>
                  </a:lnTo>
                  <a:lnTo>
                    <a:pt x="0" y="113528"/>
                  </a:lnTo>
                  <a:lnTo>
                    <a:pt x="12194" y="123649"/>
                  </a:lnTo>
                  <a:lnTo>
                    <a:pt x="12926" y="124259"/>
                  </a:lnTo>
                  <a:lnTo>
                    <a:pt x="14389" y="125478"/>
                  </a:lnTo>
                  <a:lnTo>
                    <a:pt x="27315" y="128039"/>
                  </a:lnTo>
                  <a:lnTo>
                    <a:pt x="28046" y="128161"/>
                  </a:lnTo>
                  <a:lnTo>
                    <a:pt x="28656" y="128526"/>
                  </a:lnTo>
                  <a:lnTo>
                    <a:pt x="30241" y="129258"/>
                  </a:lnTo>
                  <a:lnTo>
                    <a:pt x="45606" y="136331"/>
                  </a:lnTo>
                  <a:lnTo>
                    <a:pt x="62068" y="132551"/>
                  </a:lnTo>
                  <a:lnTo>
                    <a:pt x="75360" y="125966"/>
                  </a:lnTo>
                  <a:lnTo>
                    <a:pt x="75848" y="125600"/>
                  </a:lnTo>
                  <a:lnTo>
                    <a:pt x="80359" y="123039"/>
                  </a:lnTo>
                  <a:lnTo>
                    <a:pt x="89383" y="117552"/>
                  </a:lnTo>
                  <a:lnTo>
                    <a:pt x="90846" y="116698"/>
                  </a:lnTo>
                  <a:lnTo>
                    <a:pt x="123649" y="116698"/>
                  </a:lnTo>
                  <a:lnTo>
                    <a:pt x="125478" y="118893"/>
                  </a:lnTo>
                  <a:lnTo>
                    <a:pt x="135233" y="131087"/>
                  </a:lnTo>
                  <a:lnTo>
                    <a:pt x="135965" y="131941"/>
                  </a:lnTo>
                  <a:lnTo>
                    <a:pt x="136819" y="133038"/>
                  </a:lnTo>
                  <a:lnTo>
                    <a:pt x="137062" y="134380"/>
                  </a:lnTo>
                  <a:lnTo>
                    <a:pt x="142428" y="158402"/>
                  </a:lnTo>
                  <a:lnTo>
                    <a:pt x="142671" y="158646"/>
                  </a:lnTo>
                  <a:lnTo>
                    <a:pt x="149134" y="165109"/>
                  </a:lnTo>
                  <a:lnTo>
                    <a:pt x="151817" y="167792"/>
                  </a:lnTo>
                  <a:lnTo>
                    <a:pt x="150720" y="171328"/>
                  </a:lnTo>
                  <a:lnTo>
                    <a:pt x="148769" y="176937"/>
                  </a:lnTo>
                  <a:lnTo>
                    <a:pt x="147183" y="181815"/>
                  </a:lnTo>
                  <a:lnTo>
                    <a:pt x="142062" y="180961"/>
                  </a:lnTo>
                  <a:lnTo>
                    <a:pt x="138038" y="180352"/>
                  </a:lnTo>
                  <a:lnTo>
                    <a:pt x="132794" y="189863"/>
                  </a:lnTo>
                  <a:lnTo>
                    <a:pt x="131819" y="201326"/>
                  </a:lnTo>
                  <a:lnTo>
                    <a:pt x="133404" y="201204"/>
                  </a:lnTo>
                  <a:lnTo>
                    <a:pt x="135843" y="200960"/>
                  </a:lnTo>
                  <a:lnTo>
                    <a:pt x="139013" y="200716"/>
                  </a:lnTo>
                  <a:lnTo>
                    <a:pt x="150842" y="188766"/>
                  </a:lnTo>
                  <a:lnTo>
                    <a:pt x="150842" y="178279"/>
                  </a:lnTo>
                  <a:lnTo>
                    <a:pt x="164377" y="177181"/>
                  </a:lnTo>
                  <a:lnTo>
                    <a:pt x="171206" y="170352"/>
                  </a:lnTo>
                  <a:lnTo>
                    <a:pt x="178766" y="171694"/>
                  </a:lnTo>
                  <a:lnTo>
                    <a:pt x="184497" y="180230"/>
                  </a:lnTo>
                  <a:lnTo>
                    <a:pt x="192911" y="181815"/>
                  </a:lnTo>
                  <a:lnTo>
                    <a:pt x="206691" y="182912"/>
                  </a:lnTo>
                  <a:lnTo>
                    <a:pt x="217544" y="187302"/>
                  </a:lnTo>
                  <a:lnTo>
                    <a:pt x="217544" y="194619"/>
                  </a:lnTo>
                  <a:lnTo>
                    <a:pt x="203886" y="203033"/>
                  </a:lnTo>
                  <a:lnTo>
                    <a:pt x="200472" y="203643"/>
                  </a:lnTo>
                  <a:lnTo>
                    <a:pt x="200472" y="206081"/>
                  </a:lnTo>
                  <a:lnTo>
                    <a:pt x="214739" y="210837"/>
                  </a:lnTo>
                  <a:lnTo>
                    <a:pt x="213764" y="222422"/>
                  </a:lnTo>
                  <a:lnTo>
                    <a:pt x="216812" y="230104"/>
                  </a:lnTo>
                  <a:lnTo>
                    <a:pt x="227909" y="230104"/>
                  </a:lnTo>
                  <a:lnTo>
                    <a:pt x="241932" y="219861"/>
                  </a:lnTo>
                  <a:lnTo>
                    <a:pt x="253638" y="214983"/>
                  </a:lnTo>
                  <a:lnTo>
                    <a:pt x="265223" y="214130"/>
                  </a:lnTo>
                  <a:lnTo>
                    <a:pt x="265223" y="210349"/>
                  </a:lnTo>
                  <a:lnTo>
                    <a:pt x="260467" y="209740"/>
                  </a:lnTo>
                  <a:lnTo>
                    <a:pt x="241688" y="207667"/>
                  </a:lnTo>
                  <a:lnTo>
                    <a:pt x="235835" y="199862"/>
                  </a:lnTo>
                  <a:lnTo>
                    <a:pt x="221324" y="194131"/>
                  </a:lnTo>
                  <a:lnTo>
                    <a:pt x="218031" y="185961"/>
                  </a:lnTo>
                  <a:lnTo>
                    <a:pt x="241688" y="182912"/>
                  </a:lnTo>
                  <a:lnTo>
                    <a:pt x="244493" y="179376"/>
                  </a:lnTo>
                  <a:lnTo>
                    <a:pt x="245712" y="171572"/>
                  </a:lnTo>
                  <a:lnTo>
                    <a:pt x="271198" y="170596"/>
                  </a:lnTo>
                  <a:lnTo>
                    <a:pt x="279734" y="161939"/>
                  </a:lnTo>
                  <a:lnTo>
                    <a:pt x="290587" y="162792"/>
                  </a:lnTo>
                  <a:lnTo>
                    <a:pt x="293147" y="158402"/>
                  </a:lnTo>
                  <a:lnTo>
                    <a:pt x="302537" y="141574"/>
                  </a:lnTo>
                  <a:lnTo>
                    <a:pt x="302903" y="140843"/>
                  </a:lnTo>
                  <a:lnTo>
                    <a:pt x="303512" y="140355"/>
                  </a:lnTo>
                  <a:lnTo>
                    <a:pt x="313390" y="130356"/>
                  </a:lnTo>
                  <a:lnTo>
                    <a:pt x="316804" y="127063"/>
                  </a:lnTo>
                  <a:lnTo>
                    <a:pt x="318999" y="124868"/>
                  </a:lnTo>
                  <a:lnTo>
                    <a:pt x="322047" y="125356"/>
                  </a:lnTo>
                  <a:lnTo>
                    <a:pt x="325340" y="125966"/>
                  </a:lnTo>
                  <a:lnTo>
                    <a:pt x="327657" y="106577"/>
                  </a:lnTo>
                  <a:lnTo>
                    <a:pt x="327901" y="104870"/>
                  </a:lnTo>
                  <a:lnTo>
                    <a:pt x="328998" y="103529"/>
                  </a:lnTo>
                  <a:lnTo>
                    <a:pt x="337534" y="92798"/>
                  </a:lnTo>
                  <a:lnTo>
                    <a:pt x="325218" y="8170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189B964E-E456-4C08-BFE9-D541EBAB9A57}"/>
                </a:ext>
              </a:extLst>
            </p:cNvPr>
            <p:cNvSpPr/>
            <p:nvPr/>
          </p:nvSpPr>
          <p:spPr>
            <a:xfrm>
              <a:off x="4655530" y="1574536"/>
              <a:ext cx="239615" cy="533494"/>
            </a:xfrm>
            <a:custGeom>
              <a:avLst/>
              <a:gdLst>
                <a:gd name="connsiteX0" fmla="*/ 18779 w 239615"/>
                <a:gd name="connsiteY0" fmla="*/ 356313 h 533494"/>
                <a:gd name="connsiteX1" fmla="*/ 18413 w 239615"/>
                <a:gd name="connsiteY1" fmla="*/ 358021 h 533494"/>
                <a:gd name="connsiteX2" fmla="*/ 18047 w 239615"/>
                <a:gd name="connsiteY2" fmla="*/ 359484 h 533494"/>
                <a:gd name="connsiteX3" fmla="*/ 17194 w 239615"/>
                <a:gd name="connsiteY3" fmla="*/ 360581 h 533494"/>
                <a:gd name="connsiteX4" fmla="*/ 11218 w 239615"/>
                <a:gd name="connsiteY4" fmla="*/ 367776 h 533494"/>
                <a:gd name="connsiteX5" fmla="*/ 11097 w 239615"/>
                <a:gd name="connsiteY5" fmla="*/ 368264 h 533494"/>
                <a:gd name="connsiteX6" fmla="*/ 7072 w 239615"/>
                <a:gd name="connsiteY6" fmla="*/ 404968 h 533494"/>
                <a:gd name="connsiteX7" fmla="*/ 5609 w 239615"/>
                <a:gd name="connsiteY7" fmla="*/ 414724 h 533494"/>
                <a:gd name="connsiteX8" fmla="*/ 5609 w 239615"/>
                <a:gd name="connsiteY8" fmla="*/ 415211 h 533494"/>
                <a:gd name="connsiteX9" fmla="*/ 5365 w 239615"/>
                <a:gd name="connsiteY9" fmla="*/ 415821 h 533494"/>
                <a:gd name="connsiteX10" fmla="*/ 1829 w 239615"/>
                <a:gd name="connsiteY10" fmla="*/ 426918 h 533494"/>
                <a:gd name="connsiteX11" fmla="*/ 0 w 239615"/>
                <a:gd name="connsiteY11" fmla="*/ 432405 h 533494"/>
                <a:gd name="connsiteX12" fmla="*/ 8536 w 239615"/>
                <a:gd name="connsiteY12" fmla="*/ 439478 h 533494"/>
                <a:gd name="connsiteX13" fmla="*/ 6707 w 239615"/>
                <a:gd name="connsiteY13" fmla="*/ 467158 h 533494"/>
                <a:gd name="connsiteX14" fmla="*/ 13048 w 239615"/>
                <a:gd name="connsiteY14" fmla="*/ 476304 h 533494"/>
                <a:gd name="connsiteX15" fmla="*/ 15852 w 239615"/>
                <a:gd name="connsiteY15" fmla="*/ 487523 h 533494"/>
                <a:gd name="connsiteX16" fmla="*/ 24632 w 239615"/>
                <a:gd name="connsiteY16" fmla="*/ 497156 h 533494"/>
                <a:gd name="connsiteX17" fmla="*/ 24632 w 239615"/>
                <a:gd name="connsiteY17" fmla="*/ 515447 h 533494"/>
                <a:gd name="connsiteX18" fmla="*/ 30729 w 239615"/>
                <a:gd name="connsiteY18" fmla="*/ 526910 h 533494"/>
                <a:gd name="connsiteX19" fmla="*/ 38168 w 239615"/>
                <a:gd name="connsiteY19" fmla="*/ 533495 h 533494"/>
                <a:gd name="connsiteX20" fmla="*/ 43899 w 239615"/>
                <a:gd name="connsiteY20" fmla="*/ 531787 h 533494"/>
                <a:gd name="connsiteX21" fmla="*/ 49630 w 239615"/>
                <a:gd name="connsiteY21" fmla="*/ 531056 h 533494"/>
                <a:gd name="connsiteX22" fmla="*/ 61946 w 239615"/>
                <a:gd name="connsiteY22" fmla="*/ 512033 h 533494"/>
                <a:gd name="connsiteX23" fmla="*/ 75604 w 239615"/>
                <a:gd name="connsiteY23" fmla="*/ 511057 h 533494"/>
                <a:gd name="connsiteX24" fmla="*/ 84018 w 239615"/>
                <a:gd name="connsiteY24" fmla="*/ 505204 h 533494"/>
                <a:gd name="connsiteX25" fmla="*/ 92310 w 239615"/>
                <a:gd name="connsiteY25" fmla="*/ 480328 h 533494"/>
                <a:gd name="connsiteX26" fmla="*/ 98773 w 239615"/>
                <a:gd name="connsiteY26" fmla="*/ 458988 h 533494"/>
                <a:gd name="connsiteX27" fmla="*/ 96943 w 239615"/>
                <a:gd name="connsiteY27" fmla="*/ 427405 h 533494"/>
                <a:gd name="connsiteX28" fmla="*/ 105723 w 239615"/>
                <a:gd name="connsiteY28" fmla="*/ 415211 h 533494"/>
                <a:gd name="connsiteX29" fmla="*/ 111699 w 239615"/>
                <a:gd name="connsiteY29" fmla="*/ 416797 h 533494"/>
                <a:gd name="connsiteX30" fmla="*/ 110967 w 239615"/>
                <a:gd name="connsiteY30" fmla="*/ 409968 h 533494"/>
                <a:gd name="connsiteX31" fmla="*/ 120356 w 239615"/>
                <a:gd name="connsiteY31" fmla="*/ 404115 h 533494"/>
                <a:gd name="connsiteX32" fmla="*/ 120356 w 239615"/>
                <a:gd name="connsiteY32" fmla="*/ 404115 h 533494"/>
                <a:gd name="connsiteX33" fmla="*/ 127429 w 239615"/>
                <a:gd name="connsiteY33" fmla="*/ 404968 h 533494"/>
                <a:gd name="connsiteX34" fmla="*/ 139501 w 239615"/>
                <a:gd name="connsiteY34" fmla="*/ 387774 h 533494"/>
                <a:gd name="connsiteX35" fmla="*/ 138525 w 239615"/>
                <a:gd name="connsiteY35" fmla="*/ 360825 h 533494"/>
                <a:gd name="connsiteX36" fmla="*/ 124990 w 239615"/>
                <a:gd name="connsiteY36" fmla="*/ 344607 h 533494"/>
                <a:gd name="connsiteX37" fmla="*/ 108284 w 239615"/>
                <a:gd name="connsiteY37" fmla="*/ 332779 h 533494"/>
                <a:gd name="connsiteX38" fmla="*/ 109260 w 239615"/>
                <a:gd name="connsiteY38" fmla="*/ 302781 h 533494"/>
                <a:gd name="connsiteX39" fmla="*/ 113650 w 239615"/>
                <a:gd name="connsiteY39" fmla="*/ 294855 h 533494"/>
                <a:gd name="connsiteX40" fmla="*/ 111089 w 239615"/>
                <a:gd name="connsiteY40" fmla="*/ 290709 h 533494"/>
                <a:gd name="connsiteX41" fmla="*/ 111089 w 239615"/>
                <a:gd name="connsiteY41" fmla="*/ 271930 h 533494"/>
                <a:gd name="connsiteX42" fmla="*/ 122673 w 239615"/>
                <a:gd name="connsiteY42" fmla="*/ 264248 h 533494"/>
                <a:gd name="connsiteX43" fmla="*/ 126453 w 239615"/>
                <a:gd name="connsiteY43" fmla="*/ 239615 h 533494"/>
                <a:gd name="connsiteX44" fmla="*/ 140233 w 239615"/>
                <a:gd name="connsiteY44" fmla="*/ 232665 h 533494"/>
                <a:gd name="connsiteX45" fmla="*/ 149500 w 239615"/>
                <a:gd name="connsiteY45" fmla="*/ 219617 h 533494"/>
                <a:gd name="connsiteX46" fmla="*/ 163890 w 239615"/>
                <a:gd name="connsiteY46" fmla="*/ 209130 h 533494"/>
                <a:gd name="connsiteX47" fmla="*/ 179620 w 239615"/>
                <a:gd name="connsiteY47" fmla="*/ 193277 h 533494"/>
                <a:gd name="connsiteX48" fmla="*/ 192302 w 239615"/>
                <a:gd name="connsiteY48" fmla="*/ 173523 h 533494"/>
                <a:gd name="connsiteX49" fmla="*/ 189741 w 239615"/>
                <a:gd name="connsiteY49" fmla="*/ 164987 h 533494"/>
                <a:gd name="connsiteX50" fmla="*/ 187546 w 239615"/>
                <a:gd name="connsiteY50" fmla="*/ 158524 h 533494"/>
                <a:gd name="connsiteX51" fmla="*/ 197179 w 239615"/>
                <a:gd name="connsiteY51" fmla="*/ 140233 h 533494"/>
                <a:gd name="connsiteX52" fmla="*/ 197179 w 239615"/>
                <a:gd name="connsiteY52" fmla="*/ 130356 h 533494"/>
                <a:gd name="connsiteX53" fmla="*/ 208764 w 239615"/>
                <a:gd name="connsiteY53" fmla="*/ 120722 h 533494"/>
                <a:gd name="connsiteX54" fmla="*/ 212056 w 239615"/>
                <a:gd name="connsiteY54" fmla="*/ 109991 h 533494"/>
                <a:gd name="connsiteX55" fmla="*/ 226567 w 239615"/>
                <a:gd name="connsiteY55" fmla="*/ 113040 h 533494"/>
                <a:gd name="connsiteX56" fmla="*/ 239615 w 239615"/>
                <a:gd name="connsiteY56" fmla="*/ 108040 h 533494"/>
                <a:gd name="connsiteX57" fmla="*/ 239615 w 239615"/>
                <a:gd name="connsiteY57" fmla="*/ 107918 h 533494"/>
                <a:gd name="connsiteX58" fmla="*/ 237420 w 239615"/>
                <a:gd name="connsiteY58" fmla="*/ 93407 h 533494"/>
                <a:gd name="connsiteX59" fmla="*/ 237298 w 239615"/>
                <a:gd name="connsiteY59" fmla="*/ 92798 h 533494"/>
                <a:gd name="connsiteX60" fmla="*/ 237420 w 239615"/>
                <a:gd name="connsiteY60" fmla="*/ 92066 h 533494"/>
                <a:gd name="connsiteX61" fmla="*/ 237664 w 239615"/>
                <a:gd name="connsiteY61" fmla="*/ 87798 h 533494"/>
                <a:gd name="connsiteX62" fmla="*/ 238762 w 239615"/>
                <a:gd name="connsiteY62" fmla="*/ 72433 h 533494"/>
                <a:gd name="connsiteX63" fmla="*/ 237908 w 239615"/>
                <a:gd name="connsiteY63" fmla="*/ 62922 h 533494"/>
                <a:gd name="connsiteX64" fmla="*/ 237542 w 239615"/>
                <a:gd name="connsiteY64" fmla="*/ 60117 h 533494"/>
                <a:gd name="connsiteX65" fmla="*/ 227787 w 239615"/>
                <a:gd name="connsiteY65" fmla="*/ 52923 h 533494"/>
                <a:gd name="connsiteX66" fmla="*/ 223275 w 239615"/>
                <a:gd name="connsiteY66" fmla="*/ 49630 h 533494"/>
                <a:gd name="connsiteX67" fmla="*/ 226324 w 239615"/>
                <a:gd name="connsiteY67" fmla="*/ 44753 h 533494"/>
                <a:gd name="connsiteX68" fmla="*/ 231689 w 239615"/>
                <a:gd name="connsiteY68" fmla="*/ 36095 h 533494"/>
                <a:gd name="connsiteX69" fmla="*/ 207422 w 239615"/>
                <a:gd name="connsiteY69" fmla="*/ 20120 h 533494"/>
                <a:gd name="connsiteX70" fmla="*/ 206691 w 239615"/>
                <a:gd name="connsiteY70" fmla="*/ 20120 h 533494"/>
                <a:gd name="connsiteX71" fmla="*/ 196326 w 239615"/>
                <a:gd name="connsiteY71" fmla="*/ 19389 h 533494"/>
                <a:gd name="connsiteX72" fmla="*/ 194619 w 239615"/>
                <a:gd name="connsiteY72" fmla="*/ 19267 h 533494"/>
                <a:gd name="connsiteX73" fmla="*/ 193278 w 239615"/>
                <a:gd name="connsiteY73" fmla="*/ 18413 h 533494"/>
                <a:gd name="connsiteX74" fmla="*/ 180108 w 239615"/>
                <a:gd name="connsiteY74" fmla="*/ 9755 h 533494"/>
                <a:gd name="connsiteX75" fmla="*/ 178644 w 239615"/>
                <a:gd name="connsiteY75" fmla="*/ 8658 h 533494"/>
                <a:gd name="connsiteX76" fmla="*/ 177913 w 239615"/>
                <a:gd name="connsiteY76" fmla="*/ 6951 h 533494"/>
                <a:gd name="connsiteX77" fmla="*/ 175840 w 239615"/>
                <a:gd name="connsiteY77" fmla="*/ 2073 h 533494"/>
                <a:gd name="connsiteX78" fmla="*/ 174986 w 239615"/>
                <a:gd name="connsiteY78" fmla="*/ 0 h 533494"/>
                <a:gd name="connsiteX79" fmla="*/ 170718 w 239615"/>
                <a:gd name="connsiteY79" fmla="*/ 366 h 533494"/>
                <a:gd name="connsiteX80" fmla="*/ 167548 w 239615"/>
                <a:gd name="connsiteY80" fmla="*/ 12560 h 533494"/>
                <a:gd name="connsiteX81" fmla="*/ 166572 w 239615"/>
                <a:gd name="connsiteY81" fmla="*/ 16218 h 533494"/>
                <a:gd name="connsiteX82" fmla="*/ 162914 w 239615"/>
                <a:gd name="connsiteY82" fmla="*/ 16950 h 533494"/>
                <a:gd name="connsiteX83" fmla="*/ 153402 w 239615"/>
                <a:gd name="connsiteY83" fmla="*/ 19145 h 533494"/>
                <a:gd name="connsiteX84" fmla="*/ 152061 w 239615"/>
                <a:gd name="connsiteY84" fmla="*/ 19511 h 533494"/>
                <a:gd name="connsiteX85" fmla="*/ 150720 w 239615"/>
                <a:gd name="connsiteY85" fmla="*/ 19145 h 533494"/>
                <a:gd name="connsiteX86" fmla="*/ 140355 w 239615"/>
                <a:gd name="connsiteY86" fmla="*/ 16828 h 533494"/>
                <a:gd name="connsiteX87" fmla="*/ 136940 w 239615"/>
                <a:gd name="connsiteY87" fmla="*/ 17072 h 533494"/>
                <a:gd name="connsiteX88" fmla="*/ 132185 w 239615"/>
                <a:gd name="connsiteY88" fmla="*/ 17438 h 533494"/>
                <a:gd name="connsiteX89" fmla="*/ 129136 w 239615"/>
                <a:gd name="connsiteY89" fmla="*/ 25974 h 533494"/>
                <a:gd name="connsiteX90" fmla="*/ 128160 w 239615"/>
                <a:gd name="connsiteY90" fmla="*/ 28900 h 533494"/>
                <a:gd name="connsiteX91" fmla="*/ 125234 w 239615"/>
                <a:gd name="connsiteY91" fmla="*/ 29754 h 533494"/>
                <a:gd name="connsiteX92" fmla="*/ 110723 w 239615"/>
                <a:gd name="connsiteY92" fmla="*/ 34022 h 533494"/>
                <a:gd name="connsiteX93" fmla="*/ 107796 w 239615"/>
                <a:gd name="connsiteY93" fmla="*/ 38899 h 533494"/>
                <a:gd name="connsiteX94" fmla="*/ 105967 w 239615"/>
                <a:gd name="connsiteY94" fmla="*/ 41826 h 533494"/>
                <a:gd name="connsiteX95" fmla="*/ 105357 w 239615"/>
                <a:gd name="connsiteY95" fmla="*/ 42801 h 533494"/>
                <a:gd name="connsiteX96" fmla="*/ 104504 w 239615"/>
                <a:gd name="connsiteY96" fmla="*/ 43411 h 533494"/>
                <a:gd name="connsiteX97" fmla="*/ 93895 w 239615"/>
                <a:gd name="connsiteY97" fmla="*/ 51581 h 533494"/>
                <a:gd name="connsiteX98" fmla="*/ 94626 w 239615"/>
                <a:gd name="connsiteY98" fmla="*/ 52069 h 533494"/>
                <a:gd name="connsiteX99" fmla="*/ 98285 w 239615"/>
                <a:gd name="connsiteY99" fmla="*/ 54142 h 533494"/>
                <a:gd name="connsiteX100" fmla="*/ 97553 w 239615"/>
                <a:gd name="connsiteY100" fmla="*/ 58288 h 533494"/>
                <a:gd name="connsiteX101" fmla="*/ 96456 w 239615"/>
                <a:gd name="connsiteY101" fmla="*/ 64629 h 533494"/>
                <a:gd name="connsiteX102" fmla="*/ 96212 w 239615"/>
                <a:gd name="connsiteY102" fmla="*/ 66702 h 533494"/>
                <a:gd name="connsiteX103" fmla="*/ 94748 w 239615"/>
                <a:gd name="connsiteY103" fmla="*/ 68043 h 533494"/>
                <a:gd name="connsiteX104" fmla="*/ 76335 w 239615"/>
                <a:gd name="connsiteY104" fmla="*/ 85969 h 533494"/>
                <a:gd name="connsiteX105" fmla="*/ 72799 w 239615"/>
                <a:gd name="connsiteY105" fmla="*/ 89505 h 533494"/>
                <a:gd name="connsiteX106" fmla="*/ 71945 w 239615"/>
                <a:gd name="connsiteY106" fmla="*/ 90359 h 533494"/>
                <a:gd name="connsiteX107" fmla="*/ 70726 w 239615"/>
                <a:gd name="connsiteY107" fmla="*/ 90847 h 533494"/>
                <a:gd name="connsiteX108" fmla="*/ 67556 w 239615"/>
                <a:gd name="connsiteY108" fmla="*/ 91944 h 533494"/>
                <a:gd name="connsiteX109" fmla="*/ 61092 w 239615"/>
                <a:gd name="connsiteY109" fmla="*/ 94383 h 533494"/>
                <a:gd name="connsiteX110" fmla="*/ 56825 w 239615"/>
                <a:gd name="connsiteY110" fmla="*/ 101333 h 533494"/>
                <a:gd name="connsiteX111" fmla="*/ 55849 w 239615"/>
                <a:gd name="connsiteY111" fmla="*/ 102797 h 533494"/>
                <a:gd name="connsiteX112" fmla="*/ 55849 w 239615"/>
                <a:gd name="connsiteY112" fmla="*/ 102919 h 533494"/>
                <a:gd name="connsiteX113" fmla="*/ 60361 w 239615"/>
                <a:gd name="connsiteY113" fmla="*/ 113162 h 533494"/>
                <a:gd name="connsiteX114" fmla="*/ 61092 w 239615"/>
                <a:gd name="connsiteY114" fmla="*/ 114625 h 533494"/>
                <a:gd name="connsiteX115" fmla="*/ 60849 w 239615"/>
                <a:gd name="connsiteY115" fmla="*/ 116332 h 533494"/>
                <a:gd name="connsiteX116" fmla="*/ 56703 w 239615"/>
                <a:gd name="connsiteY116" fmla="*/ 153524 h 533494"/>
                <a:gd name="connsiteX117" fmla="*/ 56581 w 239615"/>
                <a:gd name="connsiteY117" fmla="*/ 154866 h 533494"/>
                <a:gd name="connsiteX118" fmla="*/ 55849 w 239615"/>
                <a:gd name="connsiteY118" fmla="*/ 156085 h 533494"/>
                <a:gd name="connsiteX119" fmla="*/ 44752 w 239615"/>
                <a:gd name="connsiteY119" fmla="*/ 173279 h 533494"/>
                <a:gd name="connsiteX120" fmla="*/ 53654 w 239615"/>
                <a:gd name="connsiteY120" fmla="*/ 186693 h 533494"/>
                <a:gd name="connsiteX121" fmla="*/ 56459 w 239615"/>
                <a:gd name="connsiteY121" fmla="*/ 190839 h 533494"/>
                <a:gd name="connsiteX122" fmla="*/ 52923 w 239615"/>
                <a:gd name="connsiteY122" fmla="*/ 194375 h 533494"/>
                <a:gd name="connsiteX123" fmla="*/ 43533 w 239615"/>
                <a:gd name="connsiteY123" fmla="*/ 203764 h 533494"/>
                <a:gd name="connsiteX124" fmla="*/ 41338 w 239615"/>
                <a:gd name="connsiteY124" fmla="*/ 205959 h 533494"/>
                <a:gd name="connsiteX125" fmla="*/ 38412 w 239615"/>
                <a:gd name="connsiteY125" fmla="*/ 205472 h 533494"/>
                <a:gd name="connsiteX126" fmla="*/ 21584 w 239615"/>
                <a:gd name="connsiteY126" fmla="*/ 203155 h 533494"/>
                <a:gd name="connsiteX127" fmla="*/ 12682 w 239615"/>
                <a:gd name="connsiteY127" fmla="*/ 211935 h 533494"/>
                <a:gd name="connsiteX128" fmla="*/ 12682 w 239615"/>
                <a:gd name="connsiteY128" fmla="*/ 243883 h 533494"/>
                <a:gd name="connsiteX129" fmla="*/ 16950 w 239615"/>
                <a:gd name="connsiteY129" fmla="*/ 292416 h 533494"/>
                <a:gd name="connsiteX130" fmla="*/ 24266 w 239615"/>
                <a:gd name="connsiteY130" fmla="*/ 302293 h 533494"/>
                <a:gd name="connsiteX131" fmla="*/ 25486 w 239615"/>
                <a:gd name="connsiteY131" fmla="*/ 303879 h 533494"/>
                <a:gd name="connsiteX132" fmla="*/ 25486 w 239615"/>
                <a:gd name="connsiteY132" fmla="*/ 324974 h 533494"/>
                <a:gd name="connsiteX133" fmla="*/ 21584 w 239615"/>
                <a:gd name="connsiteY133" fmla="*/ 326438 h 533494"/>
                <a:gd name="connsiteX134" fmla="*/ 14755 w 239615"/>
                <a:gd name="connsiteY134" fmla="*/ 328998 h 533494"/>
                <a:gd name="connsiteX135" fmla="*/ 13657 w 239615"/>
                <a:gd name="connsiteY135" fmla="*/ 329486 h 533494"/>
                <a:gd name="connsiteX136" fmla="*/ 13048 w 239615"/>
                <a:gd name="connsiteY136" fmla="*/ 332535 h 533494"/>
                <a:gd name="connsiteX137" fmla="*/ 14511 w 239615"/>
                <a:gd name="connsiteY137" fmla="*/ 334486 h 533494"/>
                <a:gd name="connsiteX138" fmla="*/ 19877 w 239615"/>
                <a:gd name="connsiteY138" fmla="*/ 341680 h 533494"/>
                <a:gd name="connsiteX139" fmla="*/ 21584 w 239615"/>
                <a:gd name="connsiteY139" fmla="*/ 343997 h 533494"/>
                <a:gd name="connsiteX140" fmla="*/ 20974 w 239615"/>
                <a:gd name="connsiteY140" fmla="*/ 346680 h 533494"/>
                <a:gd name="connsiteX141" fmla="*/ 18779 w 239615"/>
                <a:gd name="connsiteY141" fmla="*/ 356313 h 53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239615" h="533494">
                  <a:moveTo>
                    <a:pt x="18779" y="356313"/>
                  </a:moveTo>
                  <a:lnTo>
                    <a:pt x="18413" y="358021"/>
                  </a:lnTo>
                  <a:lnTo>
                    <a:pt x="18047" y="359484"/>
                  </a:lnTo>
                  <a:lnTo>
                    <a:pt x="17194" y="360581"/>
                  </a:lnTo>
                  <a:lnTo>
                    <a:pt x="11218" y="367776"/>
                  </a:lnTo>
                  <a:lnTo>
                    <a:pt x="11097" y="368264"/>
                  </a:lnTo>
                  <a:lnTo>
                    <a:pt x="7072" y="404968"/>
                  </a:lnTo>
                  <a:lnTo>
                    <a:pt x="5609" y="414724"/>
                  </a:lnTo>
                  <a:lnTo>
                    <a:pt x="5609" y="415211"/>
                  </a:lnTo>
                  <a:lnTo>
                    <a:pt x="5365" y="415821"/>
                  </a:lnTo>
                  <a:lnTo>
                    <a:pt x="1829" y="426918"/>
                  </a:lnTo>
                  <a:lnTo>
                    <a:pt x="0" y="432405"/>
                  </a:lnTo>
                  <a:lnTo>
                    <a:pt x="8536" y="439478"/>
                  </a:lnTo>
                  <a:lnTo>
                    <a:pt x="6707" y="467158"/>
                  </a:lnTo>
                  <a:lnTo>
                    <a:pt x="13048" y="476304"/>
                  </a:lnTo>
                  <a:lnTo>
                    <a:pt x="15852" y="487523"/>
                  </a:lnTo>
                  <a:lnTo>
                    <a:pt x="24632" y="497156"/>
                  </a:lnTo>
                  <a:lnTo>
                    <a:pt x="24632" y="515447"/>
                  </a:lnTo>
                  <a:lnTo>
                    <a:pt x="30729" y="526910"/>
                  </a:lnTo>
                  <a:lnTo>
                    <a:pt x="38168" y="533495"/>
                  </a:lnTo>
                  <a:lnTo>
                    <a:pt x="43899" y="531787"/>
                  </a:lnTo>
                  <a:lnTo>
                    <a:pt x="49630" y="531056"/>
                  </a:lnTo>
                  <a:lnTo>
                    <a:pt x="61946" y="512033"/>
                  </a:lnTo>
                  <a:lnTo>
                    <a:pt x="75604" y="511057"/>
                  </a:lnTo>
                  <a:lnTo>
                    <a:pt x="84018" y="505204"/>
                  </a:lnTo>
                  <a:lnTo>
                    <a:pt x="92310" y="480328"/>
                  </a:lnTo>
                  <a:lnTo>
                    <a:pt x="98773" y="458988"/>
                  </a:lnTo>
                  <a:lnTo>
                    <a:pt x="96943" y="427405"/>
                  </a:lnTo>
                  <a:lnTo>
                    <a:pt x="105723" y="415211"/>
                  </a:lnTo>
                  <a:lnTo>
                    <a:pt x="111699" y="416797"/>
                  </a:lnTo>
                  <a:lnTo>
                    <a:pt x="110967" y="409968"/>
                  </a:lnTo>
                  <a:lnTo>
                    <a:pt x="120356" y="404115"/>
                  </a:lnTo>
                  <a:lnTo>
                    <a:pt x="120356" y="404115"/>
                  </a:lnTo>
                  <a:lnTo>
                    <a:pt x="127429" y="404968"/>
                  </a:lnTo>
                  <a:lnTo>
                    <a:pt x="139501" y="387774"/>
                  </a:lnTo>
                  <a:lnTo>
                    <a:pt x="138525" y="360825"/>
                  </a:lnTo>
                  <a:lnTo>
                    <a:pt x="124990" y="344607"/>
                  </a:lnTo>
                  <a:lnTo>
                    <a:pt x="108284" y="332779"/>
                  </a:lnTo>
                  <a:lnTo>
                    <a:pt x="109260" y="302781"/>
                  </a:lnTo>
                  <a:lnTo>
                    <a:pt x="113650" y="294855"/>
                  </a:lnTo>
                  <a:lnTo>
                    <a:pt x="111089" y="290709"/>
                  </a:lnTo>
                  <a:lnTo>
                    <a:pt x="111089" y="271930"/>
                  </a:lnTo>
                  <a:lnTo>
                    <a:pt x="122673" y="264248"/>
                  </a:lnTo>
                  <a:lnTo>
                    <a:pt x="126453" y="239615"/>
                  </a:lnTo>
                  <a:lnTo>
                    <a:pt x="140233" y="232665"/>
                  </a:lnTo>
                  <a:lnTo>
                    <a:pt x="149500" y="219617"/>
                  </a:lnTo>
                  <a:lnTo>
                    <a:pt x="163890" y="209130"/>
                  </a:lnTo>
                  <a:lnTo>
                    <a:pt x="179620" y="193277"/>
                  </a:lnTo>
                  <a:lnTo>
                    <a:pt x="192302" y="173523"/>
                  </a:lnTo>
                  <a:lnTo>
                    <a:pt x="189741" y="164987"/>
                  </a:lnTo>
                  <a:lnTo>
                    <a:pt x="187546" y="158524"/>
                  </a:lnTo>
                  <a:lnTo>
                    <a:pt x="197179" y="140233"/>
                  </a:lnTo>
                  <a:lnTo>
                    <a:pt x="197179" y="130356"/>
                  </a:lnTo>
                  <a:lnTo>
                    <a:pt x="208764" y="120722"/>
                  </a:lnTo>
                  <a:lnTo>
                    <a:pt x="212056" y="109991"/>
                  </a:lnTo>
                  <a:lnTo>
                    <a:pt x="226567" y="113040"/>
                  </a:lnTo>
                  <a:lnTo>
                    <a:pt x="239615" y="108040"/>
                  </a:lnTo>
                  <a:lnTo>
                    <a:pt x="239615" y="107918"/>
                  </a:lnTo>
                  <a:lnTo>
                    <a:pt x="237420" y="93407"/>
                  </a:lnTo>
                  <a:lnTo>
                    <a:pt x="237298" y="92798"/>
                  </a:lnTo>
                  <a:lnTo>
                    <a:pt x="237420" y="92066"/>
                  </a:lnTo>
                  <a:lnTo>
                    <a:pt x="237664" y="87798"/>
                  </a:lnTo>
                  <a:lnTo>
                    <a:pt x="238762" y="72433"/>
                  </a:lnTo>
                  <a:lnTo>
                    <a:pt x="237908" y="62922"/>
                  </a:lnTo>
                  <a:lnTo>
                    <a:pt x="237542" y="60117"/>
                  </a:lnTo>
                  <a:lnTo>
                    <a:pt x="227787" y="52923"/>
                  </a:lnTo>
                  <a:lnTo>
                    <a:pt x="223275" y="49630"/>
                  </a:lnTo>
                  <a:lnTo>
                    <a:pt x="226324" y="44753"/>
                  </a:lnTo>
                  <a:lnTo>
                    <a:pt x="231689" y="36095"/>
                  </a:lnTo>
                  <a:lnTo>
                    <a:pt x="207422" y="20120"/>
                  </a:lnTo>
                  <a:lnTo>
                    <a:pt x="206691" y="20120"/>
                  </a:lnTo>
                  <a:lnTo>
                    <a:pt x="196326" y="19389"/>
                  </a:lnTo>
                  <a:lnTo>
                    <a:pt x="194619" y="19267"/>
                  </a:lnTo>
                  <a:lnTo>
                    <a:pt x="193278" y="18413"/>
                  </a:lnTo>
                  <a:lnTo>
                    <a:pt x="180108" y="9755"/>
                  </a:lnTo>
                  <a:lnTo>
                    <a:pt x="178644" y="8658"/>
                  </a:lnTo>
                  <a:lnTo>
                    <a:pt x="177913" y="6951"/>
                  </a:lnTo>
                  <a:lnTo>
                    <a:pt x="175840" y="2073"/>
                  </a:lnTo>
                  <a:lnTo>
                    <a:pt x="174986" y="0"/>
                  </a:lnTo>
                  <a:lnTo>
                    <a:pt x="170718" y="366"/>
                  </a:lnTo>
                  <a:lnTo>
                    <a:pt x="167548" y="12560"/>
                  </a:lnTo>
                  <a:lnTo>
                    <a:pt x="166572" y="16218"/>
                  </a:lnTo>
                  <a:lnTo>
                    <a:pt x="162914" y="16950"/>
                  </a:lnTo>
                  <a:lnTo>
                    <a:pt x="153402" y="19145"/>
                  </a:lnTo>
                  <a:lnTo>
                    <a:pt x="152061" y="19511"/>
                  </a:lnTo>
                  <a:lnTo>
                    <a:pt x="150720" y="19145"/>
                  </a:lnTo>
                  <a:lnTo>
                    <a:pt x="140355" y="16828"/>
                  </a:lnTo>
                  <a:lnTo>
                    <a:pt x="136940" y="17072"/>
                  </a:lnTo>
                  <a:lnTo>
                    <a:pt x="132185" y="17438"/>
                  </a:lnTo>
                  <a:lnTo>
                    <a:pt x="129136" y="25974"/>
                  </a:lnTo>
                  <a:lnTo>
                    <a:pt x="128160" y="28900"/>
                  </a:lnTo>
                  <a:lnTo>
                    <a:pt x="125234" y="29754"/>
                  </a:lnTo>
                  <a:lnTo>
                    <a:pt x="110723" y="34022"/>
                  </a:lnTo>
                  <a:lnTo>
                    <a:pt x="107796" y="38899"/>
                  </a:lnTo>
                  <a:lnTo>
                    <a:pt x="105967" y="41826"/>
                  </a:lnTo>
                  <a:lnTo>
                    <a:pt x="105357" y="42801"/>
                  </a:lnTo>
                  <a:lnTo>
                    <a:pt x="104504" y="43411"/>
                  </a:lnTo>
                  <a:lnTo>
                    <a:pt x="93895" y="51581"/>
                  </a:lnTo>
                  <a:lnTo>
                    <a:pt x="94626" y="52069"/>
                  </a:lnTo>
                  <a:lnTo>
                    <a:pt x="98285" y="54142"/>
                  </a:lnTo>
                  <a:lnTo>
                    <a:pt x="97553" y="58288"/>
                  </a:lnTo>
                  <a:lnTo>
                    <a:pt x="96456" y="64629"/>
                  </a:lnTo>
                  <a:lnTo>
                    <a:pt x="96212" y="66702"/>
                  </a:lnTo>
                  <a:lnTo>
                    <a:pt x="94748" y="68043"/>
                  </a:lnTo>
                  <a:lnTo>
                    <a:pt x="76335" y="85969"/>
                  </a:lnTo>
                  <a:lnTo>
                    <a:pt x="72799" y="89505"/>
                  </a:lnTo>
                  <a:lnTo>
                    <a:pt x="71945" y="90359"/>
                  </a:lnTo>
                  <a:lnTo>
                    <a:pt x="70726" y="90847"/>
                  </a:lnTo>
                  <a:lnTo>
                    <a:pt x="67556" y="91944"/>
                  </a:lnTo>
                  <a:lnTo>
                    <a:pt x="61092" y="94383"/>
                  </a:lnTo>
                  <a:lnTo>
                    <a:pt x="56825" y="101333"/>
                  </a:lnTo>
                  <a:lnTo>
                    <a:pt x="55849" y="102797"/>
                  </a:lnTo>
                  <a:lnTo>
                    <a:pt x="55849" y="102919"/>
                  </a:lnTo>
                  <a:lnTo>
                    <a:pt x="60361" y="113162"/>
                  </a:lnTo>
                  <a:lnTo>
                    <a:pt x="61092" y="114625"/>
                  </a:lnTo>
                  <a:lnTo>
                    <a:pt x="60849" y="116332"/>
                  </a:lnTo>
                  <a:lnTo>
                    <a:pt x="56703" y="153524"/>
                  </a:lnTo>
                  <a:lnTo>
                    <a:pt x="56581" y="154866"/>
                  </a:lnTo>
                  <a:lnTo>
                    <a:pt x="55849" y="156085"/>
                  </a:lnTo>
                  <a:lnTo>
                    <a:pt x="44752" y="173279"/>
                  </a:lnTo>
                  <a:lnTo>
                    <a:pt x="53654" y="186693"/>
                  </a:lnTo>
                  <a:lnTo>
                    <a:pt x="56459" y="190839"/>
                  </a:lnTo>
                  <a:lnTo>
                    <a:pt x="52923" y="194375"/>
                  </a:lnTo>
                  <a:lnTo>
                    <a:pt x="43533" y="203764"/>
                  </a:lnTo>
                  <a:lnTo>
                    <a:pt x="41338" y="205959"/>
                  </a:lnTo>
                  <a:lnTo>
                    <a:pt x="38412" y="205472"/>
                  </a:lnTo>
                  <a:lnTo>
                    <a:pt x="21584" y="203155"/>
                  </a:lnTo>
                  <a:lnTo>
                    <a:pt x="12682" y="211935"/>
                  </a:lnTo>
                  <a:lnTo>
                    <a:pt x="12682" y="243883"/>
                  </a:lnTo>
                  <a:lnTo>
                    <a:pt x="16950" y="292416"/>
                  </a:lnTo>
                  <a:lnTo>
                    <a:pt x="24266" y="302293"/>
                  </a:lnTo>
                  <a:lnTo>
                    <a:pt x="25486" y="303879"/>
                  </a:lnTo>
                  <a:lnTo>
                    <a:pt x="25486" y="324974"/>
                  </a:lnTo>
                  <a:lnTo>
                    <a:pt x="21584" y="326438"/>
                  </a:lnTo>
                  <a:lnTo>
                    <a:pt x="14755" y="328998"/>
                  </a:lnTo>
                  <a:lnTo>
                    <a:pt x="13657" y="329486"/>
                  </a:lnTo>
                  <a:lnTo>
                    <a:pt x="13048" y="332535"/>
                  </a:lnTo>
                  <a:lnTo>
                    <a:pt x="14511" y="334486"/>
                  </a:lnTo>
                  <a:lnTo>
                    <a:pt x="19877" y="341680"/>
                  </a:lnTo>
                  <a:lnTo>
                    <a:pt x="21584" y="343997"/>
                  </a:lnTo>
                  <a:lnTo>
                    <a:pt x="20974" y="346680"/>
                  </a:lnTo>
                  <a:lnTo>
                    <a:pt x="18779" y="35631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450F55C4-03BB-4845-A0A0-7541F91C35D6}"/>
                </a:ext>
              </a:extLst>
            </p:cNvPr>
            <p:cNvSpPr/>
            <p:nvPr/>
          </p:nvSpPr>
          <p:spPr>
            <a:xfrm>
              <a:off x="4838076" y="1543807"/>
              <a:ext cx="204618" cy="398383"/>
            </a:xfrm>
            <a:custGeom>
              <a:avLst/>
              <a:gdLst>
                <a:gd name="connsiteX0" fmla="*/ 177425 w 204618"/>
                <a:gd name="connsiteY0" fmla="*/ 254004 h 398383"/>
                <a:gd name="connsiteX1" fmla="*/ 176693 w 204618"/>
                <a:gd name="connsiteY1" fmla="*/ 250712 h 398383"/>
                <a:gd name="connsiteX2" fmla="*/ 174254 w 204618"/>
                <a:gd name="connsiteY2" fmla="*/ 241322 h 398383"/>
                <a:gd name="connsiteX3" fmla="*/ 173645 w 204618"/>
                <a:gd name="connsiteY3" fmla="*/ 239006 h 398383"/>
                <a:gd name="connsiteX4" fmla="*/ 174864 w 204618"/>
                <a:gd name="connsiteY4" fmla="*/ 236933 h 398383"/>
                <a:gd name="connsiteX5" fmla="*/ 181083 w 204618"/>
                <a:gd name="connsiteY5" fmla="*/ 225714 h 398383"/>
                <a:gd name="connsiteX6" fmla="*/ 181083 w 204618"/>
                <a:gd name="connsiteY6" fmla="*/ 215105 h 398383"/>
                <a:gd name="connsiteX7" fmla="*/ 173645 w 204618"/>
                <a:gd name="connsiteY7" fmla="*/ 200960 h 398383"/>
                <a:gd name="connsiteX8" fmla="*/ 171938 w 204618"/>
                <a:gd name="connsiteY8" fmla="*/ 197911 h 398383"/>
                <a:gd name="connsiteX9" fmla="*/ 173645 w 204618"/>
                <a:gd name="connsiteY9" fmla="*/ 194985 h 398383"/>
                <a:gd name="connsiteX10" fmla="*/ 175718 w 204618"/>
                <a:gd name="connsiteY10" fmla="*/ 191448 h 398383"/>
                <a:gd name="connsiteX11" fmla="*/ 176937 w 204618"/>
                <a:gd name="connsiteY11" fmla="*/ 189131 h 398383"/>
                <a:gd name="connsiteX12" fmla="*/ 171206 w 204618"/>
                <a:gd name="connsiteY12" fmla="*/ 185107 h 398383"/>
                <a:gd name="connsiteX13" fmla="*/ 167670 w 204618"/>
                <a:gd name="connsiteY13" fmla="*/ 182547 h 398383"/>
                <a:gd name="connsiteX14" fmla="*/ 168889 w 204618"/>
                <a:gd name="connsiteY14" fmla="*/ 178279 h 398383"/>
                <a:gd name="connsiteX15" fmla="*/ 173767 w 204618"/>
                <a:gd name="connsiteY15" fmla="*/ 162426 h 398383"/>
                <a:gd name="connsiteX16" fmla="*/ 169987 w 204618"/>
                <a:gd name="connsiteY16" fmla="*/ 148403 h 398383"/>
                <a:gd name="connsiteX17" fmla="*/ 169987 w 204618"/>
                <a:gd name="connsiteY17" fmla="*/ 147184 h 398383"/>
                <a:gd name="connsiteX18" fmla="*/ 169987 w 204618"/>
                <a:gd name="connsiteY18" fmla="*/ 146086 h 398383"/>
                <a:gd name="connsiteX19" fmla="*/ 172669 w 204618"/>
                <a:gd name="connsiteY19" fmla="*/ 123771 h 398383"/>
                <a:gd name="connsiteX20" fmla="*/ 154622 w 204618"/>
                <a:gd name="connsiteY20" fmla="*/ 97309 h 398383"/>
                <a:gd name="connsiteX21" fmla="*/ 151939 w 204618"/>
                <a:gd name="connsiteY21" fmla="*/ 93407 h 398383"/>
                <a:gd name="connsiteX22" fmla="*/ 155231 w 204618"/>
                <a:gd name="connsiteY22" fmla="*/ 89871 h 398383"/>
                <a:gd name="connsiteX23" fmla="*/ 158768 w 204618"/>
                <a:gd name="connsiteY23" fmla="*/ 86091 h 398383"/>
                <a:gd name="connsiteX24" fmla="*/ 166450 w 204618"/>
                <a:gd name="connsiteY24" fmla="*/ 77677 h 398383"/>
                <a:gd name="connsiteX25" fmla="*/ 159744 w 204618"/>
                <a:gd name="connsiteY25" fmla="*/ 63410 h 398383"/>
                <a:gd name="connsiteX26" fmla="*/ 144867 w 204618"/>
                <a:gd name="connsiteY26" fmla="*/ 55362 h 398383"/>
                <a:gd name="connsiteX27" fmla="*/ 141696 w 204618"/>
                <a:gd name="connsiteY27" fmla="*/ 53532 h 398383"/>
                <a:gd name="connsiteX28" fmla="*/ 141696 w 204618"/>
                <a:gd name="connsiteY28" fmla="*/ 38655 h 398383"/>
                <a:gd name="connsiteX29" fmla="*/ 143159 w 204618"/>
                <a:gd name="connsiteY29" fmla="*/ 37070 h 398383"/>
                <a:gd name="connsiteX30" fmla="*/ 154378 w 204618"/>
                <a:gd name="connsiteY30" fmla="*/ 23535 h 398383"/>
                <a:gd name="connsiteX31" fmla="*/ 154378 w 204618"/>
                <a:gd name="connsiteY31" fmla="*/ 21949 h 398383"/>
                <a:gd name="connsiteX32" fmla="*/ 153402 w 204618"/>
                <a:gd name="connsiteY32" fmla="*/ 7804 h 398383"/>
                <a:gd name="connsiteX33" fmla="*/ 141208 w 204618"/>
                <a:gd name="connsiteY33" fmla="*/ 1585 h 398383"/>
                <a:gd name="connsiteX34" fmla="*/ 138038 w 204618"/>
                <a:gd name="connsiteY34" fmla="*/ 0 h 398383"/>
                <a:gd name="connsiteX35" fmla="*/ 135233 w 204618"/>
                <a:gd name="connsiteY35" fmla="*/ 0 h 398383"/>
                <a:gd name="connsiteX36" fmla="*/ 123039 w 204618"/>
                <a:gd name="connsiteY36" fmla="*/ 0 h 398383"/>
                <a:gd name="connsiteX37" fmla="*/ 107431 w 204618"/>
                <a:gd name="connsiteY37" fmla="*/ 7195 h 398383"/>
                <a:gd name="connsiteX38" fmla="*/ 106211 w 204618"/>
                <a:gd name="connsiteY38" fmla="*/ 26827 h 398383"/>
                <a:gd name="connsiteX39" fmla="*/ 106211 w 204618"/>
                <a:gd name="connsiteY39" fmla="*/ 30242 h 398383"/>
                <a:gd name="connsiteX40" fmla="*/ 104016 w 204618"/>
                <a:gd name="connsiteY40" fmla="*/ 31949 h 398383"/>
                <a:gd name="connsiteX41" fmla="*/ 91822 w 204618"/>
                <a:gd name="connsiteY41" fmla="*/ 41948 h 398383"/>
                <a:gd name="connsiteX42" fmla="*/ 90115 w 204618"/>
                <a:gd name="connsiteY42" fmla="*/ 43289 h 398383"/>
                <a:gd name="connsiteX43" fmla="*/ 82066 w 204618"/>
                <a:gd name="connsiteY43" fmla="*/ 43289 h 398383"/>
                <a:gd name="connsiteX44" fmla="*/ 79018 w 204618"/>
                <a:gd name="connsiteY44" fmla="*/ 42436 h 398383"/>
                <a:gd name="connsiteX45" fmla="*/ 71945 w 204618"/>
                <a:gd name="connsiteY45" fmla="*/ 38168 h 398383"/>
                <a:gd name="connsiteX46" fmla="*/ 62556 w 204618"/>
                <a:gd name="connsiteY46" fmla="*/ 38168 h 398383"/>
                <a:gd name="connsiteX47" fmla="*/ 58288 w 204618"/>
                <a:gd name="connsiteY47" fmla="*/ 40119 h 398383"/>
                <a:gd name="connsiteX48" fmla="*/ 51215 w 204618"/>
                <a:gd name="connsiteY48" fmla="*/ 43533 h 398383"/>
                <a:gd name="connsiteX49" fmla="*/ 49386 w 204618"/>
                <a:gd name="connsiteY49" fmla="*/ 44265 h 398383"/>
                <a:gd name="connsiteX50" fmla="*/ 47557 w 204618"/>
                <a:gd name="connsiteY50" fmla="*/ 44265 h 398383"/>
                <a:gd name="connsiteX51" fmla="*/ 39875 w 204618"/>
                <a:gd name="connsiteY51" fmla="*/ 42923 h 398383"/>
                <a:gd name="connsiteX52" fmla="*/ 34631 w 204618"/>
                <a:gd name="connsiteY52" fmla="*/ 41948 h 398383"/>
                <a:gd name="connsiteX53" fmla="*/ 32924 w 204618"/>
                <a:gd name="connsiteY53" fmla="*/ 41948 h 398383"/>
                <a:gd name="connsiteX54" fmla="*/ 31705 w 204618"/>
                <a:gd name="connsiteY54" fmla="*/ 40850 h 398383"/>
                <a:gd name="connsiteX55" fmla="*/ 14633 w 204618"/>
                <a:gd name="connsiteY55" fmla="*/ 25974 h 398383"/>
                <a:gd name="connsiteX56" fmla="*/ 5853 w 204618"/>
                <a:gd name="connsiteY56" fmla="*/ 25242 h 398383"/>
                <a:gd name="connsiteX57" fmla="*/ 0 w 204618"/>
                <a:gd name="connsiteY57" fmla="*/ 28778 h 398383"/>
                <a:gd name="connsiteX58" fmla="*/ 610 w 204618"/>
                <a:gd name="connsiteY58" fmla="*/ 30242 h 398383"/>
                <a:gd name="connsiteX59" fmla="*/ 2439 w 204618"/>
                <a:gd name="connsiteY59" fmla="*/ 34753 h 398383"/>
                <a:gd name="connsiteX60" fmla="*/ 14633 w 204618"/>
                <a:gd name="connsiteY60" fmla="*/ 42801 h 398383"/>
                <a:gd name="connsiteX61" fmla="*/ 24510 w 204618"/>
                <a:gd name="connsiteY61" fmla="*/ 43533 h 398383"/>
                <a:gd name="connsiteX62" fmla="*/ 27437 w 204618"/>
                <a:gd name="connsiteY62" fmla="*/ 43533 h 398383"/>
                <a:gd name="connsiteX63" fmla="*/ 28778 w 204618"/>
                <a:gd name="connsiteY63" fmla="*/ 44387 h 398383"/>
                <a:gd name="connsiteX64" fmla="*/ 54874 w 204618"/>
                <a:gd name="connsiteY64" fmla="*/ 61702 h 398383"/>
                <a:gd name="connsiteX65" fmla="*/ 59873 w 204618"/>
                <a:gd name="connsiteY65" fmla="*/ 64995 h 398383"/>
                <a:gd name="connsiteX66" fmla="*/ 56703 w 204618"/>
                <a:gd name="connsiteY66" fmla="*/ 69994 h 398383"/>
                <a:gd name="connsiteX67" fmla="*/ 51215 w 204618"/>
                <a:gd name="connsiteY67" fmla="*/ 78774 h 398383"/>
                <a:gd name="connsiteX68" fmla="*/ 60239 w 204618"/>
                <a:gd name="connsiteY68" fmla="*/ 85359 h 398383"/>
                <a:gd name="connsiteX69" fmla="*/ 62434 w 204618"/>
                <a:gd name="connsiteY69" fmla="*/ 86944 h 398383"/>
                <a:gd name="connsiteX70" fmla="*/ 62434 w 204618"/>
                <a:gd name="connsiteY70" fmla="*/ 89627 h 398383"/>
                <a:gd name="connsiteX71" fmla="*/ 62434 w 204618"/>
                <a:gd name="connsiteY71" fmla="*/ 93041 h 398383"/>
                <a:gd name="connsiteX72" fmla="*/ 63409 w 204618"/>
                <a:gd name="connsiteY72" fmla="*/ 103041 h 398383"/>
                <a:gd name="connsiteX73" fmla="*/ 63409 w 204618"/>
                <a:gd name="connsiteY73" fmla="*/ 103407 h 398383"/>
                <a:gd name="connsiteX74" fmla="*/ 62312 w 204618"/>
                <a:gd name="connsiteY74" fmla="*/ 119259 h 398383"/>
                <a:gd name="connsiteX75" fmla="*/ 62312 w 204618"/>
                <a:gd name="connsiteY75" fmla="*/ 123039 h 398383"/>
                <a:gd name="connsiteX76" fmla="*/ 64385 w 204618"/>
                <a:gd name="connsiteY76" fmla="*/ 137062 h 398383"/>
                <a:gd name="connsiteX77" fmla="*/ 64385 w 204618"/>
                <a:gd name="connsiteY77" fmla="*/ 138160 h 398383"/>
                <a:gd name="connsiteX78" fmla="*/ 74872 w 204618"/>
                <a:gd name="connsiteY78" fmla="*/ 141086 h 398383"/>
                <a:gd name="connsiteX79" fmla="*/ 94139 w 204618"/>
                <a:gd name="connsiteY79" fmla="*/ 159378 h 398383"/>
                <a:gd name="connsiteX80" fmla="*/ 92066 w 204618"/>
                <a:gd name="connsiteY80" fmla="*/ 168523 h 398383"/>
                <a:gd name="connsiteX81" fmla="*/ 94017 w 204618"/>
                <a:gd name="connsiteY81" fmla="*/ 176571 h 398383"/>
                <a:gd name="connsiteX82" fmla="*/ 86213 w 204618"/>
                <a:gd name="connsiteY82" fmla="*/ 187668 h 398383"/>
                <a:gd name="connsiteX83" fmla="*/ 78165 w 204618"/>
                <a:gd name="connsiteY83" fmla="*/ 187668 h 398383"/>
                <a:gd name="connsiteX84" fmla="*/ 70970 w 204618"/>
                <a:gd name="connsiteY84" fmla="*/ 211081 h 398383"/>
                <a:gd name="connsiteX85" fmla="*/ 58776 w 204618"/>
                <a:gd name="connsiteY85" fmla="*/ 227055 h 398383"/>
                <a:gd name="connsiteX86" fmla="*/ 50606 w 204618"/>
                <a:gd name="connsiteY86" fmla="*/ 229738 h 398383"/>
                <a:gd name="connsiteX87" fmla="*/ 45850 w 204618"/>
                <a:gd name="connsiteY87" fmla="*/ 241932 h 398383"/>
                <a:gd name="connsiteX88" fmla="*/ 38777 w 204618"/>
                <a:gd name="connsiteY88" fmla="*/ 244005 h 398383"/>
                <a:gd name="connsiteX89" fmla="*/ 31827 w 204618"/>
                <a:gd name="connsiteY89" fmla="*/ 250956 h 398383"/>
                <a:gd name="connsiteX90" fmla="*/ 26827 w 204618"/>
                <a:gd name="connsiteY90" fmla="*/ 263150 h 398383"/>
                <a:gd name="connsiteX91" fmla="*/ 18779 w 204618"/>
                <a:gd name="connsiteY91" fmla="*/ 264857 h 398383"/>
                <a:gd name="connsiteX92" fmla="*/ 17925 w 204618"/>
                <a:gd name="connsiteY92" fmla="*/ 272661 h 398383"/>
                <a:gd name="connsiteX93" fmla="*/ 6707 w 204618"/>
                <a:gd name="connsiteY93" fmla="*/ 283880 h 398383"/>
                <a:gd name="connsiteX94" fmla="*/ 7560 w 204618"/>
                <a:gd name="connsiteY94" fmla="*/ 302415 h 398383"/>
                <a:gd name="connsiteX95" fmla="*/ 13170 w 204618"/>
                <a:gd name="connsiteY95" fmla="*/ 324974 h 398383"/>
                <a:gd name="connsiteX96" fmla="*/ 18291 w 204618"/>
                <a:gd name="connsiteY96" fmla="*/ 342168 h 398383"/>
                <a:gd name="connsiteX97" fmla="*/ 12438 w 204618"/>
                <a:gd name="connsiteY97" fmla="*/ 348021 h 398383"/>
                <a:gd name="connsiteX98" fmla="*/ 15852 w 204618"/>
                <a:gd name="connsiteY98" fmla="*/ 376556 h 398383"/>
                <a:gd name="connsiteX99" fmla="*/ 24876 w 204618"/>
                <a:gd name="connsiteY99" fmla="*/ 377409 h 398383"/>
                <a:gd name="connsiteX100" fmla="*/ 28534 w 204618"/>
                <a:gd name="connsiteY100" fmla="*/ 384848 h 398383"/>
                <a:gd name="connsiteX101" fmla="*/ 40728 w 204618"/>
                <a:gd name="connsiteY101" fmla="*/ 384848 h 398383"/>
                <a:gd name="connsiteX102" fmla="*/ 42680 w 204618"/>
                <a:gd name="connsiteY102" fmla="*/ 397042 h 398383"/>
                <a:gd name="connsiteX103" fmla="*/ 47313 w 204618"/>
                <a:gd name="connsiteY103" fmla="*/ 398383 h 398383"/>
                <a:gd name="connsiteX104" fmla="*/ 56947 w 204618"/>
                <a:gd name="connsiteY104" fmla="*/ 394847 h 398383"/>
                <a:gd name="connsiteX105" fmla="*/ 63044 w 204618"/>
                <a:gd name="connsiteY105" fmla="*/ 390823 h 398383"/>
                <a:gd name="connsiteX106" fmla="*/ 70726 w 204618"/>
                <a:gd name="connsiteY106" fmla="*/ 391798 h 398383"/>
                <a:gd name="connsiteX107" fmla="*/ 81945 w 204618"/>
                <a:gd name="connsiteY107" fmla="*/ 386189 h 398383"/>
                <a:gd name="connsiteX108" fmla="*/ 94139 w 204618"/>
                <a:gd name="connsiteY108" fmla="*/ 386189 h 398383"/>
                <a:gd name="connsiteX109" fmla="*/ 96943 w 204618"/>
                <a:gd name="connsiteY109" fmla="*/ 379848 h 398383"/>
                <a:gd name="connsiteX110" fmla="*/ 116210 w 204618"/>
                <a:gd name="connsiteY110" fmla="*/ 375946 h 398383"/>
                <a:gd name="connsiteX111" fmla="*/ 121576 w 204618"/>
                <a:gd name="connsiteY111" fmla="*/ 370581 h 398383"/>
                <a:gd name="connsiteX112" fmla="*/ 131453 w 204618"/>
                <a:gd name="connsiteY112" fmla="*/ 375580 h 398383"/>
                <a:gd name="connsiteX113" fmla="*/ 144623 w 204618"/>
                <a:gd name="connsiteY113" fmla="*/ 368995 h 398383"/>
                <a:gd name="connsiteX114" fmla="*/ 144623 w 204618"/>
                <a:gd name="connsiteY114" fmla="*/ 368995 h 398383"/>
                <a:gd name="connsiteX115" fmla="*/ 149256 w 204618"/>
                <a:gd name="connsiteY115" fmla="*/ 349119 h 398383"/>
                <a:gd name="connsiteX116" fmla="*/ 149256 w 204618"/>
                <a:gd name="connsiteY116" fmla="*/ 347900 h 398383"/>
                <a:gd name="connsiteX117" fmla="*/ 149988 w 204618"/>
                <a:gd name="connsiteY117" fmla="*/ 346924 h 398383"/>
                <a:gd name="connsiteX118" fmla="*/ 171206 w 204618"/>
                <a:gd name="connsiteY118" fmla="*/ 317292 h 398383"/>
                <a:gd name="connsiteX119" fmla="*/ 204618 w 204618"/>
                <a:gd name="connsiteY119" fmla="*/ 277051 h 398383"/>
                <a:gd name="connsiteX120" fmla="*/ 191692 w 204618"/>
                <a:gd name="connsiteY120" fmla="*/ 259492 h 398383"/>
                <a:gd name="connsiteX121" fmla="*/ 190351 w 204618"/>
                <a:gd name="connsiteY121" fmla="*/ 259492 h 398383"/>
                <a:gd name="connsiteX122" fmla="*/ 179986 w 204618"/>
                <a:gd name="connsiteY122" fmla="*/ 256443 h 398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204618" h="398383">
                  <a:moveTo>
                    <a:pt x="177425" y="254004"/>
                  </a:moveTo>
                  <a:lnTo>
                    <a:pt x="176693" y="250712"/>
                  </a:lnTo>
                  <a:lnTo>
                    <a:pt x="174254" y="241322"/>
                  </a:lnTo>
                  <a:lnTo>
                    <a:pt x="173645" y="239006"/>
                  </a:lnTo>
                  <a:lnTo>
                    <a:pt x="174864" y="236933"/>
                  </a:lnTo>
                  <a:lnTo>
                    <a:pt x="181083" y="225714"/>
                  </a:lnTo>
                  <a:lnTo>
                    <a:pt x="181083" y="215105"/>
                  </a:lnTo>
                  <a:lnTo>
                    <a:pt x="173645" y="200960"/>
                  </a:lnTo>
                  <a:lnTo>
                    <a:pt x="171938" y="197911"/>
                  </a:lnTo>
                  <a:lnTo>
                    <a:pt x="173645" y="194985"/>
                  </a:lnTo>
                  <a:lnTo>
                    <a:pt x="175718" y="191448"/>
                  </a:lnTo>
                  <a:lnTo>
                    <a:pt x="176937" y="189131"/>
                  </a:lnTo>
                  <a:lnTo>
                    <a:pt x="171206" y="185107"/>
                  </a:lnTo>
                  <a:lnTo>
                    <a:pt x="167670" y="182547"/>
                  </a:lnTo>
                  <a:lnTo>
                    <a:pt x="168889" y="178279"/>
                  </a:lnTo>
                  <a:lnTo>
                    <a:pt x="173767" y="162426"/>
                  </a:lnTo>
                  <a:lnTo>
                    <a:pt x="169987" y="148403"/>
                  </a:lnTo>
                  <a:lnTo>
                    <a:pt x="169987" y="147184"/>
                  </a:lnTo>
                  <a:lnTo>
                    <a:pt x="169987" y="146086"/>
                  </a:lnTo>
                  <a:lnTo>
                    <a:pt x="172669" y="123771"/>
                  </a:lnTo>
                  <a:lnTo>
                    <a:pt x="154622" y="97309"/>
                  </a:lnTo>
                  <a:lnTo>
                    <a:pt x="151939" y="93407"/>
                  </a:lnTo>
                  <a:lnTo>
                    <a:pt x="155231" y="89871"/>
                  </a:lnTo>
                  <a:lnTo>
                    <a:pt x="158768" y="86091"/>
                  </a:lnTo>
                  <a:lnTo>
                    <a:pt x="166450" y="77677"/>
                  </a:lnTo>
                  <a:lnTo>
                    <a:pt x="159744" y="63410"/>
                  </a:lnTo>
                  <a:lnTo>
                    <a:pt x="144867" y="55362"/>
                  </a:lnTo>
                  <a:lnTo>
                    <a:pt x="141696" y="53532"/>
                  </a:lnTo>
                  <a:lnTo>
                    <a:pt x="141696" y="38655"/>
                  </a:lnTo>
                  <a:lnTo>
                    <a:pt x="143159" y="37070"/>
                  </a:lnTo>
                  <a:lnTo>
                    <a:pt x="154378" y="23535"/>
                  </a:lnTo>
                  <a:lnTo>
                    <a:pt x="154378" y="21949"/>
                  </a:lnTo>
                  <a:lnTo>
                    <a:pt x="153402" y="7804"/>
                  </a:lnTo>
                  <a:lnTo>
                    <a:pt x="141208" y="1585"/>
                  </a:lnTo>
                  <a:lnTo>
                    <a:pt x="138038" y="0"/>
                  </a:lnTo>
                  <a:lnTo>
                    <a:pt x="135233" y="0"/>
                  </a:lnTo>
                  <a:lnTo>
                    <a:pt x="123039" y="0"/>
                  </a:lnTo>
                  <a:lnTo>
                    <a:pt x="107431" y="7195"/>
                  </a:lnTo>
                  <a:lnTo>
                    <a:pt x="106211" y="26827"/>
                  </a:lnTo>
                  <a:lnTo>
                    <a:pt x="106211" y="30242"/>
                  </a:lnTo>
                  <a:lnTo>
                    <a:pt x="104016" y="31949"/>
                  </a:lnTo>
                  <a:lnTo>
                    <a:pt x="91822" y="41948"/>
                  </a:lnTo>
                  <a:lnTo>
                    <a:pt x="90115" y="43289"/>
                  </a:lnTo>
                  <a:lnTo>
                    <a:pt x="82066" y="43289"/>
                  </a:lnTo>
                  <a:lnTo>
                    <a:pt x="79018" y="42436"/>
                  </a:lnTo>
                  <a:lnTo>
                    <a:pt x="71945" y="38168"/>
                  </a:lnTo>
                  <a:lnTo>
                    <a:pt x="62556" y="38168"/>
                  </a:lnTo>
                  <a:lnTo>
                    <a:pt x="58288" y="40119"/>
                  </a:lnTo>
                  <a:lnTo>
                    <a:pt x="51215" y="43533"/>
                  </a:lnTo>
                  <a:lnTo>
                    <a:pt x="49386" y="44265"/>
                  </a:lnTo>
                  <a:lnTo>
                    <a:pt x="47557" y="44265"/>
                  </a:lnTo>
                  <a:lnTo>
                    <a:pt x="39875" y="42923"/>
                  </a:lnTo>
                  <a:lnTo>
                    <a:pt x="34631" y="41948"/>
                  </a:lnTo>
                  <a:lnTo>
                    <a:pt x="32924" y="41948"/>
                  </a:lnTo>
                  <a:lnTo>
                    <a:pt x="31705" y="40850"/>
                  </a:lnTo>
                  <a:lnTo>
                    <a:pt x="14633" y="25974"/>
                  </a:lnTo>
                  <a:lnTo>
                    <a:pt x="5853" y="25242"/>
                  </a:lnTo>
                  <a:lnTo>
                    <a:pt x="0" y="28778"/>
                  </a:lnTo>
                  <a:lnTo>
                    <a:pt x="610" y="30242"/>
                  </a:lnTo>
                  <a:lnTo>
                    <a:pt x="2439" y="34753"/>
                  </a:lnTo>
                  <a:lnTo>
                    <a:pt x="14633" y="42801"/>
                  </a:lnTo>
                  <a:lnTo>
                    <a:pt x="24510" y="43533"/>
                  </a:lnTo>
                  <a:lnTo>
                    <a:pt x="27437" y="43533"/>
                  </a:lnTo>
                  <a:lnTo>
                    <a:pt x="28778" y="44387"/>
                  </a:lnTo>
                  <a:lnTo>
                    <a:pt x="54874" y="61702"/>
                  </a:lnTo>
                  <a:lnTo>
                    <a:pt x="59873" y="64995"/>
                  </a:lnTo>
                  <a:lnTo>
                    <a:pt x="56703" y="69994"/>
                  </a:lnTo>
                  <a:lnTo>
                    <a:pt x="51215" y="78774"/>
                  </a:lnTo>
                  <a:lnTo>
                    <a:pt x="60239" y="85359"/>
                  </a:lnTo>
                  <a:lnTo>
                    <a:pt x="62434" y="86944"/>
                  </a:lnTo>
                  <a:lnTo>
                    <a:pt x="62434" y="89627"/>
                  </a:lnTo>
                  <a:lnTo>
                    <a:pt x="62434" y="93041"/>
                  </a:lnTo>
                  <a:lnTo>
                    <a:pt x="63409" y="103041"/>
                  </a:lnTo>
                  <a:lnTo>
                    <a:pt x="63409" y="103407"/>
                  </a:lnTo>
                  <a:lnTo>
                    <a:pt x="62312" y="119259"/>
                  </a:lnTo>
                  <a:lnTo>
                    <a:pt x="62312" y="123039"/>
                  </a:lnTo>
                  <a:lnTo>
                    <a:pt x="64385" y="137062"/>
                  </a:lnTo>
                  <a:lnTo>
                    <a:pt x="64385" y="138160"/>
                  </a:lnTo>
                  <a:lnTo>
                    <a:pt x="74872" y="141086"/>
                  </a:lnTo>
                  <a:lnTo>
                    <a:pt x="94139" y="159378"/>
                  </a:lnTo>
                  <a:lnTo>
                    <a:pt x="92066" y="168523"/>
                  </a:lnTo>
                  <a:lnTo>
                    <a:pt x="94017" y="176571"/>
                  </a:lnTo>
                  <a:lnTo>
                    <a:pt x="86213" y="187668"/>
                  </a:lnTo>
                  <a:lnTo>
                    <a:pt x="78165" y="187668"/>
                  </a:lnTo>
                  <a:lnTo>
                    <a:pt x="70970" y="211081"/>
                  </a:lnTo>
                  <a:lnTo>
                    <a:pt x="58776" y="227055"/>
                  </a:lnTo>
                  <a:lnTo>
                    <a:pt x="50606" y="229738"/>
                  </a:lnTo>
                  <a:lnTo>
                    <a:pt x="45850" y="241932"/>
                  </a:lnTo>
                  <a:lnTo>
                    <a:pt x="38777" y="244005"/>
                  </a:lnTo>
                  <a:lnTo>
                    <a:pt x="31827" y="250956"/>
                  </a:lnTo>
                  <a:lnTo>
                    <a:pt x="26827" y="263150"/>
                  </a:lnTo>
                  <a:lnTo>
                    <a:pt x="18779" y="264857"/>
                  </a:lnTo>
                  <a:lnTo>
                    <a:pt x="17925" y="272661"/>
                  </a:lnTo>
                  <a:lnTo>
                    <a:pt x="6707" y="283880"/>
                  </a:lnTo>
                  <a:cubicBezTo>
                    <a:pt x="6637" y="290070"/>
                    <a:pt x="6922" y="296258"/>
                    <a:pt x="7560" y="302415"/>
                  </a:cubicBezTo>
                  <a:cubicBezTo>
                    <a:pt x="8536" y="307049"/>
                    <a:pt x="13170" y="324853"/>
                    <a:pt x="13170" y="324974"/>
                  </a:cubicBezTo>
                  <a:lnTo>
                    <a:pt x="18291" y="342168"/>
                  </a:lnTo>
                  <a:lnTo>
                    <a:pt x="12438" y="348021"/>
                  </a:lnTo>
                  <a:lnTo>
                    <a:pt x="15852" y="376556"/>
                  </a:lnTo>
                  <a:lnTo>
                    <a:pt x="24876" y="377409"/>
                  </a:lnTo>
                  <a:lnTo>
                    <a:pt x="28534" y="384848"/>
                  </a:lnTo>
                  <a:lnTo>
                    <a:pt x="40728" y="384848"/>
                  </a:lnTo>
                  <a:lnTo>
                    <a:pt x="42680" y="397042"/>
                  </a:lnTo>
                  <a:lnTo>
                    <a:pt x="47313" y="398383"/>
                  </a:lnTo>
                  <a:lnTo>
                    <a:pt x="56947" y="394847"/>
                  </a:lnTo>
                  <a:lnTo>
                    <a:pt x="63044" y="390823"/>
                  </a:lnTo>
                  <a:lnTo>
                    <a:pt x="70726" y="391798"/>
                  </a:lnTo>
                  <a:lnTo>
                    <a:pt x="81945" y="386189"/>
                  </a:lnTo>
                  <a:lnTo>
                    <a:pt x="94139" y="386189"/>
                  </a:lnTo>
                  <a:lnTo>
                    <a:pt x="96943" y="379848"/>
                  </a:lnTo>
                  <a:lnTo>
                    <a:pt x="116210" y="375946"/>
                  </a:lnTo>
                  <a:lnTo>
                    <a:pt x="121576" y="370581"/>
                  </a:lnTo>
                  <a:lnTo>
                    <a:pt x="131453" y="375580"/>
                  </a:lnTo>
                  <a:lnTo>
                    <a:pt x="144623" y="368995"/>
                  </a:lnTo>
                  <a:lnTo>
                    <a:pt x="144623" y="368995"/>
                  </a:lnTo>
                  <a:lnTo>
                    <a:pt x="149256" y="349119"/>
                  </a:lnTo>
                  <a:lnTo>
                    <a:pt x="149256" y="347900"/>
                  </a:lnTo>
                  <a:lnTo>
                    <a:pt x="149988" y="346924"/>
                  </a:lnTo>
                  <a:lnTo>
                    <a:pt x="171206" y="317292"/>
                  </a:lnTo>
                  <a:lnTo>
                    <a:pt x="204618" y="277051"/>
                  </a:lnTo>
                  <a:lnTo>
                    <a:pt x="191692" y="259492"/>
                  </a:lnTo>
                  <a:lnTo>
                    <a:pt x="190351" y="259492"/>
                  </a:lnTo>
                  <a:lnTo>
                    <a:pt x="179986" y="25644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C43210D1-DFBC-4446-B6BF-5829BE2595D7}"/>
                </a:ext>
              </a:extLst>
            </p:cNvPr>
            <p:cNvSpPr/>
            <p:nvPr/>
          </p:nvSpPr>
          <p:spPr>
            <a:xfrm>
              <a:off x="4958555" y="2343012"/>
              <a:ext cx="54385" cy="75969"/>
            </a:xfrm>
            <a:custGeom>
              <a:avLst/>
              <a:gdLst>
                <a:gd name="connsiteX0" fmla="*/ 35485 w 54385"/>
                <a:gd name="connsiteY0" fmla="*/ 75970 h 75969"/>
                <a:gd name="connsiteX1" fmla="*/ 36460 w 54385"/>
                <a:gd name="connsiteY1" fmla="*/ 64141 h 75969"/>
                <a:gd name="connsiteX2" fmla="*/ 36582 w 54385"/>
                <a:gd name="connsiteY2" fmla="*/ 62922 h 75969"/>
                <a:gd name="connsiteX3" fmla="*/ 37192 w 54385"/>
                <a:gd name="connsiteY3" fmla="*/ 61703 h 75969"/>
                <a:gd name="connsiteX4" fmla="*/ 43289 w 54385"/>
                <a:gd name="connsiteY4" fmla="*/ 50728 h 75969"/>
                <a:gd name="connsiteX5" fmla="*/ 45484 w 54385"/>
                <a:gd name="connsiteY5" fmla="*/ 46948 h 75969"/>
                <a:gd name="connsiteX6" fmla="*/ 49630 w 54385"/>
                <a:gd name="connsiteY6" fmla="*/ 47679 h 75969"/>
                <a:gd name="connsiteX7" fmla="*/ 53288 w 54385"/>
                <a:gd name="connsiteY7" fmla="*/ 48289 h 75969"/>
                <a:gd name="connsiteX8" fmla="*/ 54386 w 54385"/>
                <a:gd name="connsiteY8" fmla="*/ 45362 h 75969"/>
                <a:gd name="connsiteX9" fmla="*/ 48045 w 54385"/>
                <a:gd name="connsiteY9" fmla="*/ 38899 h 75969"/>
                <a:gd name="connsiteX10" fmla="*/ 46703 w 54385"/>
                <a:gd name="connsiteY10" fmla="*/ 37680 h 75969"/>
                <a:gd name="connsiteX11" fmla="*/ 46338 w 54385"/>
                <a:gd name="connsiteY11" fmla="*/ 35973 h 75969"/>
                <a:gd name="connsiteX12" fmla="*/ 40972 w 54385"/>
                <a:gd name="connsiteY12" fmla="*/ 11950 h 75969"/>
                <a:gd name="connsiteX13" fmla="*/ 40606 w 54385"/>
                <a:gd name="connsiteY13" fmla="*/ 11463 h 75969"/>
                <a:gd name="connsiteX14" fmla="*/ 31461 w 54385"/>
                <a:gd name="connsiteY14" fmla="*/ 0 h 75969"/>
                <a:gd name="connsiteX15" fmla="*/ 4633 w 54385"/>
                <a:gd name="connsiteY15" fmla="*/ 0 h 75969"/>
                <a:gd name="connsiteX16" fmla="*/ 0 w 54385"/>
                <a:gd name="connsiteY16" fmla="*/ 2805 h 75969"/>
                <a:gd name="connsiteX17" fmla="*/ 2195 w 54385"/>
                <a:gd name="connsiteY17" fmla="*/ 3292 h 75969"/>
                <a:gd name="connsiteX18" fmla="*/ 4633 w 54385"/>
                <a:gd name="connsiteY18" fmla="*/ 3780 h 75969"/>
                <a:gd name="connsiteX19" fmla="*/ 5975 w 54385"/>
                <a:gd name="connsiteY19" fmla="*/ 5853 h 75969"/>
                <a:gd name="connsiteX20" fmla="*/ 12804 w 54385"/>
                <a:gd name="connsiteY20" fmla="*/ 16218 h 75969"/>
                <a:gd name="connsiteX21" fmla="*/ 16584 w 54385"/>
                <a:gd name="connsiteY21" fmla="*/ 21828 h 75969"/>
                <a:gd name="connsiteX22" fmla="*/ 17193 w 54385"/>
                <a:gd name="connsiteY22" fmla="*/ 22681 h 75969"/>
                <a:gd name="connsiteX23" fmla="*/ 17438 w 54385"/>
                <a:gd name="connsiteY23" fmla="*/ 23779 h 75969"/>
                <a:gd name="connsiteX24" fmla="*/ 25607 w 54385"/>
                <a:gd name="connsiteY24" fmla="*/ 55118 h 75969"/>
                <a:gd name="connsiteX25" fmla="*/ 27193 w 54385"/>
                <a:gd name="connsiteY25" fmla="*/ 57069 h 75969"/>
                <a:gd name="connsiteX26" fmla="*/ 31705 w 54385"/>
                <a:gd name="connsiteY26" fmla="*/ 62312 h 75969"/>
                <a:gd name="connsiteX27" fmla="*/ 33046 w 54385"/>
                <a:gd name="connsiteY27" fmla="*/ 64019 h 75969"/>
                <a:gd name="connsiteX28" fmla="*/ 33046 w 54385"/>
                <a:gd name="connsiteY28" fmla="*/ 75238 h 75969"/>
                <a:gd name="connsiteX29" fmla="*/ 35485 w 54385"/>
                <a:gd name="connsiteY29" fmla="*/ 75970 h 7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385" h="75969">
                  <a:moveTo>
                    <a:pt x="35485" y="75970"/>
                  </a:moveTo>
                  <a:lnTo>
                    <a:pt x="36460" y="64141"/>
                  </a:lnTo>
                  <a:lnTo>
                    <a:pt x="36582" y="62922"/>
                  </a:lnTo>
                  <a:lnTo>
                    <a:pt x="37192" y="61703"/>
                  </a:lnTo>
                  <a:lnTo>
                    <a:pt x="43289" y="50728"/>
                  </a:lnTo>
                  <a:lnTo>
                    <a:pt x="45484" y="46948"/>
                  </a:lnTo>
                  <a:lnTo>
                    <a:pt x="49630" y="47679"/>
                  </a:lnTo>
                  <a:lnTo>
                    <a:pt x="53288" y="48289"/>
                  </a:lnTo>
                  <a:lnTo>
                    <a:pt x="54386" y="45362"/>
                  </a:lnTo>
                  <a:lnTo>
                    <a:pt x="48045" y="38899"/>
                  </a:lnTo>
                  <a:lnTo>
                    <a:pt x="46703" y="37680"/>
                  </a:lnTo>
                  <a:lnTo>
                    <a:pt x="46338" y="35973"/>
                  </a:lnTo>
                  <a:lnTo>
                    <a:pt x="40972" y="11950"/>
                  </a:lnTo>
                  <a:lnTo>
                    <a:pt x="40606" y="11463"/>
                  </a:lnTo>
                  <a:lnTo>
                    <a:pt x="31461" y="0"/>
                  </a:lnTo>
                  <a:lnTo>
                    <a:pt x="4633" y="0"/>
                  </a:lnTo>
                  <a:lnTo>
                    <a:pt x="0" y="2805"/>
                  </a:lnTo>
                  <a:lnTo>
                    <a:pt x="2195" y="3292"/>
                  </a:lnTo>
                  <a:lnTo>
                    <a:pt x="4633" y="3780"/>
                  </a:lnTo>
                  <a:lnTo>
                    <a:pt x="5975" y="5853"/>
                  </a:lnTo>
                  <a:lnTo>
                    <a:pt x="12804" y="16218"/>
                  </a:lnTo>
                  <a:lnTo>
                    <a:pt x="16584" y="21828"/>
                  </a:lnTo>
                  <a:lnTo>
                    <a:pt x="17193" y="22681"/>
                  </a:lnTo>
                  <a:lnTo>
                    <a:pt x="17438" y="23779"/>
                  </a:lnTo>
                  <a:lnTo>
                    <a:pt x="25607" y="55118"/>
                  </a:lnTo>
                  <a:lnTo>
                    <a:pt x="27193" y="57069"/>
                  </a:lnTo>
                  <a:lnTo>
                    <a:pt x="31705" y="62312"/>
                  </a:lnTo>
                  <a:lnTo>
                    <a:pt x="33046" y="64019"/>
                  </a:lnTo>
                  <a:lnTo>
                    <a:pt x="33046" y="75238"/>
                  </a:lnTo>
                  <a:lnTo>
                    <a:pt x="35485" y="7597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7508EE63-85CD-44D1-94C5-A9EA7FD9DE61}"/>
                </a:ext>
              </a:extLst>
            </p:cNvPr>
            <p:cNvSpPr/>
            <p:nvPr/>
          </p:nvSpPr>
          <p:spPr>
            <a:xfrm>
              <a:off x="4544928" y="2290090"/>
              <a:ext cx="5121" cy="15486"/>
            </a:xfrm>
            <a:custGeom>
              <a:avLst/>
              <a:gdLst>
                <a:gd name="connsiteX0" fmla="*/ 488 w 5121"/>
                <a:gd name="connsiteY0" fmla="*/ 0 h 15486"/>
                <a:gd name="connsiteX1" fmla="*/ 122 w 5121"/>
                <a:gd name="connsiteY1" fmla="*/ 4390 h 15486"/>
                <a:gd name="connsiteX2" fmla="*/ 0 w 5121"/>
                <a:gd name="connsiteY2" fmla="*/ 6463 h 15486"/>
                <a:gd name="connsiteX3" fmla="*/ 122 w 5121"/>
                <a:gd name="connsiteY3" fmla="*/ 9389 h 15486"/>
                <a:gd name="connsiteX4" fmla="*/ 366 w 5121"/>
                <a:gd name="connsiteY4" fmla="*/ 12926 h 15486"/>
                <a:gd name="connsiteX5" fmla="*/ 488 w 5121"/>
                <a:gd name="connsiteY5" fmla="*/ 14511 h 15486"/>
                <a:gd name="connsiteX6" fmla="*/ 5122 w 5121"/>
                <a:gd name="connsiteY6" fmla="*/ 15487 h 15486"/>
                <a:gd name="connsiteX7" fmla="*/ 2805 w 5121"/>
                <a:gd name="connsiteY7" fmla="*/ 3658 h 15486"/>
                <a:gd name="connsiteX8" fmla="*/ 488 w 5121"/>
                <a:gd name="connsiteY8" fmla="*/ 0 h 15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21" h="15486">
                  <a:moveTo>
                    <a:pt x="488" y="0"/>
                  </a:moveTo>
                  <a:lnTo>
                    <a:pt x="122" y="4390"/>
                  </a:lnTo>
                  <a:lnTo>
                    <a:pt x="0" y="6463"/>
                  </a:lnTo>
                  <a:lnTo>
                    <a:pt x="122" y="9389"/>
                  </a:lnTo>
                  <a:lnTo>
                    <a:pt x="366" y="12926"/>
                  </a:lnTo>
                  <a:lnTo>
                    <a:pt x="488" y="14511"/>
                  </a:lnTo>
                  <a:lnTo>
                    <a:pt x="5122" y="15487"/>
                  </a:lnTo>
                  <a:lnTo>
                    <a:pt x="2805" y="3658"/>
                  </a:lnTo>
                  <a:lnTo>
                    <a:pt x="488" y="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75ABCCCD-DDC0-4BB4-980C-278A314978C9}"/>
                </a:ext>
              </a:extLst>
            </p:cNvPr>
            <p:cNvSpPr/>
            <p:nvPr/>
          </p:nvSpPr>
          <p:spPr>
            <a:xfrm>
              <a:off x="4583706" y="2062546"/>
              <a:ext cx="57434" cy="71213"/>
            </a:xfrm>
            <a:custGeom>
              <a:avLst/>
              <a:gdLst>
                <a:gd name="connsiteX0" fmla="*/ 0 w 57434"/>
                <a:gd name="connsiteY0" fmla="*/ 32558 h 71213"/>
                <a:gd name="connsiteX1" fmla="*/ 2683 w 57434"/>
                <a:gd name="connsiteY1" fmla="*/ 48777 h 71213"/>
                <a:gd name="connsiteX2" fmla="*/ 11219 w 57434"/>
                <a:gd name="connsiteY2" fmla="*/ 58288 h 71213"/>
                <a:gd name="connsiteX3" fmla="*/ 12072 w 57434"/>
                <a:gd name="connsiteY3" fmla="*/ 71214 h 71213"/>
                <a:gd name="connsiteX4" fmla="*/ 15731 w 57434"/>
                <a:gd name="connsiteY4" fmla="*/ 70238 h 71213"/>
                <a:gd name="connsiteX5" fmla="*/ 18047 w 57434"/>
                <a:gd name="connsiteY5" fmla="*/ 69751 h 71213"/>
                <a:gd name="connsiteX6" fmla="*/ 19023 w 57434"/>
                <a:gd name="connsiteY6" fmla="*/ 69507 h 71213"/>
                <a:gd name="connsiteX7" fmla="*/ 19999 w 57434"/>
                <a:gd name="connsiteY7" fmla="*/ 69507 h 71213"/>
                <a:gd name="connsiteX8" fmla="*/ 23169 w 57434"/>
                <a:gd name="connsiteY8" fmla="*/ 69751 h 71213"/>
                <a:gd name="connsiteX9" fmla="*/ 29632 w 57434"/>
                <a:gd name="connsiteY9" fmla="*/ 70238 h 71213"/>
                <a:gd name="connsiteX10" fmla="*/ 24998 w 57434"/>
                <a:gd name="connsiteY10" fmla="*/ 59508 h 71213"/>
                <a:gd name="connsiteX11" fmla="*/ 26096 w 57434"/>
                <a:gd name="connsiteY11" fmla="*/ 44875 h 71213"/>
                <a:gd name="connsiteX12" fmla="*/ 39387 w 57434"/>
                <a:gd name="connsiteY12" fmla="*/ 34266 h 71213"/>
                <a:gd name="connsiteX13" fmla="*/ 41460 w 57434"/>
                <a:gd name="connsiteY13" fmla="*/ 25242 h 71213"/>
                <a:gd name="connsiteX14" fmla="*/ 55118 w 57434"/>
                <a:gd name="connsiteY14" fmla="*/ 22315 h 71213"/>
                <a:gd name="connsiteX15" fmla="*/ 57435 w 57434"/>
                <a:gd name="connsiteY15" fmla="*/ 18169 h 71213"/>
                <a:gd name="connsiteX16" fmla="*/ 53898 w 57434"/>
                <a:gd name="connsiteY16" fmla="*/ 15852 h 71213"/>
                <a:gd name="connsiteX17" fmla="*/ 44753 w 57434"/>
                <a:gd name="connsiteY17" fmla="*/ 14755 h 71213"/>
                <a:gd name="connsiteX18" fmla="*/ 37314 w 57434"/>
                <a:gd name="connsiteY18" fmla="*/ 0 h 71213"/>
                <a:gd name="connsiteX19" fmla="*/ 31095 w 57434"/>
                <a:gd name="connsiteY19" fmla="*/ 610 h 71213"/>
                <a:gd name="connsiteX20" fmla="*/ 22316 w 57434"/>
                <a:gd name="connsiteY20" fmla="*/ 12438 h 71213"/>
                <a:gd name="connsiteX21" fmla="*/ 22316 w 57434"/>
                <a:gd name="connsiteY21" fmla="*/ 12438 h 71213"/>
                <a:gd name="connsiteX22" fmla="*/ 14267 w 57434"/>
                <a:gd name="connsiteY22" fmla="*/ 10365 h 71213"/>
                <a:gd name="connsiteX23" fmla="*/ 854 w 57434"/>
                <a:gd name="connsiteY23" fmla="*/ 18779 h 71213"/>
                <a:gd name="connsiteX24" fmla="*/ 0 w 57434"/>
                <a:gd name="connsiteY24" fmla="*/ 32558 h 71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434" h="71213">
                  <a:moveTo>
                    <a:pt x="0" y="32558"/>
                  </a:moveTo>
                  <a:lnTo>
                    <a:pt x="2683" y="48777"/>
                  </a:lnTo>
                  <a:lnTo>
                    <a:pt x="11219" y="58288"/>
                  </a:lnTo>
                  <a:lnTo>
                    <a:pt x="12072" y="71214"/>
                  </a:lnTo>
                  <a:lnTo>
                    <a:pt x="15731" y="70238"/>
                  </a:lnTo>
                  <a:lnTo>
                    <a:pt x="18047" y="69751"/>
                  </a:lnTo>
                  <a:lnTo>
                    <a:pt x="19023" y="69507"/>
                  </a:lnTo>
                  <a:lnTo>
                    <a:pt x="19999" y="69507"/>
                  </a:lnTo>
                  <a:lnTo>
                    <a:pt x="23169" y="69751"/>
                  </a:lnTo>
                  <a:lnTo>
                    <a:pt x="29632" y="70238"/>
                  </a:lnTo>
                  <a:lnTo>
                    <a:pt x="24998" y="59508"/>
                  </a:lnTo>
                  <a:lnTo>
                    <a:pt x="26096" y="44875"/>
                  </a:lnTo>
                  <a:lnTo>
                    <a:pt x="39387" y="34266"/>
                  </a:lnTo>
                  <a:lnTo>
                    <a:pt x="41460" y="25242"/>
                  </a:lnTo>
                  <a:lnTo>
                    <a:pt x="55118" y="22315"/>
                  </a:lnTo>
                  <a:lnTo>
                    <a:pt x="57435" y="18169"/>
                  </a:lnTo>
                  <a:lnTo>
                    <a:pt x="53898" y="15852"/>
                  </a:lnTo>
                  <a:lnTo>
                    <a:pt x="44753" y="14755"/>
                  </a:lnTo>
                  <a:lnTo>
                    <a:pt x="37314" y="0"/>
                  </a:lnTo>
                  <a:lnTo>
                    <a:pt x="31095" y="610"/>
                  </a:lnTo>
                  <a:lnTo>
                    <a:pt x="22316" y="12438"/>
                  </a:lnTo>
                  <a:lnTo>
                    <a:pt x="22316" y="12438"/>
                  </a:lnTo>
                  <a:lnTo>
                    <a:pt x="14267" y="10365"/>
                  </a:lnTo>
                  <a:lnTo>
                    <a:pt x="854" y="18779"/>
                  </a:lnTo>
                  <a:lnTo>
                    <a:pt x="0" y="3255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138E8492-C562-4598-A12E-9CC1B13A9696}"/>
                </a:ext>
              </a:extLst>
            </p:cNvPr>
            <p:cNvSpPr/>
            <p:nvPr/>
          </p:nvSpPr>
          <p:spPr>
            <a:xfrm>
              <a:off x="4671626" y="2260824"/>
              <a:ext cx="125599" cy="79505"/>
            </a:xfrm>
            <a:custGeom>
              <a:avLst/>
              <a:gdLst>
                <a:gd name="connsiteX0" fmla="*/ 118771 w 125599"/>
                <a:gd name="connsiteY0" fmla="*/ 46704 h 79505"/>
                <a:gd name="connsiteX1" fmla="*/ 117064 w 125599"/>
                <a:gd name="connsiteY1" fmla="*/ 45240 h 79505"/>
                <a:gd name="connsiteX2" fmla="*/ 89383 w 125599"/>
                <a:gd name="connsiteY2" fmla="*/ 20120 h 79505"/>
                <a:gd name="connsiteX3" fmla="*/ 81945 w 125599"/>
                <a:gd name="connsiteY3" fmla="*/ 21584 h 79505"/>
                <a:gd name="connsiteX4" fmla="*/ 78530 w 125599"/>
                <a:gd name="connsiteY4" fmla="*/ 22315 h 79505"/>
                <a:gd name="connsiteX5" fmla="*/ 74506 w 125599"/>
                <a:gd name="connsiteY5" fmla="*/ 23169 h 79505"/>
                <a:gd name="connsiteX6" fmla="*/ 72189 w 125599"/>
                <a:gd name="connsiteY6" fmla="*/ 19633 h 79505"/>
                <a:gd name="connsiteX7" fmla="*/ 63287 w 125599"/>
                <a:gd name="connsiteY7" fmla="*/ 5731 h 79505"/>
                <a:gd name="connsiteX8" fmla="*/ 61092 w 125599"/>
                <a:gd name="connsiteY8" fmla="*/ 2317 h 79505"/>
                <a:gd name="connsiteX9" fmla="*/ 52435 w 125599"/>
                <a:gd name="connsiteY9" fmla="*/ 122 h 79505"/>
                <a:gd name="connsiteX10" fmla="*/ 51947 w 125599"/>
                <a:gd name="connsiteY10" fmla="*/ 0 h 79505"/>
                <a:gd name="connsiteX11" fmla="*/ 49874 w 125599"/>
                <a:gd name="connsiteY11" fmla="*/ 122 h 79505"/>
                <a:gd name="connsiteX12" fmla="*/ 34631 w 125599"/>
                <a:gd name="connsiteY12" fmla="*/ 1219 h 79505"/>
                <a:gd name="connsiteX13" fmla="*/ 30241 w 125599"/>
                <a:gd name="connsiteY13" fmla="*/ 7682 h 79505"/>
                <a:gd name="connsiteX14" fmla="*/ 29510 w 125599"/>
                <a:gd name="connsiteY14" fmla="*/ 8902 h 79505"/>
                <a:gd name="connsiteX15" fmla="*/ 28168 w 125599"/>
                <a:gd name="connsiteY15" fmla="*/ 9633 h 79505"/>
                <a:gd name="connsiteX16" fmla="*/ 22071 w 125599"/>
                <a:gd name="connsiteY16" fmla="*/ 12926 h 79505"/>
                <a:gd name="connsiteX17" fmla="*/ 0 w 125599"/>
                <a:gd name="connsiteY17" fmla="*/ 24998 h 79505"/>
                <a:gd name="connsiteX18" fmla="*/ 3414 w 125599"/>
                <a:gd name="connsiteY18" fmla="*/ 41948 h 79505"/>
                <a:gd name="connsiteX19" fmla="*/ 29266 w 125599"/>
                <a:gd name="connsiteY19" fmla="*/ 62678 h 79505"/>
                <a:gd name="connsiteX20" fmla="*/ 55361 w 125599"/>
                <a:gd name="connsiteY20" fmla="*/ 58776 h 79505"/>
                <a:gd name="connsiteX21" fmla="*/ 56947 w 125599"/>
                <a:gd name="connsiteY21" fmla="*/ 58532 h 79505"/>
                <a:gd name="connsiteX22" fmla="*/ 58410 w 125599"/>
                <a:gd name="connsiteY22" fmla="*/ 59142 h 79505"/>
                <a:gd name="connsiteX23" fmla="*/ 75482 w 125599"/>
                <a:gd name="connsiteY23" fmla="*/ 65605 h 79505"/>
                <a:gd name="connsiteX24" fmla="*/ 78043 w 125599"/>
                <a:gd name="connsiteY24" fmla="*/ 66702 h 79505"/>
                <a:gd name="connsiteX25" fmla="*/ 79018 w 125599"/>
                <a:gd name="connsiteY25" fmla="*/ 69385 h 79505"/>
                <a:gd name="connsiteX26" fmla="*/ 79750 w 125599"/>
                <a:gd name="connsiteY26" fmla="*/ 71702 h 79505"/>
                <a:gd name="connsiteX27" fmla="*/ 82066 w 125599"/>
                <a:gd name="connsiteY27" fmla="*/ 78652 h 79505"/>
                <a:gd name="connsiteX28" fmla="*/ 82676 w 125599"/>
                <a:gd name="connsiteY28" fmla="*/ 78774 h 79505"/>
                <a:gd name="connsiteX29" fmla="*/ 82554 w 125599"/>
                <a:gd name="connsiteY29" fmla="*/ 78530 h 79505"/>
                <a:gd name="connsiteX30" fmla="*/ 87676 w 125599"/>
                <a:gd name="connsiteY30" fmla="*/ 79140 h 79505"/>
                <a:gd name="connsiteX31" fmla="*/ 90724 w 125599"/>
                <a:gd name="connsiteY31" fmla="*/ 79262 h 79505"/>
                <a:gd name="connsiteX32" fmla="*/ 90724 w 125599"/>
                <a:gd name="connsiteY32" fmla="*/ 79384 h 79505"/>
                <a:gd name="connsiteX33" fmla="*/ 91822 w 125599"/>
                <a:gd name="connsiteY33" fmla="*/ 79506 h 79505"/>
                <a:gd name="connsiteX34" fmla="*/ 93651 w 125599"/>
                <a:gd name="connsiteY34" fmla="*/ 73409 h 79505"/>
                <a:gd name="connsiteX35" fmla="*/ 94139 w 125599"/>
                <a:gd name="connsiteY35" fmla="*/ 71702 h 79505"/>
                <a:gd name="connsiteX36" fmla="*/ 95480 w 125599"/>
                <a:gd name="connsiteY36" fmla="*/ 70604 h 79505"/>
                <a:gd name="connsiteX37" fmla="*/ 105723 w 125599"/>
                <a:gd name="connsiteY37" fmla="*/ 61581 h 79505"/>
                <a:gd name="connsiteX38" fmla="*/ 110723 w 125599"/>
                <a:gd name="connsiteY38" fmla="*/ 54142 h 79505"/>
                <a:gd name="connsiteX39" fmla="*/ 112308 w 125599"/>
                <a:gd name="connsiteY39" fmla="*/ 51825 h 79505"/>
                <a:gd name="connsiteX40" fmla="*/ 115113 w 125599"/>
                <a:gd name="connsiteY40" fmla="*/ 51459 h 79505"/>
                <a:gd name="connsiteX41" fmla="*/ 124380 w 125599"/>
                <a:gd name="connsiteY41" fmla="*/ 50484 h 79505"/>
                <a:gd name="connsiteX42" fmla="*/ 125600 w 125599"/>
                <a:gd name="connsiteY42" fmla="*/ 46948 h 79505"/>
                <a:gd name="connsiteX43" fmla="*/ 120966 w 125599"/>
                <a:gd name="connsiteY43" fmla="*/ 46826 h 79505"/>
                <a:gd name="connsiteX44" fmla="*/ 118771 w 125599"/>
                <a:gd name="connsiteY44" fmla="*/ 46704 h 79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5599" h="79505">
                  <a:moveTo>
                    <a:pt x="118771" y="46704"/>
                  </a:moveTo>
                  <a:lnTo>
                    <a:pt x="117064" y="45240"/>
                  </a:lnTo>
                  <a:lnTo>
                    <a:pt x="89383" y="20120"/>
                  </a:lnTo>
                  <a:lnTo>
                    <a:pt x="81945" y="21584"/>
                  </a:lnTo>
                  <a:lnTo>
                    <a:pt x="78530" y="22315"/>
                  </a:lnTo>
                  <a:lnTo>
                    <a:pt x="74506" y="23169"/>
                  </a:lnTo>
                  <a:lnTo>
                    <a:pt x="72189" y="19633"/>
                  </a:lnTo>
                  <a:lnTo>
                    <a:pt x="63287" y="5731"/>
                  </a:lnTo>
                  <a:lnTo>
                    <a:pt x="61092" y="2317"/>
                  </a:lnTo>
                  <a:lnTo>
                    <a:pt x="52435" y="122"/>
                  </a:lnTo>
                  <a:lnTo>
                    <a:pt x="51947" y="0"/>
                  </a:lnTo>
                  <a:lnTo>
                    <a:pt x="49874" y="122"/>
                  </a:lnTo>
                  <a:lnTo>
                    <a:pt x="34631" y="1219"/>
                  </a:lnTo>
                  <a:lnTo>
                    <a:pt x="30241" y="7682"/>
                  </a:lnTo>
                  <a:lnTo>
                    <a:pt x="29510" y="8902"/>
                  </a:lnTo>
                  <a:lnTo>
                    <a:pt x="28168" y="9633"/>
                  </a:lnTo>
                  <a:lnTo>
                    <a:pt x="22071" y="12926"/>
                  </a:lnTo>
                  <a:lnTo>
                    <a:pt x="0" y="24998"/>
                  </a:lnTo>
                  <a:lnTo>
                    <a:pt x="3414" y="41948"/>
                  </a:lnTo>
                  <a:lnTo>
                    <a:pt x="29266" y="62678"/>
                  </a:lnTo>
                  <a:lnTo>
                    <a:pt x="55361" y="58776"/>
                  </a:lnTo>
                  <a:lnTo>
                    <a:pt x="56947" y="58532"/>
                  </a:lnTo>
                  <a:lnTo>
                    <a:pt x="58410" y="59142"/>
                  </a:lnTo>
                  <a:lnTo>
                    <a:pt x="75482" y="65605"/>
                  </a:lnTo>
                  <a:lnTo>
                    <a:pt x="78043" y="66702"/>
                  </a:lnTo>
                  <a:lnTo>
                    <a:pt x="79018" y="69385"/>
                  </a:lnTo>
                  <a:lnTo>
                    <a:pt x="79750" y="71702"/>
                  </a:lnTo>
                  <a:lnTo>
                    <a:pt x="82066" y="78652"/>
                  </a:lnTo>
                  <a:lnTo>
                    <a:pt x="82676" y="78774"/>
                  </a:lnTo>
                  <a:lnTo>
                    <a:pt x="82554" y="78530"/>
                  </a:lnTo>
                  <a:lnTo>
                    <a:pt x="87676" y="79140"/>
                  </a:lnTo>
                  <a:lnTo>
                    <a:pt x="90724" y="79262"/>
                  </a:lnTo>
                  <a:lnTo>
                    <a:pt x="90724" y="79384"/>
                  </a:lnTo>
                  <a:lnTo>
                    <a:pt x="91822" y="79506"/>
                  </a:lnTo>
                  <a:lnTo>
                    <a:pt x="93651" y="73409"/>
                  </a:lnTo>
                  <a:lnTo>
                    <a:pt x="94139" y="71702"/>
                  </a:lnTo>
                  <a:lnTo>
                    <a:pt x="95480" y="70604"/>
                  </a:lnTo>
                  <a:lnTo>
                    <a:pt x="105723" y="61581"/>
                  </a:lnTo>
                  <a:lnTo>
                    <a:pt x="110723" y="54142"/>
                  </a:lnTo>
                  <a:lnTo>
                    <a:pt x="112308" y="51825"/>
                  </a:lnTo>
                  <a:lnTo>
                    <a:pt x="115113" y="51459"/>
                  </a:lnTo>
                  <a:lnTo>
                    <a:pt x="124380" y="50484"/>
                  </a:lnTo>
                  <a:lnTo>
                    <a:pt x="125600" y="46948"/>
                  </a:lnTo>
                  <a:lnTo>
                    <a:pt x="120966" y="46826"/>
                  </a:lnTo>
                  <a:lnTo>
                    <a:pt x="118771" y="46704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2BC8B8DB-3053-453D-8F3A-9AFE9F2257E0}"/>
                </a:ext>
              </a:extLst>
            </p:cNvPr>
            <p:cNvSpPr/>
            <p:nvPr/>
          </p:nvSpPr>
          <p:spPr>
            <a:xfrm>
              <a:off x="4587852" y="2035719"/>
              <a:ext cx="41704" cy="33899"/>
            </a:xfrm>
            <a:custGeom>
              <a:avLst/>
              <a:gdLst>
                <a:gd name="connsiteX0" fmla="*/ 23047 w 41704"/>
                <a:gd name="connsiteY0" fmla="*/ 18657 h 33899"/>
                <a:gd name="connsiteX1" fmla="*/ 39387 w 41704"/>
                <a:gd name="connsiteY1" fmla="*/ 17803 h 33899"/>
                <a:gd name="connsiteX2" fmla="*/ 41704 w 41704"/>
                <a:gd name="connsiteY2" fmla="*/ 10975 h 33899"/>
                <a:gd name="connsiteX3" fmla="*/ 41704 w 41704"/>
                <a:gd name="connsiteY3" fmla="*/ 0 h 33899"/>
                <a:gd name="connsiteX4" fmla="*/ 32681 w 41704"/>
                <a:gd name="connsiteY4" fmla="*/ 2683 h 33899"/>
                <a:gd name="connsiteX5" fmla="*/ 26218 w 41704"/>
                <a:gd name="connsiteY5" fmla="*/ 10121 h 33899"/>
                <a:gd name="connsiteX6" fmla="*/ 17438 w 41704"/>
                <a:gd name="connsiteY6" fmla="*/ 16950 h 33899"/>
                <a:gd name="connsiteX7" fmla="*/ 9024 w 41704"/>
                <a:gd name="connsiteY7" fmla="*/ 19755 h 33899"/>
                <a:gd name="connsiteX8" fmla="*/ 488 w 41704"/>
                <a:gd name="connsiteY8" fmla="*/ 28290 h 33899"/>
                <a:gd name="connsiteX9" fmla="*/ 0 w 41704"/>
                <a:gd name="connsiteY9" fmla="*/ 33900 h 33899"/>
                <a:gd name="connsiteX10" fmla="*/ 6829 w 41704"/>
                <a:gd name="connsiteY10" fmla="*/ 28290 h 33899"/>
                <a:gd name="connsiteX11" fmla="*/ 16218 w 41704"/>
                <a:gd name="connsiteY11" fmla="*/ 25486 h 33899"/>
                <a:gd name="connsiteX12" fmla="*/ 23047 w 41704"/>
                <a:gd name="connsiteY12" fmla="*/ 18657 h 3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704" h="33899">
                  <a:moveTo>
                    <a:pt x="23047" y="18657"/>
                  </a:moveTo>
                  <a:lnTo>
                    <a:pt x="39387" y="17803"/>
                  </a:lnTo>
                  <a:lnTo>
                    <a:pt x="41704" y="10975"/>
                  </a:lnTo>
                  <a:lnTo>
                    <a:pt x="41704" y="0"/>
                  </a:lnTo>
                  <a:lnTo>
                    <a:pt x="32681" y="2683"/>
                  </a:lnTo>
                  <a:lnTo>
                    <a:pt x="26218" y="10121"/>
                  </a:lnTo>
                  <a:lnTo>
                    <a:pt x="17438" y="16950"/>
                  </a:lnTo>
                  <a:lnTo>
                    <a:pt x="9024" y="19755"/>
                  </a:lnTo>
                  <a:lnTo>
                    <a:pt x="488" y="28290"/>
                  </a:lnTo>
                  <a:lnTo>
                    <a:pt x="0" y="33900"/>
                  </a:lnTo>
                  <a:lnTo>
                    <a:pt x="6829" y="28290"/>
                  </a:lnTo>
                  <a:lnTo>
                    <a:pt x="16218" y="25486"/>
                  </a:lnTo>
                  <a:lnTo>
                    <a:pt x="23047" y="1865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01D8307E-490A-49EC-80D3-11E4A7894E2B}"/>
                </a:ext>
              </a:extLst>
            </p:cNvPr>
            <p:cNvSpPr/>
            <p:nvPr/>
          </p:nvSpPr>
          <p:spPr>
            <a:xfrm>
              <a:off x="4861855" y="1998283"/>
              <a:ext cx="21218" cy="17925"/>
            </a:xfrm>
            <a:custGeom>
              <a:avLst/>
              <a:gdLst>
                <a:gd name="connsiteX0" fmla="*/ 2195 w 21218"/>
                <a:gd name="connsiteY0" fmla="*/ 17925 h 17925"/>
                <a:gd name="connsiteX1" fmla="*/ 5000 w 21218"/>
                <a:gd name="connsiteY1" fmla="*/ 17560 h 17925"/>
                <a:gd name="connsiteX2" fmla="*/ 8536 w 21218"/>
                <a:gd name="connsiteY2" fmla="*/ 12194 h 17925"/>
                <a:gd name="connsiteX3" fmla="*/ 21218 w 21218"/>
                <a:gd name="connsiteY3" fmla="*/ 5365 h 17925"/>
                <a:gd name="connsiteX4" fmla="*/ 19877 w 21218"/>
                <a:gd name="connsiteY4" fmla="*/ 3292 h 17925"/>
                <a:gd name="connsiteX5" fmla="*/ 10365 w 21218"/>
                <a:gd name="connsiteY5" fmla="*/ 0 h 17925"/>
                <a:gd name="connsiteX6" fmla="*/ 0 w 21218"/>
                <a:gd name="connsiteY6" fmla="*/ 7195 h 17925"/>
                <a:gd name="connsiteX7" fmla="*/ 2195 w 21218"/>
                <a:gd name="connsiteY7" fmla="*/ 17925 h 1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18" h="17925">
                  <a:moveTo>
                    <a:pt x="2195" y="17925"/>
                  </a:moveTo>
                  <a:lnTo>
                    <a:pt x="5000" y="17560"/>
                  </a:lnTo>
                  <a:lnTo>
                    <a:pt x="8536" y="12194"/>
                  </a:lnTo>
                  <a:lnTo>
                    <a:pt x="21218" y="5365"/>
                  </a:lnTo>
                  <a:lnTo>
                    <a:pt x="19877" y="3292"/>
                  </a:lnTo>
                  <a:lnTo>
                    <a:pt x="10365" y="0"/>
                  </a:lnTo>
                  <a:lnTo>
                    <a:pt x="0" y="7195"/>
                  </a:lnTo>
                  <a:lnTo>
                    <a:pt x="2195" y="17925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DEAFBC27-E902-44A0-82C9-49497383DBFC}"/>
                </a:ext>
              </a:extLst>
            </p:cNvPr>
            <p:cNvSpPr/>
            <p:nvPr/>
          </p:nvSpPr>
          <p:spPr>
            <a:xfrm>
              <a:off x="4888438" y="1960359"/>
              <a:ext cx="78286" cy="65604"/>
            </a:xfrm>
            <a:custGeom>
              <a:avLst/>
              <a:gdLst>
                <a:gd name="connsiteX0" fmla="*/ 76457 w 78286"/>
                <a:gd name="connsiteY0" fmla="*/ 5000 h 65604"/>
                <a:gd name="connsiteX1" fmla="*/ 55849 w 78286"/>
                <a:gd name="connsiteY1" fmla="*/ 1829 h 65604"/>
                <a:gd name="connsiteX2" fmla="*/ 47923 w 78286"/>
                <a:gd name="connsiteY2" fmla="*/ 0 h 65604"/>
                <a:gd name="connsiteX3" fmla="*/ 36704 w 78286"/>
                <a:gd name="connsiteY3" fmla="*/ 5609 h 65604"/>
                <a:gd name="connsiteX4" fmla="*/ 36704 w 78286"/>
                <a:gd name="connsiteY4" fmla="*/ 5609 h 65604"/>
                <a:gd name="connsiteX5" fmla="*/ 20974 w 78286"/>
                <a:gd name="connsiteY5" fmla="*/ 3780 h 65604"/>
                <a:gd name="connsiteX6" fmla="*/ 366 w 78286"/>
                <a:gd name="connsiteY6" fmla="*/ 20730 h 65604"/>
                <a:gd name="connsiteX7" fmla="*/ 0 w 78286"/>
                <a:gd name="connsiteY7" fmla="*/ 22559 h 65604"/>
                <a:gd name="connsiteX8" fmla="*/ 8292 w 78286"/>
                <a:gd name="connsiteY8" fmla="*/ 29022 h 65604"/>
                <a:gd name="connsiteX9" fmla="*/ 7316 w 78286"/>
                <a:gd name="connsiteY9" fmla="*/ 44631 h 65604"/>
                <a:gd name="connsiteX10" fmla="*/ 15974 w 78286"/>
                <a:gd name="connsiteY10" fmla="*/ 48167 h 65604"/>
                <a:gd name="connsiteX11" fmla="*/ 19267 w 78286"/>
                <a:gd name="connsiteY11" fmla="*/ 53410 h 65604"/>
                <a:gd name="connsiteX12" fmla="*/ 20852 w 78286"/>
                <a:gd name="connsiteY12" fmla="*/ 53167 h 65604"/>
                <a:gd name="connsiteX13" fmla="*/ 26827 w 78286"/>
                <a:gd name="connsiteY13" fmla="*/ 52313 h 65604"/>
                <a:gd name="connsiteX14" fmla="*/ 31705 w 78286"/>
                <a:gd name="connsiteY14" fmla="*/ 51581 h 65604"/>
                <a:gd name="connsiteX15" fmla="*/ 32558 w 78286"/>
                <a:gd name="connsiteY15" fmla="*/ 51459 h 65604"/>
                <a:gd name="connsiteX16" fmla="*/ 33412 w 78286"/>
                <a:gd name="connsiteY16" fmla="*/ 51581 h 65604"/>
                <a:gd name="connsiteX17" fmla="*/ 42314 w 78286"/>
                <a:gd name="connsiteY17" fmla="*/ 52801 h 65604"/>
                <a:gd name="connsiteX18" fmla="*/ 44630 w 78286"/>
                <a:gd name="connsiteY18" fmla="*/ 53167 h 65604"/>
                <a:gd name="connsiteX19" fmla="*/ 46094 w 78286"/>
                <a:gd name="connsiteY19" fmla="*/ 54996 h 65604"/>
                <a:gd name="connsiteX20" fmla="*/ 52069 w 78286"/>
                <a:gd name="connsiteY20" fmla="*/ 62068 h 65604"/>
                <a:gd name="connsiteX21" fmla="*/ 54995 w 78286"/>
                <a:gd name="connsiteY21" fmla="*/ 63410 h 65604"/>
                <a:gd name="connsiteX22" fmla="*/ 60239 w 78286"/>
                <a:gd name="connsiteY22" fmla="*/ 65605 h 65604"/>
                <a:gd name="connsiteX23" fmla="*/ 73165 w 78286"/>
                <a:gd name="connsiteY23" fmla="*/ 64873 h 65604"/>
                <a:gd name="connsiteX24" fmla="*/ 78286 w 78286"/>
                <a:gd name="connsiteY24" fmla="*/ 64507 h 65604"/>
                <a:gd name="connsiteX25" fmla="*/ 78286 w 78286"/>
                <a:gd name="connsiteY25" fmla="*/ 53410 h 65604"/>
                <a:gd name="connsiteX26" fmla="*/ 71701 w 78286"/>
                <a:gd name="connsiteY26" fmla="*/ 37802 h 65604"/>
                <a:gd name="connsiteX27" fmla="*/ 70970 w 78286"/>
                <a:gd name="connsiteY27" fmla="*/ 36095 h 65604"/>
                <a:gd name="connsiteX28" fmla="*/ 71336 w 78286"/>
                <a:gd name="connsiteY28" fmla="*/ 34388 h 65604"/>
                <a:gd name="connsiteX29" fmla="*/ 76457 w 78286"/>
                <a:gd name="connsiteY29" fmla="*/ 5000 h 6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8286" h="65604">
                  <a:moveTo>
                    <a:pt x="76457" y="5000"/>
                  </a:moveTo>
                  <a:lnTo>
                    <a:pt x="55849" y="1829"/>
                  </a:lnTo>
                  <a:lnTo>
                    <a:pt x="47923" y="0"/>
                  </a:lnTo>
                  <a:lnTo>
                    <a:pt x="36704" y="5609"/>
                  </a:lnTo>
                  <a:lnTo>
                    <a:pt x="36704" y="5609"/>
                  </a:lnTo>
                  <a:lnTo>
                    <a:pt x="20974" y="3780"/>
                  </a:lnTo>
                  <a:lnTo>
                    <a:pt x="366" y="20730"/>
                  </a:lnTo>
                  <a:lnTo>
                    <a:pt x="0" y="22559"/>
                  </a:lnTo>
                  <a:lnTo>
                    <a:pt x="8292" y="29022"/>
                  </a:lnTo>
                  <a:lnTo>
                    <a:pt x="7316" y="44631"/>
                  </a:lnTo>
                  <a:lnTo>
                    <a:pt x="15974" y="48167"/>
                  </a:lnTo>
                  <a:lnTo>
                    <a:pt x="19267" y="53410"/>
                  </a:lnTo>
                  <a:lnTo>
                    <a:pt x="20852" y="53167"/>
                  </a:lnTo>
                  <a:lnTo>
                    <a:pt x="26827" y="52313"/>
                  </a:lnTo>
                  <a:lnTo>
                    <a:pt x="31705" y="51581"/>
                  </a:lnTo>
                  <a:lnTo>
                    <a:pt x="32558" y="51459"/>
                  </a:lnTo>
                  <a:lnTo>
                    <a:pt x="33412" y="51581"/>
                  </a:lnTo>
                  <a:lnTo>
                    <a:pt x="42314" y="52801"/>
                  </a:lnTo>
                  <a:lnTo>
                    <a:pt x="44630" y="53167"/>
                  </a:lnTo>
                  <a:lnTo>
                    <a:pt x="46094" y="54996"/>
                  </a:lnTo>
                  <a:lnTo>
                    <a:pt x="52069" y="62068"/>
                  </a:lnTo>
                  <a:lnTo>
                    <a:pt x="54995" y="63410"/>
                  </a:lnTo>
                  <a:lnTo>
                    <a:pt x="60239" y="65605"/>
                  </a:lnTo>
                  <a:lnTo>
                    <a:pt x="73165" y="64873"/>
                  </a:lnTo>
                  <a:lnTo>
                    <a:pt x="78286" y="64507"/>
                  </a:lnTo>
                  <a:lnTo>
                    <a:pt x="78286" y="53410"/>
                  </a:lnTo>
                  <a:lnTo>
                    <a:pt x="71701" y="37802"/>
                  </a:lnTo>
                  <a:lnTo>
                    <a:pt x="70970" y="36095"/>
                  </a:lnTo>
                  <a:lnTo>
                    <a:pt x="71336" y="34388"/>
                  </a:lnTo>
                  <a:lnTo>
                    <a:pt x="76457" y="500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17582E08-2F58-4BC8-B92A-27E1DA6D2AA8}"/>
                </a:ext>
              </a:extLst>
            </p:cNvPr>
            <p:cNvSpPr/>
            <p:nvPr/>
          </p:nvSpPr>
          <p:spPr>
            <a:xfrm>
              <a:off x="4867098" y="1980236"/>
              <a:ext cx="8047" cy="5365"/>
            </a:xfrm>
            <a:custGeom>
              <a:avLst/>
              <a:gdLst>
                <a:gd name="connsiteX0" fmla="*/ 7682 w 8047"/>
                <a:gd name="connsiteY0" fmla="*/ 610 h 5365"/>
                <a:gd name="connsiteX1" fmla="*/ 4146 w 8047"/>
                <a:gd name="connsiteY1" fmla="*/ 0 h 5365"/>
                <a:gd name="connsiteX2" fmla="*/ 0 w 8047"/>
                <a:gd name="connsiteY2" fmla="*/ 2317 h 5365"/>
                <a:gd name="connsiteX3" fmla="*/ 1829 w 8047"/>
                <a:gd name="connsiteY3" fmla="*/ 5365 h 5365"/>
                <a:gd name="connsiteX4" fmla="*/ 8048 w 8047"/>
                <a:gd name="connsiteY4" fmla="*/ 2317 h 5365"/>
                <a:gd name="connsiteX5" fmla="*/ 7682 w 8047"/>
                <a:gd name="connsiteY5" fmla="*/ 610 h 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47" h="5365">
                  <a:moveTo>
                    <a:pt x="7682" y="610"/>
                  </a:moveTo>
                  <a:lnTo>
                    <a:pt x="4146" y="0"/>
                  </a:lnTo>
                  <a:lnTo>
                    <a:pt x="0" y="2317"/>
                  </a:lnTo>
                  <a:lnTo>
                    <a:pt x="1829" y="5365"/>
                  </a:lnTo>
                  <a:lnTo>
                    <a:pt x="8048" y="2317"/>
                  </a:lnTo>
                  <a:lnTo>
                    <a:pt x="7682" y="61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542E6602-C6DB-40A8-B156-320767DDEBFB}"/>
                </a:ext>
              </a:extLst>
            </p:cNvPr>
            <p:cNvSpPr/>
            <p:nvPr/>
          </p:nvSpPr>
          <p:spPr>
            <a:xfrm>
              <a:off x="4771496" y="2309234"/>
              <a:ext cx="94017" cy="35728"/>
            </a:xfrm>
            <a:custGeom>
              <a:avLst/>
              <a:gdLst>
                <a:gd name="connsiteX0" fmla="*/ 12560 w 94017"/>
                <a:gd name="connsiteY0" fmla="*/ 17560 h 35728"/>
                <a:gd name="connsiteX1" fmla="*/ 12072 w 94017"/>
                <a:gd name="connsiteY1" fmla="*/ 18291 h 35728"/>
                <a:gd name="connsiteX2" fmla="*/ 11463 w 94017"/>
                <a:gd name="connsiteY2" fmla="*/ 18779 h 35728"/>
                <a:gd name="connsiteX3" fmla="*/ 1219 w 94017"/>
                <a:gd name="connsiteY3" fmla="*/ 27803 h 35728"/>
                <a:gd name="connsiteX4" fmla="*/ 0 w 94017"/>
                <a:gd name="connsiteY4" fmla="*/ 32193 h 35728"/>
                <a:gd name="connsiteX5" fmla="*/ 5000 w 94017"/>
                <a:gd name="connsiteY5" fmla="*/ 32924 h 35728"/>
                <a:gd name="connsiteX6" fmla="*/ 6097 w 94017"/>
                <a:gd name="connsiteY6" fmla="*/ 33046 h 35728"/>
                <a:gd name="connsiteX7" fmla="*/ 6951 w 94017"/>
                <a:gd name="connsiteY7" fmla="*/ 33534 h 35728"/>
                <a:gd name="connsiteX8" fmla="*/ 8902 w 94017"/>
                <a:gd name="connsiteY8" fmla="*/ 34388 h 35728"/>
                <a:gd name="connsiteX9" fmla="*/ 11463 w 94017"/>
                <a:gd name="connsiteY9" fmla="*/ 35729 h 35728"/>
                <a:gd name="connsiteX10" fmla="*/ 28413 w 94017"/>
                <a:gd name="connsiteY10" fmla="*/ 35729 h 35728"/>
                <a:gd name="connsiteX11" fmla="*/ 42192 w 94017"/>
                <a:gd name="connsiteY11" fmla="*/ 31949 h 35728"/>
                <a:gd name="connsiteX12" fmla="*/ 50728 w 94017"/>
                <a:gd name="connsiteY12" fmla="*/ 20974 h 35728"/>
                <a:gd name="connsiteX13" fmla="*/ 52313 w 94017"/>
                <a:gd name="connsiteY13" fmla="*/ 19023 h 35728"/>
                <a:gd name="connsiteX14" fmla="*/ 54874 w 94017"/>
                <a:gd name="connsiteY14" fmla="*/ 18657 h 35728"/>
                <a:gd name="connsiteX15" fmla="*/ 62922 w 94017"/>
                <a:gd name="connsiteY15" fmla="*/ 17682 h 35728"/>
                <a:gd name="connsiteX16" fmla="*/ 75970 w 94017"/>
                <a:gd name="connsiteY16" fmla="*/ 15974 h 35728"/>
                <a:gd name="connsiteX17" fmla="*/ 78043 w 94017"/>
                <a:gd name="connsiteY17" fmla="*/ 15730 h 35728"/>
                <a:gd name="connsiteX18" fmla="*/ 79750 w 94017"/>
                <a:gd name="connsiteY18" fmla="*/ 16828 h 35728"/>
                <a:gd name="connsiteX19" fmla="*/ 85115 w 94017"/>
                <a:gd name="connsiteY19" fmla="*/ 19876 h 35728"/>
                <a:gd name="connsiteX20" fmla="*/ 87798 w 94017"/>
                <a:gd name="connsiteY20" fmla="*/ 21340 h 35728"/>
                <a:gd name="connsiteX21" fmla="*/ 90969 w 94017"/>
                <a:gd name="connsiteY21" fmla="*/ 20730 h 35728"/>
                <a:gd name="connsiteX22" fmla="*/ 94017 w 94017"/>
                <a:gd name="connsiteY22" fmla="*/ 8536 h 35728"/>
                <a:gd name="connsiteX23" fmla="*/ 91212 w 94017"/>
                <a:gd name="connsiteY23" fmla="*/ 5975 h 35728"/>
                <a:gd name="connsiteX24" fmla="*/ 84384 w 94017"/>
                <a:gd name="connsiteY24" fmla="*/ 0 h 35728"/>
                <a:gd name="connsiteX25" fmla="*/ 47192 w 94017"/>
                <a:gd name="connsiteY25" fmla="*/ 5243 h 35728"/>
                <a:gd name="connsiteX26" fmla="*/ 45362 w 94017"/>
                <a:gd name="connsiteY26" fmla="*/ 5609 h 35728"/>
                <a:gd name="connsiteX27" fmla="*/ 43777 w 94017"/>
                <a:gd name="connsiteY27" fmla="*/ 4878 h 35728"/>
                <a:gd name="connsiteX28" fmla="*/ 33534 w 94017"/>
                <a:gd name="connsiteY28" fmla="*/ 244 h 35728"/>
                <a:gd name="connsiteX29" fmla="*/ 31705 w 94017"/>
                <a:gd name="connsiteY29" fmla="*/ 5731 h 35728"/>
                <a:gd name="connsiteX30" fmla="*/ 30485 w 94017"/>
                <a:gd name="connsiteY30" fmla="*/ 9389 h 35728"/>
                <a:gd name="connsiteX31" fmla="*/ 26584 w 94017"/>
                <a:gd name="connsiteY31" fmla="*/ 9755 h 35728"/>
                <a:gd name="connsiteX32" fmla="*/ 17072 w 94017"/>
                <a:gd name="connsiteY32" fmla="*/ 10853 h 35728"/>
                <a:gd name="connsiteX33" fmla="*/ 12560 w 94017"/>
                <a:gd name="connsiteY33" fmla="*/ 17560 h 3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4017" h="35728">
                  <a:moveTo>
                    <a:pt x="12560" y="17560"/>
                  </a:moveTo>
                  <a:lnTo>
                    <a:pt x="12072" y="18291"/>
                  </a:lnTo>
                  <a:lnTo>
                    <a:pt x="11463" y="18779"/>
                  </a:lnTo>
                  <a:lnTo>
                    <a:pt x="1219" y="27803"/>
                  </a:lnTo>
                  <a:lnTo>
                    <a:pt x="0" y="32193"/>
                  </a:lnTo>
                  <a:lnTo>
                    <a:pt x="5000" y="32924"/>
                  </a:lnTo>
                  <a:lnTo>
                    <a:pt x="6097" y="33046"/>
                  </a:lnTo>
                  <a:lnTo>
                    <a:pt x="6951" y="33534"/>
                  </a:lnTo>
                  <a:lnTo>
                    <a:pt x="8902" y="34388"/>
                  </a:lnTo>
                  <a:lnTo>
                    <a:pt x="11463" y="35729"/>
                  </a:lnTo>
                  <a:lnTo>
                    <a:pt x="28413" y="35729"/>
                  </a:lnTo>
                  <a:lnTo>
                    <a:pt x="42192" y="31949"/>
                  </a:lnTo>
                  <a:lnTo>
                    <a:pt x="50728" y="20974"/>
                  </a:lnTo>
                  <a:lnTo>
                    <a:pt x="52313" y="19023"/>
                  </a:lnTo>
                  <a:lnTo>
                    <a:pt x="54874" y="18657"/>
                  </a:lnTo>
                  <a:lnTo>
                    <a:pt x="62922" y="17682"/>
                  </a:lnTo>
                  <a:lnTo>
                    <a:pt x="75970" y="15974"/>
                  </a:lnTo>
                  <a:lnTo>
                    <a:pt x="78043" y="15730"/>
                  </a:lnTo>
                  <a:lnTo>
                    <a:pt x="79750" y="16828"/>
                  </a:lnTo>
                  <a:lnTo>
                    <a:pt x="85115" y="19876"/>
                  </a:lnTo>
                  <a:lnTo>
                    <a:pt x="87798" y="21340"/>
                  </a:lnTo>
                  <a:lnTo>
                    <a:pt x="90969" y="20730"/>
                  </a:lnTo>
                  <a:lnTo>
                    <a:pt x="94017" y="8536"/>
                  </a:lnTo>
                  <a:lnTo>
                    <a:pt x="91212" y="5975"/>
                  </a:lnTo>
                  <a:lnTo>
                    <a:pt x="84384" y="0"/>
                  </a:lnTo>
                  <a:lnTo>
                    <a:pt x="47192" y="5243"/>
                  </a:lnTo>
                  <a:lnTo>
                    <a:pt x="45362" y="5609"/>
                  </a:lnTo>
                  <a:lnTo>
                    <a:pt x="43777" y="4878"/>
                  </a:lnTo>
                  <a:lnTo>
                    <a:pt x="33534" y="244"/>
                  </a:lnTo>
                  <a:lnTo>
                    <a:pt x="31705" y="5731"/>
                  </a:lnTo>
                  <a:lnTo>
                    <a:pt x="30485" y="9389"/>
                  </a:lnTo>
                  <a:lnTo>
                    <a:pt x="26584" y="9755"/>
                  </a:lnTo>
                  <a:lnTo>
                    <a:pt x="17072" y="10853"/>
                  </a:lnTo>
                  <a:lnTo>
                    <a:pt x="12560" y="17560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2DE9E3FB-CB38-4031-A88C-824B06F18C05}"/>
                </a:ext>
              </a:extLst>
            </p:cNvPr>
            <p:cNvSpPr/>
            <p:nvPr/>
          </p:nvSpPr>
          <p:spPr>
            <a:xfrm>
              <a:off x="4838198" y="2019867"/>
              <a:ext cx="135477" cy="82676"/>
            </a:xfrm>
            <a:custGeom>
              <a:avLst/>
              <a:gdLst>
                <a:gd name="connsiteX0" fmla="*/ 0 w 135477"/>
                <a:gd name="connsiteY0" fmla="*/ 57922 h 82676"/>
                <a:gd name="connsiteX1" fmla="*/ 2683 w 135477"/>
                <a:gd name="connsiteY1" fmla="*/ 61946 h 82676"/>
                <a:gd name="connsiteX2" fmla="*/ 9878 w 135477"/>
                <a:gd name="connsiteY2" fmla="*/ 54752 h 82676"/>
                <a:gd name="connsiteX3" fmla="*/ 11707 w 135477"/>
                <a:gd name="connsiteY3" fmla="*/ 52923 h 82676"/>
                <a:gd name="connsiteX4" fmla="*/ 57679 w 135477"/>
                <a:gd name="connsiteY4" fmla="*/ 52923 h 82676"/>
                <a:gd name="connsiteX5" fmla="*/ 58288 w 135477"/>
                <a:gd name="connsiteY5" fmla="*/ 53045 h 82676"/>
                <a:gd name="connsiteX6" fmla="*/ 92798 w 135477"/>
                <a:gd name="connsiteY6" fmla="*/ 59995 h 82676"/>
                <a:gd name="connsiteX7" fmla="*/ 94993 w 135477"/>
                <a:gd name="connsiteY7" fmla="*/ 60361 h 82676"/>
                <a:gd name="connsiteX8" fmla="*/ 96334 w 135477"/>
                <a:gd name="connsiteY8" fmla="*/ 62068 h 82676"/>
                <a:gd name="connsiteX9" fmla="*/ 104382 w 135477"/>
                <a:gd name="connsiteY9" fmla="*/ 72068 h 82676"/>
                <a:gd name="connsiteX10" fmla="*/ 113040 w 135477"/>
                <a:gd name="connsiteY10" fmla="*/ 82676 h 82676"/>
                <a:gd name="connsiteX11" fmla="*/ 119259 w 135477"/>
                <a:gd name="connsiteY11" fmla="*/ 82676 h 82676"/>
                <a:gd name="connsiteX12" fmla="*/ 120722 w 135477"/>
                <a:gd name="connsiteY12" fmla="*/ 81091 h 82676"/>
                <a:gd name="connsiteX13" fmla="*/ 134258 w 135477"/>
                <a:gd name="connsiteY13" fmla="*/ 65239 h 82676"/>
                <a:gd name="connsiteX14" fmla="*/ 134258 w 135477"/>
                <a:gd name="connsiteY14" fmla="*/ 64629 h 82676"/>
                <a:gd name="connsiteX15" fmla="*/ 135477 w 135477"/>
                <a:gd name="connsiteY15" fmla="*/ 42558 h 82676"/>
                <a:gd name="connsiteX16" fmla="*/ 132185 w 135477"/>
                <a:gd name="connsiteY16" fmla="*/ 38168 h 82676"/>
                <a:gd name="connsiteX17" fmla="*/ 128283 w 135477"/>
                <a:gd name="connsiteY17" fmla="*/ 33046 h 82676"/>
                <a:gd name="connsiteX18" fmla="*/ 126941 w 135477"/>
                <a:gd name="connsiteY18" fmla="*/ 31217 h 82676"/>
                <a:gd name="connsiteX19" fmla="*/ 127063 w 135477"/>
                <a:gd name="connsiteY19" fmla="*/ 28900 h 82676"/>
                <a:gd name="connsiteX20" fmla="*/ 128161 w 135477"/>
                <a:gd name="connsiteY20" fmla="*/ 13048 h 82676"/>
                <a:gd name="connsiteX21" fmla="*/ 122917 w 135477"/>
                <a:gd name="connsiteY21" fmla="*/ 13292 h 82676"/>
                <a:gd name="connsiteX22" fmla="*/ 110479 w 135477"/>
                <a:gd name="connsiteY22" fmla="*/ 14145 h 82676"/>
                <a:gd name="connsiteX23" fmla="*/ 109016 w 135477"/>
                <a:gd name="connsiteY23" fmla="*/ 14145 h 82676"/>
                <a:gd name="connsiteX24" fmla="*/ 107675 w 135477"/>
                <a:gd name="connsiteY24" fmla="*/ 13657 h 82676"/>
                <a:gd name="connsiteX25" fmla="*/ 102431 w 135477"/>
                <a:gd name="connsiteY25" fmla="*/ 11341 h 82676"/>
                <a:gd name="connsiteX26" fmla="*/ 98773 w 135477"/>
                <a:gd name="connsiteY26" fmla="*/ 9755 h 82676"/>
                <a:gd name="connsiteX27" fmla="*/ 97310 w 135477"/>
                <a:gd name="connsiteY27" fmla="*/ 9146 h 82676"/>
                <a:gd name="connsiteX28" fmla="*/ 96456 w 135477"/>
                <a:gd name="connsiteY28" fmla="*/ 8048 h 82676"/>
                <a:gd name="connsiteX29" fmla="*/ 90603 w 135477"/>
                <a:gd name="connsiteY29" fmla="*/ 1098 h 82676"/>
                <a:gd name="connsiteX30" fmla="*/ 82798 w 135477"/>
                <a:gd name="connsiteY30" fmla="*/ 0 h 82676"/>
                <a:gd name="connsiteX31" fmla="*/ 77677 w 135477"/>
                <a:gd name="connsiteY31" fmla="*/ 732 h 82676"/>
                <a:gd name="connsiteX32" fmla="*/ 72312 w 135477"/>
                <a:gd name="connsiteY32" fmla="*/ 1463 h 82676"/>
                <a:gd name="connsiteX33" fmla="*/ 73653 w 135477"/>
                <a:gd name="connsiteY33" fmla="*/ 10243 h 82676"/>
                <a:gd name="connsiteX34" fmla="*/ 68532 w 135477"/>
                <a:gd name="connsiteY34" fmla="*/ 35485 h 82676"/>
                <a:gd name="connsiteX35" fmla="*/ 53655 w 135477"/>
                <a:gd name="connsiteY35" fmla="*/ 38899 h 82676"/>
                <a:gd name="connsiteX36" fmla="*/ 39265 w 135477"/>
                <a:gd name="connsiteY36" fmla="*/ 21462 h 82676"/>
                <a:gd name="connsiteX37" fmla="*/ 34510 w 135477"/>
                <a:gd name="connsiteY37" fmla="*/ 10975 h 82676"/>
                <a:gd name="connsiteX38" fmla="*/ 22925 w 135477"/>
                <a:gd name="connsiteY38" fmla="*/ 15974 h 82676"/>
                <a:gd name="connsiteX39" fmla="*/ 11219 w 135477"/>
                <a:gd name="connsiteY39" fmla="*/ 19267 h 82676"/>
                <a:gd name="connsiteX40" fmla="*/ 12194 w 135477"/>
                <a:gd name="connsiteY40" fmla="*/ 38290 h 82676"/>
                <a:gd name="connsiteX41" fmla="*/ 2439 w 135477"/>
                <a:gd name="connsiteY41" fmla="*/ 49021 h 82676"/>
                <a:gd name="connsiteX42" fmla="*/ 0 w 135477"/>
                <a:gd name="connsiteY42" fmla="*/ 57922 h 82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35477" h="82676">
                  <a:moveTo>
                    <a:pt x="0" y="57922"/>
                  </a:moveTo>
                  <a:lnTo>
                    <a:pt x="2683" y="61946"/>
                  </a:lnTo>
                  <a:lnTo>
                    <a:pt x="9878" y="54752"/>
                  </a:lnTo>
                  <a:lnTo>
                    <a:pt x="11707" y="52923"/>
                  </a:lnTo>
                  <a:lnTo>
                    <a:pt x="57679" y="52923"/>
                  </a:lnTo>
                  <a:lnTo>
                    <a:pt x="58288" y="53045"/>
                  </a:lnTo>
                  <a:lnTo>
                    <a:pt x="92798" y="59995"/>
                  </a:lnTo>
                  <a:lnTo>
                    <a:pt x="94993" y="60361"/>
                  </a:lnTo>
                  <a:lnTo>
                    <a:pt x="96334" y="62068"/>
                  </a:lnTo>
                  <a:lnTo>
                    <a:pt x="104382" y="72068"/>
                  </a:lnTo>
                  <a:lnTo>
                    <a:pt x="113040" y="82676"/>
                  </a:lnTo>
                  <a:lnTo>
                    <a:pt x="119259" y="82676"/>
                  </a:lnTo>
                  <a:lnTo>
                    <a:pt x="120722" y="81091"/>
                  </a:lnTo>
                  <a:lnTo>
                    <a:pt x="134258" y="65239"/>
                  </a:lnTo>
                  <a:lnTo>
                    <a:pt x="134258" y="64629"/>
                  </a:lnTo>
                  <a:lnTo>
                    <a:pt x="135477" y="42558"/>
                  </a:lnTo>
                  <a:lnTo>
                    <a:pt x="132185" y="38168"/>
                  </a:lnTo>
                  <a:lnTo>
                    <a:pt x="128283" y="33046"/>
                  </a:lnTo>
                  <a:lnTo>
                    <a:pt x="126941" y="31217"/>
                  </a:lnTo>
                  <a:lnTo>
                    <a:pt x="127063" y="28900"/>
                  </a:lnTo>
                  <a:lnTo>
                    <a:pt x="128161" y="13048"/>
                  </a:lnTo>
                  <a:lnTo>
                    <a:pt x="122917" y="13292"/>
                  </a:lnTo>
                  <a:lnTo>
                    <a:pt x="110479" y="14145"/>
                  </a:lnTo>
                  <a:lnTo>
                    <a:pt x="109016" y="14145"/>
                  </a:lnTo>
                  <a:lnTo>
                    <a:pt x="107675" y="13657"/>
                  </a:lnTo>
                  <a:lnTo>
                    <a:pt x="102431" y="11341"/>
                  </a:lnTo>
                  <a:lnTo>
                    <a:pt x="98773" y="9755"/>
                  </a:lnTo>
                  <a:lnTo>
                    <a:pt x="97310" y="9146"/>
                  </a:lnTo>
                  <a:lnTo>
                    <a:pt x="96456" y="8048"/>
                  </a:lnTo>
                  <a:lnTo>
                    <a:pt x="90603" y="1098"/>
                  </a:lnTo>
                  <a:lnTo>
                    <a:pt x="82798" y="0"/>
                  </a:lnTo>
                  <a:lnTo>
                    <a:pt x="77677" y="732"/>
                  </a:lnTo>
                  <a:lnTo>
                    <a:pt x="72312" y="1463"/>
                  </a:lnTo>
                  <a:lnTo>
                    <a:pt x="73653" y="10243"/>
                  </a:lnTo>
                  <a:lnTo>
                    <a:pt x="68532" y="35485"/>
                  </a:lnTo>
                  <a:lnTo>
                    <a:pt x="53655" y="38899"/>
                  </a:lnTo>
                  <a:lnTo>
                    <a:pt x="39265" y="21462"/>
                  </a:lnTo>
                  <a:lnTo>
                    <a:pt x="34510" y="10975"/>
                  </a:lnTo>
                  <a:lnTo>
                    <a:pt x="22925" y="15974"/>
                  </a:lnTo>
                  <a:lnTo>
                    <a:pt x="11219" y="19267"/>
                  </a:lnTo>
                  <a:lnTo>
                    <a:pt x="12194" y="38290"/>
                  </a:lnTo>
                  <a:lnTo>
                    <a:pt x="2439" y="49021"/>
                  </a:lnTo>
                  <a:lnTo>
                    <a:pt x="0" y="57922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BA151EA9-BFB7-47D8-9B32-B2C49642EBB6}"/>
                </a:ext>
              </a:extLst>
            </p:cNvPr>
            <p:cNvSpPr/>
            <p:nvPr/>
          </p:nvSpPr>
          <p:spPr>
            <a:xfrm>
              <a:off x="4844173" y="2080838"/>
              <a:ext cx="100357" cy="76213"/>
            </a:xfrm>
            <a:custGeom>
              <a:avLst/>
              <a:gdLst>
                <a:gd name="connsiteX0" fmla="*/ 30363 w 100357"/>
                <a:gd name="connsiteY0" fmla="*/ 48411 h 76213"/>
                <a:gd name="connsiteX1" fmla="*/ 31095 w 100357"/>
                <a:gd name="connsiteY1" fmla="*/ 50362 h 76213"/>
                <a:gd name="connsiteX2" fmla="*/ 33290 w 100357"/>
                <a:gd name="connsiteY2" fmla="*/ 55483 h 76213"/>
                <a:gd name="connsiteX3" fmla="*/ 36582 w 100357"/>
                <a:gd name="connsiteY3" fmla="*/ 63044 h 76213"/>
                <a:gd name="connsiteX4" fmla="*/ 36582 w 100357"/>
                <a:gd name="connsiteY4" fmla="*/ 63166 h 76213"/>
                <a:gd name="connsiteX5" fmla="*/ 39753 w 100357"/>
                <a:gd name="connsiteY5" fmla="*/ 62922 h 76213"/>
                <a:gd name="connsiteX6" fmla="*/ 43533 w 100357"/>
                <a:gd name="connsiteY6" fmla="*/ 62678 h 76213"/>
                <a:gd name="connsiteX7" fmla="*/ 45484 w 100357"/>
                <a:gd name="connsiteY7" fmla="*/ 65849 h 76213"/>
                <a:gd name="connsiteX8" fmla="*/ 47069 w 100357"/>
                <a:gd name="connsiteY8" fmla="*/ 68531 h 76213"/>
                <a:gd name="connsiteX9" fmla="*/ 48411 w 100357"/>
                <a:gd name="connsiteY9" fmla="*/ 70848 h 76213"/>
                <a:gd name="connsiteX10" fmla="*/ 50484 w 100357"/>
                <a:gd name="connsiteY10" fmla="*/ 71824 h 76213"/>
                <a:gd name="connsiteX11" fmla="*/ 55240 w 100357"/>
                <a:gd name="connsiteY11" fmla="*/ 74263 h 76213"/>
                <a:gd name="connsiteX12" fmla="*/ 59020 w 100357"/>
                <a:gd name="connsiteY12" fmla="*/ 76214 h 76213"/>
                <a:gd name="connsiteX13" fmla="*/ 61337 w 100357"/>
                <a:gd name="connsiteY13" fmla="*/ 73897 h 76213"/>
                <a:gd name="connsiteX14" fmla="*/ 63288 w 100357"/>
                <a:gd name="connsiteY14" fmla="*/ 71946 h 76213"/>
                <a:gd name="connsiteX15" fmla="*/ 64141 w 100357"/>
                <a:gd name="connsiteY15" fmla="*/ 67190 h 76213"/>
                <a:gd name="connsiteX16" fmla="*/ 64873 w 100357"/>
                <a:gd name="connsiteY16" fmla="*/ 64019 h 76213"/>
                <a:gd name="connsiteX17" fmla="*/ 67800 w 100357"/>
                <a:gd name="connsiteY17" fmla="*/ 62678 h 76213"/>
                <a:gd name="connsiteX18" fmla="*/ 72921 w 100357"/>
                <a:gd name="connsiteY18" fmla="*/ 60605 h 76213"/>
                <a:gd name="connsiteX19" fmla="*/ 82554 w 100357"/>
                <a:gd name="connsiteY19" fmla="*/ 56581 h 76213"/>
                <a:gd name="connsiteX20" fmla="*/ 88895 w 100357"/>
                <a:gd name="connsiteY20" fmla="*/ 44996 h 76213"/>
                <a:gd name="connsiteX21" fmla="*/ 90480 w 100357"/>
                <a:gd name="connsiteY21" fmla="*/ 42070 h 76213"/>
                <a:gd name="connsiteX22" fmla="*/ 95480 w 100357"/>
                <a:gd name="connsiteY22" fmla="*/ 33900 h 76213"/>
                <a:gd name="connsiteX23" fmla="*/ 100358 w 100357"/>
                <a:gd name="connsiteY23" fmla="*/ 26096 h 76213"/>
                <a:gd name="connsiteX24" fmla="*/ 91456 w 100357"/>
                <a:gd name="connsiteY24" fmla="*/ 15121 h 76213"/>
                <a:gd name="connsiteX25" fmla="*/ 84628 w 100357"/>
                <a:gd name="connsiteY25" fmla="*/ 6707 h 76213"/>
                <a:gd name="connsiteX26" fmla="*/ 51094 w 100357"/>
                <a:gd name="connsiteY26" fmla="*/ 0 h 76213"/>
                <a:gd name="connsiteX27" fmla="*/ 9024 w 100357"/>
                <a:gd name="connsiteY27" fmla="*/ 0 h 76213"/>
                <a:gd name="connsiteX28" fmla="*/ 2073 w 100357"/>
                <a:gd name="connsiteY28" fmla="*/ 6829 h 76213"/>
                <a:gd name="connsiteX29" fmla="*/ 0 w 100357"/>
                <a:gd name="connsiteY29" fmla="*/ 8902 h 76213"/>
                <a:gd name="connsiteX30" fmla="*/ 366 w 100357"/>
                <a:gd name="connsiteY30" fmla="*/ 10975 h 76213"/>
                <a:gd name="connsiteX31" fmla="*/ 4634 w 100357"/>
                <a:gd name="connsiteY31" fmla="*/ 37192 h 76213"/>
                <a:gd name="connsiteX32" fmla="*/ 5731 w 100357"/>
                <a:gd name="connsiteY32" fmla="*/ 37558 h 76213"/>
                <a:gd name="connsiteX33" fmla="*/ 18291 w 100357"/>
                <a:gd name="connsiteY33" fmla="*/ 41704 h 76213"/>
                <a:gd name="connsiteX34" fmla="*/ 18901 w 100357"/>
                <a:gd name="connsiteY34" fmla="*/ 41948 h 76213"/>
                <a:gd name="connsiteX35" fmla="*/ 19389 w 100357"/>
                <a:gd name="connsiteY35" fmla="*/ 42192 h 76213"/>
                <a:gd name="connsiteX36" fmla="*/ 27193 w 100357"/>
                <a:gd name="connsiteY36" fmla="*/ 46582 h 76213"/>
                <a:gd name="connsiteX37" fmla="*/ 28534 w 100357"/>
                <a:gd name="connsiteY37" fmla="*/ 47435 h 76213"/>
                <a:gd name="connsiteX38" fmla="*/ 30363 w 100357"/>
                <a:gd name="connsiteY38" fmla="*/ 48411 h 7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0357" h="76213">
                  <a:moveTo>
                    <a:pt x="30363" y="48411"/>
                  </a:moveTo>
                  <a:lnTo>
                    <a:pt x="31095" y="50362"/>
                  </a:lnTo>
                  <a:lnTo>
                    <a:pt x="33290" y="55483"/>
                  </a:lnTo>
                  <a:lnTo>
                    <a:pt x="36582" y="63044"/>
                  </a:lnTo>
                  <a:lnTo>
                    <a:pt x="36582" y="63166"/>
                  </a:lnTo>
                  <a:lnTo>
                    <a:pt x="39753" y="62922"/>
                  </a:lnTo>
                  <a:lnTo>
                    <a:pt x="43533" y="62678"/>
                  </a:lnTo>
                  <a:lnTo>
                    <a:pt x="45484" y="65849"/>
                  </a:lnTo>
                  <a:lnTo>
                    <a:pt x="47069" y="68531"/>
                  </a:lnTo>
                  <a:lnTo>
                    <a:pt x="48411" y="70848"/>
                  </a:lnTo>
                  <a:lnTo>
                    <a:pt x="50484" y="71824"/>
                  </a:lnTo>
                  <a:lnTo>
                    <a:pt x="55240" y="74263"/>
                  </a:lnTo>
                  <a:lnTo>
                    <a:pt x="59020" y="76214"/>
                  </a:lnTo>
                  <a:lnTo>
                    <a:pt x="61337" y="73897"/>
                  </a:lnTo>
                  <a:lnTo>
                    <a:pt x="63288" y="71946"/>
                  </a:lnTo>
                  <a:lnTo>
                    <a:pt x="64141" y="67190"/>
                  </a:lnTo>
                  <a:lnTo>
                    <a:pt x="64873" y="64019"/>
                  </a:lnTo>
                  <a:lnTo>
                    <a:pt x="67800" y="62678"/>
                  </a:lnTo>
                  <a:lnTo>
                    <a:pt x="72921" y="60605"/>
                  </a:lnTo>
                  <a:lnTo>
                    <a:pt x="82554" y="56581"/>
                  </a:lnTo>
                  <a:lnTo>
                    <a:pt x="88895" y="44996"/>
                  </a:lnTo>
                  <a:lnTo>
                    <a:pt x="90480" y="42070"/>
                  </a:lnTo>
                  <a:lnTo>
                    <a:pt x="95480" y="33900"/>
                  </a:lnTo>
                  <a:lnTo>
                    <a:pt x="100358" y="26096"/>
                  </a:lnTo>
                  <a:lnTo>
                    <a:pt x="91456" y="15121"/>
                  </a:lnTo>
                  <a:lnTo>
                    <a:pt x="84628" y="6707"/>
                  </a:lnTo>
                  <a:lnTo>
                    <a:pt x="51094" y="0"/>
                  </a:lnTo>
                  <a:lnTo>
                    <a:pt x="9024" y="0"/>
                  </a:lnTo>
                  <a:lnTo>
                    <a:pt x="2073" y="6829"/>
                  </a:lnTo>
                  <a:lnTo>
                    <a:pt x="0" y="8902"/>
                  </a:lnTo>
                  <a:lnTo>
                    <a:pt x="366" y="10975"/>
                  </a:lnTo>
                  <a:lnTo>
                    <a:pt x="4634" y="37192"/>
                  </a:lnTo>
                  <a:lnTo>
                    <a:pt x="5731" y="37558"/>
                  </a:lnTo>
                  <a:lnTo>
                    <a:pt x="18291" y="41704"/>
                  </a:lnTo>
                  <a:lnTo>
                    <a:pt x="18901" y="41948"/>
                  </a:lnTo>
                  <a:lnTo>
                    <a:pt x="19389" y="42192"/>
                  </a:lnTo>
                  <a:lnTo>
                    <a:pt x="27193" y="46582"/>
                  </a:lnTo>
                  <a:lnTo>
                    <a:pt x="28534" y="47435"/>
                  </a:lnTo>
                  <a:lnTo>
                    <a:pt x="30363" y="48411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6" name="Freihandform: Form 935">
              <a:extLst>
                <a:ext uri="{FF2B5EF4-FFF2-40B4-BE49-F238E27FC236}">
                  <a16:creationId xmlns:a16="http://schemas.microsoft.com/office/drawing/2014/main" id="{35F528A2-1031-4316-98AC-7D9AF7B18109}"/>
                </a:ext>
              </a:extLst>
            </p:cNvPr>
            <p:cNvSpPr/>
            <p:nvPr/>
          </p:nvSpPr>
          <p:spPr>
            <a:xfrm>
              <a:off x="4710403" y="2134370"/>
              <a:ext cx="190838" cy="176693"/>
            </a:xfrm>
            <a:custGeom>
              <a:avLst/>
              <a:gdLst>
                <a:gd name="connsiteX0" fmla="*/ 190839 w 190838"/>
                <a:gd name="connsiteY0" fmla="*/ 135233 h 176693"/>
                <a:gd name="connsiteX1" fmla="*/ 188278 w 190838"/>
                <a:gd name="connsiteY1" fmla="*/ 112552 h 176693"/>
                <a:gd name="connsiteX2" fmla="*/ 188156 w 190838"/>
                <a:gd name="connsiteY2" fmla="*/ 111577 h 176693"/>
                <a:gd name="connsiteX3" fmla="*/ 187546 w 190838"/>
                <a:gd name="connsiteY3" fmla="*/ 107674 h 176693"/>
                <a:gd name="connsiteX4" fmla="*/ 186449 w 190838"/>
                <a:gd name="connsiteY4" fmla="*/ 101455 h 176693"/>
                <a:gd name="connsiteX5" fmla="*/ 185595 w 190838"/>
                <a:gd name="connsiteY5" fmla="*/ 95968 h 176693"/>
                <a:gd name="connsiteX6" fmla="*/ 174255 w 190838"/>
                <a:gd name="connsiteY6" fmla="*/ 83408 h 176693"/>
                <a:gd name="connsiteX7" fmla="*/ 173523 w 190838"/>
                <a:gd name="connsiteY7" fmla="*/ 82555 h 176693"/>
                <a:gd name="connsiteX8" fmla="*/ 169743 w 190838"/>
                <a:gd name="connsiteY8" fmla="*/ 78530 h 176693"/>
                <a:gd name="connsiteX9" fmla="*/ 173523 w 190838"/>
                <a:gd name="connsiteY9" fmla="*/ 74384 h 176693"/>
                <a:gd name="connsiteX10" fmla="*/ 184619 w 190838"/>
                <a:gd name="connsiteY10" fmla="*/ 62190 h 176693"/>
                <a:gd name="connsiteX11" fmla="*/ 181937 w 190838"/>
                <a:gd name="connsiteY11" fmla="*/ 56581 h 176693"/>
                <a:gd name="connsiteX12" fmla="*/ 175962 w 190838"/>
                <a:gd name="connsiteY12" fmla="*/ 43777 h 176693"/>
                <a:gd name="connsiteX13" fmla="*/ 175474 w 190838"/>
                <a:gd name="connsiteY13" fmla="*/ 42558 h 176693"/>
                <a:gd name="connsiteX14" fmla="*/ 175474 w 190838"/>
                <a:gd name="connsiteY14" fmla="*/ 21462 h 176693"/>
                <a:gd name="connsiteX15" fmla="*/ 174011 w 190838"/>
                <a:gd name="connsiteY15" fmla="*/ 19267 h 176693"/>
                <a:gd name="connsiteX16" fmla="*/ 173035 w 190838"/>
                <a:gd name="connsiteY16" fmla="*/ 17438 h 176693"/>
                <a:gd name="connsiteX17" fmla="*/ 172059 w 190838"/>
                <a:gd name="connsiteY17" fmla="*/ 17560 h 176693"/>
                <a:gd name="connsiteX18" fmla="*/ 165231 w 190838"/>
                <a:gd name="connsiteY18" fmla="*/ 18047 h 176693"/>
                <a:gd name="connsiteX19" fmla="*/ 153890 w 190838"/>
                <a:gd name="connsiteY19" fmla="*/ 18901 h 176693"/>
                <a:gd name="connsiteX20" fmla="*/ 138891 w 190838"/>
                <a:gd name="connsiteY20" fmla="*/ 20120 h 176693"/>
                <a:gd name="connsiteX21" fmla="*/ 138038 w 190838"/>
                <a:gd name="connsiteY21" fmla="*/ 20120 h 176693"/>
                <a:gd name="connsiteX22" fmla="*/ 137428 w 190838"/>
                <a:gd name="connsiteY22" fmla="*/ 19998 h 176693"/>
                <a:gd name="connsiteX23" fmla="*/ 120356 w 190838"/>
                <a:gd name="connsiteY23" fmla="*/ 17194 h 176693"/>
                <a:gd name="connsiteX24" fmla="*/ 113893 w 190838"/>
                <a:gd name="connsiteY24" fmla="*/ 15609 h 176693"/>
                <a:gd name="connsiteX25" fmla="*/ 112552 w 190838"/>
                <a:gd name="connsiteY25" fmla="*/ 15365 h 176693"/>
                <a:gd name="connsiteX26" fmla="*/ 106333 w 190838"/>
                <a:gd name="connsiteY26" fmla="*/ 13779 h 176693"/>
                <a:gd name="connsiteX27" fmla="*/ 106699 w 190838"/>
                <a:gd name="connsiteY27" fmla="*/ 12438 h 176693"/>
                <a:gd name="connsiteX28" fmla="*/ 95724 w 190838"/>
                <a:gd name="connsiteY28" fmla="*/ 19755 h 176693"/>
                <a:gd name="connsiteX29" fmla="*/ 95724 w 190838"/>
                <a:gd name="connsiteY29" fmla="*/ 19755 h 176693"/>
                <a:gd name="connsiteX30" fmla="*/ 79994 w 190838"/>
                <a:gd name="connsiteY30" fmla="*/ 16462 h 176693"/>
                <a:gd name="connsiteX31" fmla="*/ 79018 w 190838"/>
                <a:gd name="connsiteY31" fmla="*/ 3292 h 176693"/>
                <a:gd name="connsiteX32" fmla="*/ 60971 w 190838"/>
                <a:gd name="connsiteY32" fmla="*/ 0 h 176693"/>
                <a:gd name="connsiteX33" fmla="*/ 53776 w 190838"/>
                <a:gd name="connsiteY33" fmla="*/ 7073 h 176693"/>
                <a:gd name="connsiteX34" fmla="*/ 39509 w 190838"/>
                <a:gd name="connsiteY34" fmla="*/ 11828 h 176693"/>
                <a:gd name="connsiteX35" fmla="*/ 23291 w 190838"/>
                <a:gd name="connsiteY35" fmla="*/ 24266 h 176693"/>
                <a:gd name="connsiteX36" fmla="*/ 8536 w 190838"/>
                <a:gd name="connsiteY36" fmla="*/ 25974 h 176693"/>
                <a:gd name="connsiteX37" fmla="*/ 0 w 190838"/>
                <a:gd name="connsiteY37" fmla="*/ 30851 h 176693"/>
                <a:gd name="connsiteX38" fmla="*/ 1707 w 190838"/>
                <a:gd name="connsiteY38" fmla="*/ 38534 h 176693"/>
                <a:gd name="connsiteX39" fmla="*/ 3049 w 190838"/>
                <a:gd name="connsiteY39" fmla="*/ 44753 h 176693"/>
                <a:gd name="connsiteX40" fmla="*/ 3292 w 190838"/>
                <a:gd name="connsiteY40" fmla="*/ 45728 h 176693"/>
                <a:gd name="connsiteX41" fmla="*/ 3170 w 190838"/>
                <a:gd name="connsiteY41" fmla="*/ 46704 h 176693"/>
                <a:gd name="connsiteX42" fmla="*/ 488 w 190838"/>
                <a:gd name="connsiteY42" fmla="*/ 69629 h 176693"/>
                <a:gd name="connsiteX43" fmla="*/ 11950 w 190838"/>
                <a:gd name="connsiteY43" fmla="*/ 104992 h 176693"/>
                <a:gd name="connsiteX44" fmla="*/ 16462 w 190838"/>
                <a:gd name="connsiteY44" fmla="*/ 118649 h 176693"/>
                <a:gd name="connsiteX45" fmla="*/ 16584 w 190838"/>
                <a:gd name="connsiteY45" fmla="*/ 119137 h 176693"/>
                <a:gd name="connsiteX46" fmla="*/ 24998 w 190838"/>
                <a:gd name="connsiteY46" fmla="*/ 121210 h 176693"/>
                <a:gd name="connsiteX47" fmla="*/ 27315 w 190838"/>
                <a:gd name="connsiteY47" fmla="*/ 121820 h 176693"/>
                <a:gd name="connsiteX48" fmla="*/ 28534 w 190838"/>
                <a:gd name="connsiteY48" fmla="*/ 123893 h 176693"/>
                <a:gd name="connsiteX49" fmla="*/ 31095 w 190838"/>
                <a:gd name="connsiteY49" fmla="*/ 127795 h 176693"/>
                <a:gd name="connsiteX50" fmla="*/ 39387 w 190838"/>
                <a:gd name="connsiteY50" fmla="*/ 140721 h 176693"/>
                <a:gd name="connsiteX51" fmla="*/ 41216 w 190838"/>
                <a:gd name="connsiteY51" fmla="*/ 140355 h 176693"/>
                <a:gd name="connsiteX52" fmla="*/ 49874 w 190838"/>
                <a:gd name="connsiteY52" fmla="*/ 138648 h 176693"/>
                <a:gd name="connsiteX53" fmla="*/ 52923 w 190838"/>
                <a:gd name="connsiteY53" fmla="*/ 138038 h 176693"/>
                <a:gd name="connsiteX54" fmla="*/ 55240 w 190838"/>
                <a:gd name="connsiteY54" fmla="*/ 140111 h 176693"/>
                <a:gd name="connsiteX55" fmla="*/ 83164 w 190838"/>
                <a:gd name="connsiteY55" fmla="*/ 165353 h 176693"/>
                <a:gd name="connsiteX56" fmla="*/ 89505 w 190838"/>
                <a:gd name="connsiteY56" fmla="*/ 165475 h 176693"/>
                <a:gd name="connsiteX57" fmla="*/ 89993 w 190838"/>
                <a:gd name="connsiteY57" fmla="*/ 164134 h 176693"/>
                <a:gd name="connsiteX58" fmla="*/ 93285 w 190838"/>
                <a:gd name="connsiteY58" fmla="*/ 165597 h 176693"/>
                <a:gd name="connsiteX59" fmla="*/ 97797 w 190838"/>
                <a:gd name="connsiteY59" fmla="*/ 165841 h 176693"/>
                <a:gd name="connsiteX60" fmla="*/ 97187 w 190838"/>
                <a:gd name="connsiteY60" fmla="*/ 167426 h 176693"/>
                <a:gd name="connsiteX61" fmla="*/ 107674 w 190838"/>
                <a:gd name="connsiteY61" fmla="*/ 172182 h 176693"/>
                <a:gd name="connsiteX62" fmla="*/ 145233 w 190838"/>
                <a:gd name="connsiteY62" fmla="*/ 166816 h 176693"/>
                <a:gd name="connsiteX63" fmla="*/ 148037 w 190838"/>
                <a:gd name="connsiteY63" fmla="*/ 166450 h 176693"/>
                <a:gd name="connsiteX64" fmla="*/ 150110 w 190838"/>
                <a:gd name="connsiteY64" fmla="*/ 168279 h 176693"/>
                <a:gd name="connsiteX65" fmla="*/ 157427 w 190838"/>
                <a:gd name="connsiteY65" fmla="*/ 174864 h 176693"/>
                <a:gd name="connsiteX66" fmla="*/ 159622 w 190838"/>
                <a:gd name="connsiteY66" fmla="*/ 176693 h 176693"/>
                <a:gd name="connsiteX67" fmla="*/ 161694 w 190838"/>
                <a:gd name="connsiteY67" fmla="*/ 174864 h 176693"/>
                <a:gd name="connsiteX68" fmla="*/ 165109 w 190838"/>
                <a:gd name="connsiteY68" fmla="*/ 171938 h 176693"/>
                <a:gd name="connsiteX69" fmla="*/ 164377 w 190838"/>
                <a:gd name="connsiteY69" fmla="*/ 168279 h 176693"/>
                <a:gd name="connsiteX70" fmla="*/ 163767 w 190838"/>
                <a:gd name="connsiteY70" fmla="*/ 165231 h 176693"/>
                <a:gd name="connsiteX71" fmla="*/ 165841 w 190838"/>
                <a:gd name="connsiteY71" fmla="*/ 162914 h 176693"/>
                <a:gd name="connsiteX72" fmla="*/ 190839 w 190838"/>
                <a:gd name="connsiteY72" fmla="*/ 135233 h 17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90838" h="176693">
                  <a:moveTo>
                    <a:pt x="190839" y="135233"/>
                  </a:moveTo>
                  <a:lnTo>
                    <a:pt x="188278" y="112552"/>
                  </a:lnTo>
                  <a:lnTo>
                    <a:pt x="188156" y="111577"/>
                  </a:lnTo>
                  <a:lnTo>
                    <a:pt x="187546" y="107674"/>
                  </a:lnTo>
                  <a:lnTo>
                    <a:pt x="186449" y="101455"/>
                  </a:lnTo>
                  <a:lnTo>
                    <a:pt x="185595" y="95968"/>
                  </a:lnTo>
                  <a:lnTo>
                    <a:pt x="174255" y="83408"/>
                  </a:lnTo>
                  <a:lnTo>
                    <a:pt x="173523" y="82555"/>
                  </a:lnTo>
                  <a:lnTo>
                    <a:pt x="169743" y="78530"/>
                  </a:lnTo>
                  <a:lnTo>
                    <a:pt x="173523" y="74384"/>
                  </a:lnTo>
                  <a:lnTo>
                    <a:pt x="184619" y="62190"/>
                  </a:lnTo>
                  <a:lnTo>
                    <a:pt x="181937" y="56581"/>
                  </a:lnTo>
                  <a:lnTo>
                    <a:pt x="175962" y="43777"/>
                  </a:lnTo>
                  <a:lnTo>
                    <a:pt x="175474" y="42558"/>
                  </a:lnTo>
                  <a:lnTo>
                    <a:pt x="175474" y="21462"/>
                  </a:lnTo>
                  <a:lnTo>
                    <a:pt x="174011" y="19267"/>
                  </a:lnTo>
                  <a:lnTo>
                    <a:pt x="173035" y="17438"/>
                  </a:lnTo>
                  <a:lnTo>
                    <a:pt x="172059" y="17560"/>
                  </a:lnTo>
                  <a:lnTo>
                    <a:pt x="165231" y="18047"/>
                  </a:lnTo>
                  <a:lnTo>
                    <a:pt x="153890" y="18901"/>
                  </a:lnTo>
                  <a:lnTo>
                    <a:pt x="138891" y="20120"/>
                  </a:lnTo>
                  <a:lnTo>
                    <a:pt x="138038" y="20120"/>
                  </a:lnTo>
                  <a:lnTo>
                    <a:pt x="137428" y="19998"/>
                  </a:lnTo>
                  <a:lnTo>
                    <a:pt x="120356" y="17194"/>
                  </a:lnTo>
                  <a:lnTo>
                    <a:pt x="113893" y="15609"/>
                  </a:lnTo>
                  <a:lnTo>
                    <a:pt x="112552" y="15365"/>
                  </a:lnTo>
                  <a:lnTo>
                    <a:pt x="106333" y="13779"/>
                  </a:lnTo>
                  <a:lnTo>
                    <a:pt x="106699" y="12438"/>
                  </a:lnTo>
                  <a:lnTo>
                    <a:pt x="95724" y="19755"/>
                  </a:lnTo>
                  <a:lnTo>
                    <a:pt x="95724" y="19755"/>
                  </a:lnTo>
                  <a:lnTo>
                    <a:pt x="79994" y="16462"/>
                  </a:lnTo>
                  <a:lnTo>
                    <a:pt x="79018" y="3292"/>
                  </a:lnTo>
                  <a:lnTo>
                    <a:pt x="60971" y="0"/>
                  </a:lnTo>
                  <a:lnTo>
                    <a:pt x="53776" y="7073"/>
                  </a:lnTo>
                  <a:lnTo>
                    <a:pt x="39509" y="11828"/>
                  </a:lnTo>
                  <a:lnTo>
                    <a:pt x="23291" y="24266"/>
                  </a:lnTo>
                  <a:lnTo>
                    <a:pt x="8536" y="25974"/>
                  </a:lnTo>
                  <a:lnTo>
                    <a:pt x="0" y="30851"/>
                  </a:lnTo>
                  <a:lnTo>
                    <a:pt x="1707" y="38534"/>
                  </a:lnTo>
                  <a:lnTo>
                    <a:pt x="3049" y="44753"/>
                  </a:lnTo>
                  <a:lnTo>
                    <a:pt x="3292" y="45728"/>
                  </a:lnTo>
                  <a:lnTo>
                    <a:pt x="3170" y="46704"/>
                  </a:lnTo>
                  <a:lnTo>
                    <a:pt x="488" y="69629"/>
                  </a:lnTo>
                  <a:lnTo>
                    <a:pt x="11950" y="104992"/>
                  </a:lnTo>
                  <a:lnTo>
                    <a:pt x="16462" y="118649"/>
                  </a:lnTo>
                  <a:lnTo>
                    <a:pt x="16584" y="119137"/>
                  </a:lnTo>
                  <a:lnTo>
                    <a:pt x="24998" y="121210"/>
                  </a:lnTo>
                  <a:lnTo>
                    <a:pt x="27315" y="121820"/>
                  </a:lnTo>
                  <a:lnTo>
                    <a:pt x="28534" y="123893"/>
                  </a:lnTo>
                  <a:lnTo>
                    <a:pt x="31095" y="127795"/>
                  </a:lnTo>
                  <a:lnTo>
                    <a:pt x="39387" y="140721"/>
                  </a:lnTo>
                  <a:lnTo>
                    <a:pt x="41216" y="140355"/>
                  </a:lnTo>
                  <a:lnTo>
                    <a:pt x="49874" y="138648"/>
                  </a:lnTo>
                  <a:lnTo>
                    <a:pt x="52923" y="138038"/>
                  </a:lnTo>
                  <a:lnTo>
                    <a:pt x="55240" y="140111"/>
                  </a:lnTo>
                  <a:lnTo>
                    <a:pt x="83164" y="165353"/>
                  </a:lnTo>
                  <a:lnTo>
                    <a:pt x="89505" y="165475"/>
                  </a:lnTo>
                  <a:lnTo>
                    <a:pt x="89993" y="164134"/>
                  </a:lnTo>
                  <a:lnTo>
                    <a:pt x="93285" y="165597"/>
                  </a:lnTo>
                  <a:lnTo>
                    <a:pt x="97797" y="165841"/>
                  </a:lnTo>
                  <a:lnTo>
                    <a:pt x="97187" y="167426"/>
                  </a:lnTo>
                  <a:lnTo>
                    <a:pt x="107674" y="172182"/>
                  </a:lnTo>
                  <a:lnTo>
                    <a:pt x="145233" y="166816"/>
                  </a:lnTo>
                  <a:lnTo>
                    <a:pt x="148037" y="166450"/>
                  </a:lnTo>
                  <a:lnTo>
                    <a:pt x="150110" y="168279"/>
                  </a:lnTo>
                  <a:lnTo>
                    <a:pt x="157427" y="174864"/>
                  </a:lnTo>
                  <a:lnTo>
                    <a:pt x="159622" y="176693"/>
                  </a:lnTo>
                  <a:lnTo>
                    <a:pt x="161694" y="174864"/>
                  </a:lnTo>
                  <a:lnTo>
                    <a:pt x="165109" y="171938"/>
                  </a:lnTo>
                  <a:lnTo>
                    <a:pt x="164377" y="168279"/>
                  </a:lnTo>
                  <a:lnTo>
                    <a:pt x="163767" y="165231"/>
                  </a:lnTo>
                  <a:lnTo>
                    <a:pt x="165841" y="162914"/>
                  </a:lnTo>
                  <a:lnTo>
                    <a:pt x="190839" y="135233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7" name="Freihandform: Form 936">
              <a:extLst>
                <a:ext uri="{FF2B5EF4-FFF2-40B4-BE49-F238E27FC236}">
                  <a16:creationId xmlns:a16="http://schemas.microsoft.com/office/drawing/2014/main" id="{3F9AE46B-9F89-42F2-B918-6538109D5FBE}"/>
                </a:ext>
              </a:extLst>
            </p:cNvPr>
            <p:cNvSpPr/>
            <p:nvPr/>
          </p:nvSpPr>
          <p:spPr>
            <a:xfrm>
              <a:off x="4788934" y="2026696"/>
              <a:ext cx="7926" cy="16462"/>
            </a:xfrm>
            <a:custGeom>
              <a:avLst/>
              <a:gdLst>
                <a:gd name="connsiteX0" fmla="*/ 0 w 7926"/>
                <a:gd name="connsiteY0" fmla="*/ 4878 h 16462"/>
                <a:gd name="connsiteX1" fmla="*/ 853 w 7926"/>
                <a:gd name="connsiteY1" fmla="*/ 11219 h 16462"/>
                <a:gd name="connsiteX2" fmla="*/ 3414 w 7926"/>
                <a:gd name="connsiteY2" fmla="*/ 16462 h 16462"/>
                <a:gd name="connsiteX3" fmla="*/ 7072 w 7926"/>
                <a:gd name="connsiteY3" fmla="*/ 14389 h 16462"/>
                <a:gd name="connsiteX4" fmla="*/ 7926 w 7926"/>
                <a:gd name="connsiteY4" fmla="*/ 1219 h 16462"/>
                <a:gd name="connsiteX5" fmla="*/ 3414 w 7926"/>
                <a:gd name="connsiteY5" fmla="*/ 0 h 16462"/>
                <a:gd name="connsiteX6" fmla="*/ 0 w 7926"/>
                <a:gd name="connsiteY6" fmla="*/ 4878 h 1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26" h="16462">
                  <a:moveTo>
                    <a:pt x="0" y="4878"/>
                  </a:moveTo>
                  <a:lnTo>
                    <a:pt x="853" y="11219"/>
                  </a:lnTo>
                  <a:lnTo>
                    <a:pt x="3414" y="16462"/>
                  </a:lnTo>
                  <a:lnTo>
                    <a:pt x="7072" y="14389"/>
                  </a:lnTo>
                  <a:lnTo>
                    <a:pt x="7926" y="1219"/>
                  </a:lnTo>
                  <a:lnTo>
                    <a:pt x="3414" y="0"/>
                  </a:lnTo>
                  <a:lnTo>
                    <a:pt x="0" y="4878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38" name="Freihandform: Form 937">
              <a:extLst>
                <a:ext uri="{FF2B5EF4-FFF2-40B4-BE49-F238E27FC236}">
                  <a16:creationId xmlns:a16="http://schemas.microsoft.com/office/drawing/2014/main" id="{3B32721B-E5E3-4952-906A-A0DAEAF52FF0}"/>
                </a:ext>
              </a:extLst>
            </p:cNvPr>
            <p:cNvSpPr/>
            <p:nvPr/>
          </p:nvSpPr>
          <p:spPr>
            <a:xfrm>
              <a:off x="4816736" y="1929996"/>
              <a:ext cx="1097" cy="2926"/>
            </a:xfrm>
            <a:custGeom>
              <a:avLst/>
              <a:gdLst>
                <a:gd name="connsiteX0" fmla="*/ 610 w 1097"/>
                <a:gd name="connsiteY0" fmla="*/ 2927 h 2926"/>
                <a:gd name="connsiteX1" fmla="*/ 1097 w 1097"/>
                <a:gd name="connsiteY1" fmla="*/ 0 h 2926"/>
                <a:gd name="connsiteX2" fmla="*/ 0 w 1097"/>
                <a:gd name="connsiteY2" fmla="*/ 0 h 2926"/>
                <a:gd name="connsiteX3" fmla="*/ 0 w 1097"/>
                <a:gd name="connsiteY3" fmla="*/ 2439 h 2926"/>
                <a:gd name="connsiteX4" fmla="*/ 610 w 1097"/>
                <a:gd name="connsiteY4" fmla="*/ 2927 h 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" h="2926">
                  <a:moveTo>
                    <a:pt x="610" y="2927"/>
                  </a:moveTo>
                  <a:lnTo>
                    <a:pt x="1097" y="0"/>
                  </a:lnTo>
                  <a:lnTo>
                    <a:pt x="0" y="0"/>
                  </a:lnTo>
                  <a:lnTo>
                    <a:pt x="0" y="2439"/>
                  </a:lnTo>
                  <a:lnTo>
                    <a:pt x="610" y="2927"/>
                  </a:lnTo>
                  <a:close/>
                </a:path>
              </a:pathLst>
            </a:custGeom>
            <a:solidFill>
              <a:srgbClr val="DCD6D8"/>
            </a:solidFill>
            <a:ln w="1218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de-DE" sz="1867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/>
              <a:t>Infineon at a glance</a:t>
            </a:r>
          </a:p>
        </p:txBody>
      </p:sp>
      <p:sp>
        <p:nvSpPr>
          <p:cNvPr id="18" name="Textplatzhalter 17"/>
          <p:cNvSpPr txBox="1">
            <a:spLocks/>
          </p:cNvSpPr>
          <p:nvPr/>
        </p:nvSpPr>
        <p:spPr>
          <a:xfrm>
            <a:off x="349111" y="3663155"/>
            <a:ext cx="5664200" cy="306735"/>
          </a:xfrm>
          <a:prstGeom prst="rect">
            <a:avLst/>
          </a:prstGeom>
          <a:noFill/>
          <a:effectLst/>
        </p:spPr>
        <p:txBody>
          <a:bodyPr vert="horz" wrap="none" lIns="0" tIns="0" rIns="120000" bIns="0" rtlCol="0" anchor="t" anchorCtr="0">
            <a:noAutofit/>
          </a:bodyPr>
          <a:lstStyle/>
          <a:p>
            <a:pPr marL="359982" indent="-359982" defTabSz="914377">
              <a:spcBef>
                <a:spcPts val="0"/>
              </a:spcBef>
              <a:spcAft>
                <a:spcPts val="0"/>
              </a:spcAft>
              <a:buClr>
                <a:srgbClr val="EE813C"/>
              </a:buClr>
              <a:defRPr/>
            </a:pPr>
            <a:r>
              <a:rPr lang="de-DE" sz="2133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s</a:t>
            </a:r>
            <a:endParaRPr lang="de-DE" sz="2133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platzhalter 18"/>
          <p:cNvSpPr txBox="1">
            <a:spLocks/>
          </p:cNvSpPr>
          <p:nvPr/>
        </p:nvSpPr>
        <p:spPr>
          <a:xfrm>
            <a:off x="6205332" y="3663403"/>
            <a:ext cx="5664200" cy="306735"/>
          </a:xfrm>
          <a:prstGeom prst="rect">
            <a:avLst/>
          </a:prstGeom>
          <a:noFill/>
          <a:effectLst/>
        </p:spPr>
        <p:txBody>
          <a:bodyPr vert="horz" wrap="none" lIns="0" tIns="0" rIns="120000" bIns="0" rtlCol="0" anchor="t" anchorCtr="0">
            <a:noAutofit/>
          </a:bodyPr>
          <a:lstStyle/>
          <a:p>
            <a:pPr marL="359982" indent="-359982" defTabSz="914377">
              <a:spcBef>
                <a:spcPts val="0"/>
              </a:spcBef>
              <a:spcAft>
                <a:spcPts val="0"/>
              </a:spcAft>
              <a:buClr>
                <a:srgbClr val="EE813C"/>
              </a:buClr>
              <a:defRPr/>
            </a:pPr>
            <a:r>
              <a:rPr lang="de-DE" sz="2133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Position</a:t>
            </a:r>
            <a:endParaRPr lang="de-DE" sz="2133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platzhalter 15"/>
          <p:cNvSpPr txBox="1">
            <a:spLocks/>
          </p:cNvSpPr>
          <p:nvPr/>
        </p:nvSpPr>
        <p:spPr>
          <a:xfrm>
            <a:off x="349111" y="980601"/>
            <a:ext cx="5664200" cy="306735"/>
          </a:xfrm>
          <a:prstGeom prst="rect">
            <a:avLst/>
          </a:prstGeom>
          <a:noFill/>
          <a:effectLst/>
        </p:spPr>
        <p:txBody>
          <a:bodyPr vert="horz" wrap="none" lIns="0" tIns="0" rIns="120000" bIns="0" rtlCol="0" anchor="t" anchorCtr="0">
            <a:noAutofit/>
          </a:bodyPr>
          <a:lstStyle/>
          <a:p>
            <a:pPr marL="359982" indent="-359982" defTabSz="914377">
              <a:spcBef>
                <a:spcPts val="0"/>
              </a:spcBef>
              <a:spcAft>
                <a:spcPts val="0"/>
              </a:spcAft>
              <a:buClr>
                <a:srgbClr val="EE813C"/>
              </a:buClr>
              <a:defRPr/>
            </a:pPr>
            <a:r>
              <a:rPr lang="de-DE" sz="2133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Segments Revenue*</a:t>
            </a:r>
          </a:p>
        </p:txBody>
      </p:sp>
      <p:sp>
        <p:nvSpPr>
          <p:cNvPr id="21" name="Textplatzhalter 16"/>
          <p:cNvSpPr txBox="1">
            <a:spLocks/>
          </p:cNvSpPr>
          <p:nvPr/>
        </p:nvSpPr>
        <p:spPr>
          <a:xfrm>
            <a:off x="6205332" y="980253"/>
            <a:ext cx="5664200" cy="306735"/>
          </a:xfrm>
          <a:prstGeom prst="rect">
            <a:avLst/>
          </a:prstGeom>
          <a:noFill/>
          <a:effectLst/>
        </p:spPr>
        <p:txBody>
          <a:bodyPr vert="horz" wrap="none" lIns="0" tIns="0" rIns="120000" bIns="0" rtlCol="0" anchor="t" anchorCtr="0">
            <a:noAutofit/>
          </a:bodyPr>
          <a:lstStyle/>
          <a:p>
            <a:pPr marL="359982" indent="-359982" defTabSz="914377">
              <a:spcBef>
                <a:spcPts val="0"/>
              </a:spcBef>
              <a:spcAft>
                <a:spcPts val="0"/>
              </a:spcAft>
              <a:buClr>
                <a:srgbClr val="EE813C"/>
              </a:buClr>
              <a:defRPr/>
            </a:pPr>
            <a:r>
              <a:rPr lang="de-DE" sz="2133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*</a:t>
            </a:r>
          </a:p>
        </p:txBody>
      </p:sp>
      <p:sp>
        <p:nvSpPr>
          <p:cNvPr id="49" name="Rectangle 76"/>
          <p:cNvSpPr>
            <a:spLocks noChangeArrowheads="1"/>
          </p:cNvSpPr>
          <p:nvPr/>
        </p:nvSpPr>
        <p:spPr bwMode="auto">
          <a:xfrm>
            <a:off x="9640083" y="1759961"/>
            <a:ext cx="1766000" cy="50691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lIns="24000" tIns="62400" rIns="24000" bIns="62400" anchor="ctr"/>
          <a:lstStyle/>
          <a:p>
            <a:pPr algn="ctr" defTabSz="914377" eaLnBrk="0" hangingPunct="0">
              <a:buClr>
                <a:srgbClr val="FFFFFF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EMEA</a:t>
            </a:r>
            <a:b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9,100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6205334" y="1360013"/>
            <a:ext cx="438663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46,700</a:t>
            </a: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employees worldwide</a:t>
            </a:r>
            <a:endParaRPr lang="de-DE" sz="1600" kern="0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67"/>
          <p:cNvSpPr>
            <a:spLocks noChangeArrowheads="1"/>
          </p:cNvSpPr>
          <p:nvPr/>
        </p:nvSpPr>
        <p:spPr bwMode="auto">
          <a:xfrm>
            <a:off x="6546391" y="2062301"/>
            <a:ext cx="1727965" cy="506919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24000" tIns="62400" rIns="24000" bIns="62400" anchor="ctr"/>
          <a:lstStyle/>
          <a:p>
            <a:pPr algn="ctr" defTabSz="914377" eaLnBrk="0" hangingPunct="0">
              <a:buClr>
                <a:srgbClr val="FFFFFF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mericas</a:t>
            </a:r>
            <a:b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5,200</a:t>
            </a:r>
          </a:p>
        </p:txBody>
      </p:sp>
      <p:sp>
        <p:nvSpPr>
          <p:cNvPr id="48" name="Rectangle 71"/>
          <p:cNvSpPr>
            <a:spLocks noChangeArrowheads="1"/>
          </p:cNvSpPr>
          <p:nvPr/>
        </p:nvSpPr>
        <p:spPr bwMode="auto">
          <a:xfrm>
            <a:off x="9015987" y="2526741"/>
            <a:ext cx="1766000" cy="506919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lIns="24000" tIns="62400" rIns="24000" bIns="62400" anchor="ctr"/>
          <a:lstStyle/>
          <a:p>
            <a:pPr algn="ctr" defTabSz="914377" eaLnBrk="0" hangingPunct="0">
              <a:buClr>
                <a:srgbClr val="00214A"/>
              </a:buClr>
              <a:defRPr/>
            </a:pP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sia/Pacific</a:t>
            </a:r>
            <a:b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FFFFFF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2,400</a:t>
            </a:r>
          </a:p>
        </p:txBody>
      </p:sp>
      <p:sp>
        <p:nvSpPr>
          <p:cNvPr id="402" name="TextBox 401"/>
          <p:cNvSpPr txBox="1"/>
          <p:nvPr/>
        </p:nvSpPr>
        <p:spPr bwMode="auto">
          <a:xfrm>
            <a:off x="6205334" y="3033659"/>
            <a:ext cx="3265545" cy="543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60</a:t>
            </a: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R&amp;D locations</a:t>
            </a:r>
          </a:p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9</a:t>
            </a: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anufacturing locations</a:t>
            </a:r>
            <a:r>
              <a:rPr lang="de-DE" sz="1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</a:p>
        </p:txBody>
      </p:sp>
      <p:sp>
        <p:nvSpPr>
          <p:cNvPr id="215" name="AutoShape 12"/>
          <p:cNvSpPr>
            <a:spLocks noChangeArrowheads="1"/>
          </p:cNvSpPr>
          <p:nvPr/>
        </p:nvSpPr>
        <p:spPr bwMode="auto">
          <a:xfrm>
            <a:off x="633689" y="5769414"/>
            <a:ext cx="1168560" cy="293687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333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venue</a:t>
            </a:r>
          </a:p>
        </p:txBody>
      </p:sp>
      <p:sp>
        <p:nvSpPr>
          <p:cNvPr id="216" name="Rechteck 23"/>
          <p:cNvSpPr/>
          <p:nvPr/>
        </p:nvSpPr>
        <p:spPr bwMode="auto">
          <a:xfrm>
            <a:off x="412776" y="5848388"/>
            <a:ext cx="144000" cy="14400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6000" tIns="96000" rIns="96000" bIns="96000" rtlCol="0" anchor="ctr">
            <a:noAutofit/>
          </a:bodyPr>
          <a:lstStyle/>
          <a:p>
            <a:pPr algn="ctr" defTabSz="914377" eaLnBrk="0" hangingPunct="0">
              <a:buClr>
                <a:srgbClr val="000000"/>
              </a:buClr>
            </a:pPr>
            <a:endParaRPr lang="en-US" sz="2133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7" name="Rechteck 24"/>
          <p:cNvSpPr/>
          <p:nvPr/>
        </p:nvSpPr>
        <p:spPr bwMode="auto">
          <a:xfrm>
            <a:off x="1591543" y="5858548"/>
            <a:ext cx="144000" cy="1440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6000" tIns="96000" rIns="96000" bIns="96000" rtlCol="0" anchor="ctr">
            <a:noAutofit/>
          </a:bodyPr>
          <a:lstStyle/>
          <a:p>
            <a:pPr algn="ctr" defTabSz="914377" eaLnBrk="0" hangingPunct="0">
              <a:buClr>
                <a:srgbClr val="000000"/>
              </a:buClr>
            </a:pPr>
            <a:endParaRPr lang="en-US" sz="2133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cxnSp>
        <p:nvCxnSpPr>
          <p:cNvPr id="218" name="Gerade Verbindung 25"/>
          <p:cNvCxnSpPr/>
          <p:nvPr/>
        </p:nvCxnSpPr>
        <p:spPr>
          <a:xfrm>
            <a:off x="3223563" y="5930548"/>
            <a:ext cx="356348" cy="0"/>
          </a:xfrm>
          <a:prstGeom prst="line">
            <a:avLst/>
          </a:prstGeom>
          <a:ln w="2857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AutoShape 12"/>
          <p:cNvSpPr>
            <a:spLocks noChangeArrowheads="1"/>
          </p:cNvSpPr>
          <p:nvPr/>
        </p:nvSpPr>
        <p:spPr bwMode="auto">
          <a:xfrm>
            <a:off x="1798069" y="5769414"/>
            <a:ext cx="1824203" cy="293687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333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egment Result</a:t>
            </a:r>
          </a:p>
        </p:txBody>
      </p:sp>
      <p:sp>
        <p:nvSpPr>
          <p:cNvPr id="220" name="AutoShape 12"/>
          <p:cNvSpPr>
            <a:spLocks noChangeArrowheads="1"/>
          </p:cNvSpPr>
          <p:nvPr/>
        </p:nvSpPr>
        <p:spPr bwMode="auto">
          <a:xfrm>
            <a:off x="3682643" y="5769412"/>
            <a:ext cx="2135053" cy="330149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77" fontAlgn="auto">
              <a:spcAft>
                <a:spcPts val="0"/>
              </a:spcAft>
              <a:buClr>
                <a:srgbClr val="000000"/>
              </a:buClr>
              <a:defRPr/>
            </a:pPr>
            <a:r>
              <a:rPr lang="de-DE" sz="1333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egment Result margin</a:t>
            </a:r>
          </a:p>
        </p:txBody>
      </p:sp>
      <p:sp>
        <p:nvSpPr>
          <p:cNvPr id="416" name="Inhaltsplatzhalter 13"/>
          <p:cNvSpPr txBox="1">
            <a:spLocks/>
          </p:cNvSpPr>
          <p:nvPr/>
        </p:nvSpPr>
        <p:spPr>
          <a:xfrm>
            <a:off x="6205332" y="4133806"/>
            <a:ext cx="5664200" cy="20863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120000" tIns="62400" rIns="120000" bIns="62400" rtlCol="0">
            <a:noAutofit/>
          </a:bodyPr>
          <a:lstStyle/>
          <a:p>
            <a:pPr defTabSz="1219140">
              <a:spcBef>
                <a:spcPts val="0"/>
              </a:spcBef>
              <a:spcAft>
                <a:spcPts val="1600"/>
              </a:spcAft>
              <a:buClr>
                <a:srgbClr val="E30034"/>
              </a:buClr>
              <a:buSzPct val="120000"/>
              <a:defRPr/>
            </a:pPr>
            <a:endParaRPr 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7" name="TextBox 416"/>
          <p:cNvSpPr txBox="1"/>
          <p:nvPr/>
        </p:nvSpPr>
        <p:spPr bwMode="auto">
          <a:xfrm>
            <a:off x="6762692" y="5293243"/>
            <a:ext cx="379912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2133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# 1</a:t>
            </a:r>
          </a:p>
        </p:txBody>
      </p:sp>
      <p:sp>
        <p:nvSpPr>
          <p:cNvPr id="418" name="TextBox 417"/>
          <p:cNvSpPr txBox="1"/>
          <p:nvPr/>
        </p:nvSpPr>
        <p:spPr bwMode="auto">
          <a:xfrm>
            <a:off x="8735872" y="5278273"/>
            <a:ext cx="379912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2133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# 1</a:t>
            </a:r>
          </a:p>
        </p:txBody>
      </p:sp>
      <p:pic>
        <p:nvPicPr>
          <p:cNvPr id="419" name="Bild 2" descr="183742095_20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87" b="12487"/>
          <a:stretch/>
        </p:blipFill>
        <p:spPr>
          <a:xfrm>
            <a:off x="8194368" y="4460227"/>
            <a:ext cx="1586261" cy="793411"/>
          </a:xfrm>
          <a:prstGeom prst="rect">
            <a:avLst/>
          </a:prstGeom>
        </p:spPr>
      </p:pic>
      <p:pic>
        <p:nvPicPr>
          <p:cNvPr id="420" name="Grafik 1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507" b="12507"/>
          <a:stretch/>
        </p:blipFill>
        <p:spPr>
          <a:xfrm flipH="1">
            <a:off x="10118905" y="4461369"/>
            <a:ext cx="1573089" cy="782329"/>
          </a:xfrm>
          <a:prstGeom prst="rect">
            <a:avLst/>
          </a:prstGeom>
        </p:spPr>
      </p:pic>
      <p:pic>
        <p:nvPicPr>
          <p:cNvPr id="421" name="Grafik 1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03" b="12603"/>
          <a:stretch/>
        </p:blipFill>
        <p:spPr>
          <a:xfrm>
            <a:off x="6246467" y="4454053"/>
            <a:ext cx="1573087" cy="786415"/>
          </a:xfrm>
          <a:prstGeom prst="rect">
            <a:avLst/>
          </a:prstGeom>
        </p:spPr>
      </p:pic>
      <p:sp>
        <p:nvSpPr>
          <p:cNvPr id="422" name="TextBox 421"/>
          <p:cNvSpPr txBox="1"/>
          <p:nvPr/>
        </p:nvSpPr>
        <p:spPr bwMode="auto">
          <a:xfrm>
            <a:off x="6456355" y="4130196"/>
            <a:ext cx="10259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utomotive</a:t>
            </a:r>
          </a:p>
        </p:txBody>
      </p:sp>
      <p:sp>
        <p:nvSpPr>
          <p:cNvPr id="423" name="TextBox 422"/>
          <p:cNvSpPr txBox="1"/>
          <p:nvPr/>
        </p:nvSpPr>
        <p:spPr bwMode="auto">
          <a:xfrm>
            <a:off x="8665852" y="4130195"/>
            <a:ext cx="58028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ower</a:t>
            </a:r>
          </a:p>
        </p:txBody>
      </p:sp>
      <p:sp>
        <p:nvSpPr>
          <p:cNvPr id="424" name="TextBox 423"/>
          <p:cNvSpPr txBox="1"/>
          <p:nvPr/>
        </p:nvSpPr>
        <p:spPr bwMode="auto">
          <a:xfrm>
            <a:off x="10257661" y="4142142"/>
            <a:ext cx="13449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algn="ctr" defTabSz="914377" fontAlgn="auto"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controller</a:t>
            </a:r>
          </a:p>
        </p:txBody>
      </p:sp>
      <p:sp>
        <p:nvSpPr>
          <p:cNvPr id="425" name="TextBox 424"/>
          <p:cNvSpPr txBox="1"/>
          <p:nvPr/>
        </p:nvSpPr>
        <p:spPr bwMode="auto">
          <a:xfrm>
            <a:off x="10653822" y="5278273"/>
            <a:ext cx="379912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2133" b="1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# 3</a:t>
            </a:r>
          </a:p>
        </p:txBody>
      </p:sp>
      <p:graphicFrame>
        <p:nvGraphicFramePr>
          <p:cNvPr id="443" name="Chart 405"/>
          <p:cNvGraphicFramePr>
            <a:graphicFrameLocks noChangeAspect="1"/>
          </p:cNvGraphicFramePr>
          <p:nvPr>
            <p:extLst/>
          </p:nvPr>
        </p:nvGraphicFramePr>
        <p:xfrm>
          <a:off x="1479163" y="1319825"/>
          <a:ext cx="3433213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4" name="Text Box 7"/>
          <p:cNvSpPr txBox="1">
            <a:spLocks noChangeArrowheads="1"/>
          </p:cNvSpPr>
          <p:nvPr/>
        </p:nvSpPr>
        <p:spPr bwMode="auto">
          <a:xfrm>
            <a:off x="3450731" y="2269455"/>
            <a:ext cx="595035" cy="338554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 defTabSz="1219140" fontAlgn="auto">
              <a:buClr>
                <a:srgbClr val="FFFFFF"/>
              </a:buClr>
              <a:defRPr/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</a:t>
            </a:r>
          </a:p>
        </p:txBody>
      </p:sp>
      <p:sp>
        <p:nvSpPr>
          <p:cNvPr id="445" name="Text Box 9"/>
          <p:cNvSpPr txBox="1">
            <a:spLocks noChangeArrowheads="1"/>
          </p:cNvSpPr>
          <p:nvPr/>
        </p:nvSpPr>
        <p:spPr bwMode="auto">
          <a:xfrm>
            <a:off x="2586635" y="1611522"/>
            <a:ext cx="595035" cy="338554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 defTabSz="1219140" fontAlgn="auto">
              <a:buClr>
                <a:srgbClr val="FFFFFF"/>
              </a:buClr>
              <a:defRPr/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</a:p>
        </p:txBody>
      </p:sp>
      <p:sp>
        <p:nvSpPr>
          <p:cNvPr id="446" name="Textfeld 31"/>
          <p:cNvSpPr txBox="1"/>
          <p:nvPr/>
        </p:nvSpPr>
        <p:spPr>
          <a:xfrm>
            <a:off x="2778657" y="2918846"/>
            <a:ext cx="595035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defTabSz="1219140" fontAlgn="auto">
              <a:buClr>
                <a:srgbClr val="FFFFFF"/>
              </a:buClr>
              <a:defRPr/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</a:p>
        </p:txBody>
      </p:sp>
      <p:sp>
        <p:nvSpPr>
          <p:cNvPr id="447" name="Textfeld 32"/>
          <p:cNvSpPr txBox="1"/>
          <p:nvPr/>
        </p:nvSpPr>
        <p:spPr>
          <a:xfrm>
            <a:off x="2316225" y="2333678"/>
            <a:ext cx="595035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defTabSz="1219140" fontAlgn="auto">
              <a:buClr>
                <a:srgbClr val="FFFFFF"/>
              </a:buClr>
              <a:defRPr/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%</a:t>
            </a:r>
          </a:p>
        </p:txBody>
      </p:sp>
      <p:sp>
        <p:nvSpPr>
          <p:cNvPr id="449" name="TextBox 410"/>
          <p:cNvSpPr txBox="1"/>
          <p:nvPr/>
        </p:nvSpPr>
        <p:spPr bwMode="auto">
          <a:xfrm>
            <a:off x="1285038" y="3347240"/>
            <a:ext cx="2901513" cy="24622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40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dustrial Power Control (IPC)</a:t>
            </a:r>
          </a:p>
        </p:txBody>
      </p:sp>
      <p:sp>
        <p:nvSpPr>
          <p:cNvPr id="450" name="TextBox 411"/>
          <p:cNvSpPr txBox="1"/>
          <p:nvPr/>
        </p:nvSpPr>
        <p:spPr bwMode="auto">
          <a:xfrm>
            <a:off x="806449" y="1407113"/>
            <a:ext cx="1755289" cy="49244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914377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nected Secure </a:t>
            </a:r>
          </a:p>
          <a:p>
            <a:pPr defTabSz="914377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ystems (CSS)</a:t>
            </a:r>
          </a:p>
        </p:txBody>
      </p:sp>
      <p:sp>
        <p:nvSpPr>
          <p:cNvPr id="451" name="TextBox 412"/>
          <p:cNvSpPr txBox="1"/>
          <p:nvPr/>
        </p:nvSpPr>
        <p:spPr bwMode="auto">
          <a:xfrm>
            <a:off x="561092" y="2259372"/>
            <a:ext cx="1611792" cy="49244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914377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ower &amp; Sensor Systems (PSS)</a:t>
            </a:r>
          </a:p>
        </p:txBody>
      </p:sp>
      <p:sp>
        <p:nvSpPr>
          <p:cNvPr id="456" name="Text Box 28"/>
          <p:cNvSpPr txBox="1">
            <a:spLocks noChangeArrowheads="1"/>
          </p:cNvSpPr>
          <p:nvPr/>
        </p:nvSpPr>
        <p:spPr bwMode="auto">
          <a:xfrm>
            <a:off x="6136915" y="5629105"/>
            <a:ext cx="1632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eaLnBrk="0" hangingPunct="0">
              <a:spcAft>
                <a:spcPts val="600"/>
              </a:spcAft>
              <a:buClr>
                <a:srgbClr val="00214A"/>
              </a:buClr>
              <a:defRPr sz="800">
                <a:latin typeface="Verdana"/>
                <a:ea typeface="MS PGothic" pitchFamily="34" charset="-128"/>
              </a:defRPr>
            </a:lvl1pPr>
          </a:lstStyle>
          <a:p>
            <a:pPr defTabSz="914377"/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Analytics,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1</a:t>
            </a:r>
          </a:p>
        </p:txBody>
      </p:sp>
      <p:sp>
        <p:nvSpPr>
          <p:cNvPr id="457" name="Text Box 28"/>
          <p:cNvSpPr txBox="1">
            <a:spLocks noChangeArrowheads="1"/>
          </p:cNvSpPr>
          <p:nvPr/>
        </p:nvSpPr>
        <p:spPr bwMode="auto">
          <a:xfrm>
            <a:off x="8132208" y="5614133"/>
            <a:ext cx="15877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914377" eaLnBrk="0" hangingPunct="0">
              <a:spcAft>
                <a:spcPts val="800"/>
              </a:spcAft>
              <a:buClr>
                <a:srgbClr val="00214A"/>
              </a:buClr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mdia,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eptember 2020</a:t>
            </a:r>
          </a:p>
        </p:txBody>
      </p:sp>
      <p:sp>
        <p:nvSpPr>
          <p:cNvPr id="407" name="TextBox 2"/>
          <p:cNvSpPr txBox="1"/>
          <p:nvPr/>
        </p:nvSpPr>
        <p:spPr bwMode="auto">
          <a:xfrm>
            <a:off x="384175" y="6128038"/>
            <a:ext cx="3541380" cy="359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 anchorCtr="0">
            <a:spAutoFit/>
          </a:bodyPr>
          <a:lstStyle/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*2020 Fiscal Year (as of 30 September 2020)</a:t>
            </a:r>
          </a:p>
          <a:p>
            <a:pPr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**as of 1 April 2021</a:t>
            </a:r>
            <a:endParaRPr lang="de-DE" sz="1000" kern="0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08" name="TextBox 8"/>
          <p:cNvSpPr txBox="1"/>
          <p:nvPr/>
        </p:nvSpPr>
        <p:spPr bwMode="auto">
          <a:xfrm>
            <a:off x="4189109" y="2155801"/>
            <a:ext cx="1083630" cy="49244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40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Automotive </a:t>
            </a:r>
          </a:p>
          <a:p>
            <a:pPr defTabSz="1219140" eaLnBrk="0" fontAlgn="auto" hangingPunct="0">
              <a:spcAft>
                <a:spcPts val="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ATV)</a:t>
            </a:r>
          </a:p>
        </p:txBody>
      </p:sp>
      <p:sp>
        <p:nvSpPr>
          <p:cNvPr id="410" name="TextBox 222"/>
          <p:cNvSpPr txBox="1"/>
          <p:nvPr/>
        </p:nvSpPr>
        <p:spPr bwMode="auto">
          <a:xfrm>
            <a:off x="4664799" y="4062719"/>
            <a:ext cx="7786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,567</a:t>
            </a:r>
          </a:p>
        </p:txBody>
      </p:sp>
      <p:cxnSp>
        <p:nvCxnSpPr>
          <p:cNvPr id="22" name="Gerade Verbindung 21"/>
          <p:cNvCxnSpPr/>
          <p:nvPr/>
        </p:nvCxnSpPr>
        <p:spPr>
          <a:xfrm>
            <a:off x="6206041" y="4054027"/>
            <a:ext cx="5674079" cy="0"/>
          </a:xfrm>
          <a:prstGeom prst="line">
            <a:avLst/>
          </a:prstGeom>
          <a:ln w="1905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Gerade Verbindung 400"/>
          <p:cNvCxnSpPr/>
          <p:nvPr/>
        </p:nvCxnSpPr>
        <p:spPr>
          <a:xfrm>
            <a:off x="6206041" y="1348657"/>
            <a:ext cx="5674079" cy="0"/>
          </a:xfrm>
          <a:prstGeom prst="line">
            <a:avLst/>
          </a:prstGeom>
          <a:ln w="19050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Gerade Verbindung 410"/>
          <p:cNvCxnSpPr/>
          <p:nvPr/>
        </p:nvCxnSpPr>
        <p:spPr>
          <a:xfrm>
            <a:off x="337990" y="1348657"/>
            <a:ext cx="5674079" cy="0"/>
          </a:xfrm>
          <a:prstGeom prst="line">
            <a:avLst/>
          </a:prstGeom>
          <a:ln w="19050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Gerade Verbindung 411"/>
          <p:cNvCxnSpPr/>
          <p:nvPr/>
        </p:nvCxnSpPr>
        <p:spPr>
          <a:xfrm>
            <a:off x="337990" y="4054027"/>
            <a:ext cx="5674079" cy="0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42" name="Inhaltsplatzhalter 30"/>
          <p:cNvGraphicFramePr>
            <a:graphicFrameLocks/>
          </p:cNvGraphicFramePr>
          <p:nvPr>
            <p:extLst/>
          </p:nvPr>
        </p:nvGraphicFramePr>
        <p:xfrm>
          <a:off x="201088" y="4197632"/>
          <a:ext cx="5532861" cy="1622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43" name="TextBox 222"/>
          <p:cNvSpPr txBox="1"/>
          <p:nvPr/>
        </p:nvSpPr>
        <p:spPr bwMode="auto">
          <a:xfrm>
            <a:off x="3691179" y="4126260"/>
            <a:ext cx="7786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,029</a:t>
            </a:r>
          </a:p>
        </p:txBody>
      </p:sp>
      <p:sp>
        <p:nvSpPr>
          <p:cNvPr id="944" name="TextBox 222"/>
          <p:cNvSpPr txBox="1"/>
          <p:nvPr/>
        </p:nvSpPr>
        <p:spPr bwMode="auto">
          <a:xfrm>
            <a:off x="2642395" y="4156291"/>
            <a:ext cx="7786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,599</a:t>
            </a:r>
          </a:p>
        </p:txBody>
      </p:sp>
      <p:sp>
        <p:nvSpPr>
          <p:cNvPr id="945" name="TextBox 222"/>
          <p:cNvSpPr txBox="1"/>
          <p:nvPr/>
        </p:nvSpPr>
        <p:spPr bwMode="auto">
          <a:xfrm>
            <a:off x="1628075" y="4188280"/>
            <a:ext cx="7786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7,063</a:t>
            </a:r>
          </a:p>
        </p:txBody>
      </p:sp>
      <p:sp>
        <p:nvSpPr>
          <p:cNvPr id="946" name="TextBox 222"/>
          <p:cNvSpPr txBox="1"/>
          <p:nvPr/>
        </p:nvSpPr>
        <p:spPr bwMode="auto">
          <a:xfrm>
            <a:off x="563079" y="4417040"/>
            <a:ext cx="7786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6,473</a:t>
            </a:r>
          </a:p>
        </p:txBody>
      </p:sp>
      <p:sp>
        <p:nvSpPr>
          <p:cNvPr id="947" name="TextBox 222"/>
          <p:cNvSpPr txBox="1"/>
          <p:nvPr/>
        </p:nvSpPr>
        <p:spPr bwMode="auto">
          <a:xfrm>
            <a:off x="4679567" y="5034291"/>
            <a:ext cx="778628" cy="225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467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3.7%</a:t>
            </a:r>
          </a:p>
        </p:txBody>
      </p:sp>
      <p:sp>
        <p:nvSpPr>
          <p:cNvPr id="948" name="TextBox 222"/>
          <p:cNvSpPr txBox="1"/>
          <p:nvPr/>
        </p:nvSpPr>
        <p:spPr bwMode="auto">
          <a:xfrm>
            <a:off x="3665247" y="4938581"/>
            <a:ext cx="778628" cy="225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467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6.4%</a:t>
            </a:r>
          </a:p>
        </p:txBody>
      </p:sp>
      <p:sp>
        <p:nvSpPr>
          <p:cNvPr id="949" name="TextBox 222"/>
          <p:cNvSpPr txBox="1"/>
          <p:nvPr/>
        </p:nvSpPr>
        <p:spPr bwMode="auto">
          <a:xfrm>
            <a:off x="2610863" y="4885781"/>
            <a:ext cx="778628" cy="225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467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7.8%</a:t>
            </a:r>
          </a:p>
        </p:txBody>
      </p:sp>
      <p:sp>
        <p:nvSpPr>
          <p:cNvPr id="950" name="TextBox 222"/>
          <p:cNvSpPr txBox="1"/>
          <p:nvPr/>
        </p:nvSpPr>
        <p:spPr bwMode="auto">
          <a:xfrm>
            <a:off x="1568515" y="4918085"/>
            <a:ext cx="778628" cy="225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467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7.1%</a:t>
            </a:r>
          </a:p>
        </p:txBody>
      </p:sp>
      <p:sp>
        <p:nvSpPr>
          <p:cNvPr id="951" name="TextBox 222"/>
          <p:cNvSpPr txBox="1"/>
          <p:nvPr/>
        </p:nvSpPr>
        <p:spPr bwMode="auto">
          <a:xfrm>
            <a:off x="580050" y="4963241"/>
            <a:ext cx="778628" cy="225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algn="ctr" defTabSz="121914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</a:pPr>
            <a:r>
              <a:rPr lang="en-US" sz="1467" kern="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5.2%</a:t>
            </a:r>
          </a:p>
        </p:txBody>
      </p:sp>
      <p:sp>
        <p:nvSpPr>
          <p:cNvPr id="939" name="Rectangle 938"/>
          <p:cNvSpPr/>
          <p:nvPr/>
        </p:nvSpPr>
        <p:spPr>
          <a:xfrm>
            <a:off x="8588157" y="6214553"/>
            <a:ext cx="349917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4939" lvl="1" defTabSz="914377">
              <a:spcBef>
                <a:spcPts val="0"/>
              </a:spcBef>
              <a:spcAft>
                <a:spcPts val="0"/>
              </a:spcAft>
              <a:buClr>
                <a:srgbClr val="E30034"/>
              </a:buClr>
              <a:buSzPct val="100000"/>
              <a:defRPr/>
            </a:pPr>
            <a:r>
              <a:rPr lang="de-DE" sz="1000" kern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For further information: </a:t>
            </a:r>
            <a:r>
              <a:rPr lang="de-DE" sz="1000" kern="0" dirty="0">
                <a:solidFill>
                  <a:sysClr val="windowText" lastClr="000000"/>
                </a:solidFill>
                <a:cs typeface="Arial" panose="020B0604020202020204" pitchFamily="34" charset="0"/>
                <a:hlinkClick r:id="rId9"/>
              </a:rPr>
              <a:t>Infineon Annual Report 2020</a:t>
            </a:r>
            <a:endParaRPr lang="de-DE" sz="1000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40" name="Text Box 28"/>
          <p:cNvSpPr txBox="1">
            <a:spLocks noChangeArrowheads="1"/>
          </p:cNvSpPr>
          <p:nvPr/>
        </p:nvSpPr>
        <p:spPr bwMode="auto">
          <a:xfrm>
            <a:off x="10141240" y="5637299"/>
            <a:ext cx="15877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914377" eaLnBrk="0" hangingPunct="0">
              <a:spcAft>
                <a:spcPts val="800"/>
              </a:spcAft>
              <a:buClr>
                <a:srgbClr val="00214A"/>
              </a:buClr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Omdia,</a:t>
            </a:r>
            <a:b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</a:b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March 2021</a:t>
            </a:r>
          </a:p>
        </p:txBody>
      </p:sp>
      <p:pic>
        <p:nvPicPr>
          <p:cNvPr id="941" name="Picture 4" descr="Partenaires | Board of European Students of Technology">
            <a:extLst>
              <a:ext uri="{FF2B5EF4-FFF2-40B4-BE49-F238E27FC236}">
                <a16:creationId xmlns:a16="http://schemas.microsoft.com/office/drawing/2014/main" id="{15D023A1-E8D8-4DF2-96DA-C0C380B51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36161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9674" y="1220755"/>
            <a:ext cx="11486980" cy="4464000"/>
          </a:xfrm>
          <a:prstGeom prst="rect">
            <a:avLst/>
          </a:prstGeom>
        </p:spPr>
      </p:pic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1" y="3"/>
            <a:ext cx="211667" cy="15875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 eaLnBrk="0" hangingPunct="0">
              <a:buClr>
                <a:srgbClr val="000000"/>
              </a:buClr>
              <a:defRPr/>
            </a:pPr>
            <a:endParaRPr lang="en-US" sz="2533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miconductor market will grow strongly in 2021 and 2022 </a:t>
            </a:r>
            <a:br>
              <a:rPr lang="en-US" dirty="0"/>
            </a:br>
            <a:r>
              <a:rPr lang="en-US" dirty="0"/>
              <a:t>according to forecasts</a:t>
            </a:r>
            <a:endParaRPr lang="de-DE" dirty="0"/>
          </a:p>
        </p:txBody>
      </p:sp>
      <p:sp>
        <p:nvSpPr>
          <p:cNvPr id="36" name="Text Box 23"/>
          <p:cNvSpPr txBox="1">
            <a:spLocks noChangeArrowheads="1"/>
          </p:cNvSpPr>
          <p:nvPr/>
        </p:nvSpPr>
        <p:spPr bwMode="auto">
          <a:xfrm>
            <a:off x="358909" y="6126353"/>
            <a:ext cx="11689755" cy="1829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14400" rIns="72000" bIns="14400" anchor="b" anchorCtr="0">
            <a:spAutoFit/>
          </a:bodyPr>
          <a:lstStyle/>
          <a:p>
            <a:pPr defTabSz="914377" eaLnBrk="0" hangingPunct="0"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ource: WSTS for historical data. Forecast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Symbol" pitchFamily="18" charset="2"/>
              </a:rPr>
              <a:t>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of WSTS, Omdia, Gartner, IC Insights, VLSI Research; last update 26 April 2021</a:t>
            </a:r>
            <a:endParaRPr lang="de-DE" sz="1000" dirty="0">
              <a:solidFill>
                <a:srgbClr val="000000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3975097" y="5609060"/>
            <a:ext cx="236314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219110">
              <a:buClr>
                <a:srgbClr val="00214A"/>
              </a:buClr>
              <a:defRPr/>
            </a:pPr>
            <a:r>
              <a:rPr lang="en-US" sz="1600">
                <a:solidFill>
                  <a:srgbClr val="000000"/>
                </a:solidFill>
                <a:latin typeface="Arial"/>
                <a:cs typeface="Arial"/>
              </a:rPr>
              <a:t>Forecast revenue range</a:t>
            </a:r>
            <a:endParaRPr lang="de-DE" sz="16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38" name="Rectangle 21"/>
          <p:cNvSpPr>
            <a:spLocks noChangeArrowheads="1"/>
          </p:cNvSpPr>
          <p:nvPr/>
        </p:nvSpPr>
        <p:spPr bwMode="auto">
          <a:xfrm>
            <a:off x="617286" y="5612478"/>
            <a:ext cx="217078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219110">
              <a:buClr>
                <a:srgbClr val="00214A"/>
              </a:buClr>
              <a:defRPr/>
            </a:pPr>
            <a:r>
              <a:rPr lang="en-US" sz="1600">
                <a:solidFill>
                  <a:srgbClr val="000000"/>
                </a:solidFill>
                <a:latin typeface="Arial"/>
                <a:cs typeface="Arial"/>
              </a:rPr>
              <a:t>Market size (revenue)</a:t>
            </a:r>
            <a:endParaRPr lang="de-DE" sz="16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3526919" y="5707531"/>
            <a:ext cx="192000" cy="192000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wrap="none" anchor="ctr">
            <a:noAutofit/>
          </a:bodyPr>
          <a:lstStyle/>
          <a:p>
            <a:pPr algn="ctr" defTabSz="1219110">
              <a:buClr>
                <a:srgbClr val="000000"/>
              </a:buClr>
              <a:defRPr/>
            </a:pPr>
            <a:endParaRPr lang="en-US" sz="1867" dirty="0">
              <a:solidFill>
                <a:srgbClr val="000000"/>
              </a:solidFill>
              <a:latin typeface="Arial"/>
              <a:ea typeface="Verdana" pitchFamily="34" charset="0"/>
              <a:cs typeface="Arial" charset="0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403684" y="5705569"/>
            <a:ext cx="192000" cy="192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prstMaterial="matte"/>
        </p:spPr>
        <p:txBody>
          <a:bodyPr wrap="none" anchor="ctr">
            <a:noAutofit/>
          </a:bodyPr>
          <a:lstStyle/>
          <a:p>
            <a:pPr algn="ctr" defTabSz="1219110">
              <a:buClr>
                <a:srgbClr val="000000"/>
              </a:buClr>
              <a:defRPr/>
            </a:pPr>
            <a:endParaRPr lang="en-US" sz="1867" dirty="0">
              <a:solidFill>
                <a:srgbClr val="000000"/>
              </a:solidFill>
              <a:latin typeface="Arial"/>
              <a:ea typeface="Verdana" pitchFamily="34" charset="0"/>
              <a:cs typeface="Arial" charset="0"/>
            </a:endParaRPr>
          </a:p>
        </p:txBody>
      </p:sp>
      <p:sp>
        <p:nvSpPr>
          <p:cNvPr id="41" name="Rectangle 11" descr="Diagonal weit nach oben"/>
          <p:cNvSpPr>
            <a:spLocks noChangeArrowheads="1"/>
          </p:cNvSpPr>
          <p:nvPr/>
        </p:nvSpPr>
        <p:spPr bwMode="auto">
          <a:xfrm>
            <a:off x="3764309" y="5703503"/>
            <a:ext cx="192000" cy="192000"/>
          </a:xfrm>
          <a:prstGeom prst="rect">
            <a:avLst/>
          </a:prstGeom>
          <a:pattFill prst="wdUpDiag">
            <a:fgClr>
              <a:schemeClr val="accent6"/>
            </a:fgClr>
            <a:bgClr>
              <a:srgbClr val="FFFFFF"/>
            </a:bgClr>
          </a:pattFill>
          <a:ln w="19050" algn="ctr">
            <a:noFill/>
            <a:miter lim="800000"/>
            <a:headEnd/>
            <a:tailEnd/>
          </a:ln>
          <a:effectLst/>
        </p:spPr>
        <p:txBody>
          <a:bodyPr anchor="ctr">
            <a:noAutofit/>
          </a:bodyPr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en-US" sz="1867" kern="0" dirty="0">
              <a:solidFill>
                <a:srgbClr val="00214A"/>
              </a:solidFill>
              <a:latin typeface="Arial"/>
              <a:ea typeface="Verdana" pitchFamily="34" charset="0"/>
              <a:cs typeface="Arial" charset="0"/>
            </a:endParaRPr>
          </a:p>
        </p:txBody>
      </p:sp>
      <p:sp>
        <p:nvSpPr>
          <p:cNvPr id="42" name="Rectangle 16"/>
          <p:cNvSpPr/>
          <p:nvPr/>
        </p:nvSpPr>
        <p:spPr bwMode="auto">
          <a:xfrm>
            <a:off x="334699" y="1220755"/>
            <a:ext cx="1152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000" tIns="96000" rIns="96000" bIns="96000" rtlCol="0" anchor="ctr"/>
          <a:lstStyle/>
          <a:p>
            <a:pPr defTabSz="1219110" eaLnBrk="0" hangingPunct="0">
              <a:buClr>
                <a:srgbClr val="000000"/>
              </a:buClr>
              <a:defRPr/>
            </a:pPr>
            <a:r>
              <a:rPr lang="en-US" sz="2133">
                <a:solidFill>
                  <a:srgbClr val="000000"/>
                </a:solidFill>
                <a:latin typeface="Arial"/>
                <a:cs typeface="Arial"/>
              </a:rPr>
              <a:t>Global Semiconductor Market</a:t>
            </a:r>
            <a:endParaRPr lang="en-US" sz="2133" dirty="0">
              <a:solidFill>
                <a:srgbClr val="000000"/>
              </a:solidFill>
              <a:latin typeface="Arial"/>
              <a:ea typeface="Verdana" pitchFamily="34" charset="0"/>
              <a:cs typeface="Verdana" pitchFamily="34" charset="0"/>
            </a:endParaRPr>
          </a:p>
        </p:txBody>
      </p:sp>
      <p:sp>
        <p:nvSpPr>
          <p:cNvPr id="43" name="Guru_Callout08"/>
          <p:cNvSpPr txBox="1"/>
          <p:nvPr/>
        </p:nvSpPr>
        <p:spPr bwMode="auto">
          <a:xfrm>
            <a:off x="439628" y="1574003"/>
            <a:ext cx="822649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defTabSz="121911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E30034"/>
              </a:buClr>
              <a:defRPr/>
            </a:pPr>
            <a:r>
              <a:rPr lang="en-US" sz="1600" kern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rPr>
              <a:t>Market size in billion US-Dollar</a:t>
            </a:r>
            <a:endParaRPr lang="en-US" sz="1600" kern="0" dirty="0">
              <a:solidFill>
                <a:srgbClr val="000000"/>
              </a:solidFill>
              <a:latin typeface="Arial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4" name="Picture 4" descr="Partenaires | Board of European Students of Technology">
            <a:extLst>
              <a:ext uri="{FF2B5EF4-FFF2-40B4-BE49-F238E27FC236}">
                <a16:creationId xmlns:a16="http://schemas.microsoft.com/office/drawing/2014/main" id="{5A919CD0-C7A8-4702-A191-26268B5E8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2910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51F89-BE3C-4B23-A2E6-F9FA41A6B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pply Chain Innovation Depart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DC0652-1D76-4E0D-ABF7-EEDC062FC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5BF976-DB34-46FC-8158-964B82F7F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7A655-5694-4356-8E2C-E7867C052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6404753-3080-4CC0-9EA9-1E10139B57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8641606"/>
              </p:ext>
            </p:extLst>
          </p:nvPr>
        </p:nvGraphicFramePr>
        <p:xfrm>
          <a:off x="1235460" y="1268413"/>
          <a:ext cx="9721080" cy="4824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4" descr="Partenaires | Board of European Students of Technology">
            <a:extLst>
              <a:ext uri="{FF2B5EF4-FFF2-40B4-BE49-F238E27FC236}">
                <a16:creationId xmlns:a16="http://schemas.microsoft.com/office/drawing/2014/main" id="{17C06D8D-AEA0-44D3-9773-A1EAB2778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2951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C8DA05-24AE-44CF-91E3-334792848A8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1C35B-2A56-40D4-94D6-4AF3EBD56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pic>
        <p:nvPicPr>
          <p:cNvPr id="27" name="Picture 4" descr="Partenaires | Board of European Students of Technology">
            <a:extLst>
              <a:ext uri="{FF2B5EF4-FFF2-40B4-BE49-F238E27FC236}">
                <a16:creationId xmlns:a16="http://schemas.microsoft.com/office/drawing/2014/main" id="{4C153D96-F74E-4117-A555-B1B5DC70C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8BC9B6-7423-4891-B59C-03BAF13D1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ED99F-86FC-4A29-8851-13A199D84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9F398B-53AC-4FC7-8705-7FC9359E534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34433" y="1268413"/>
            <a:ext cx="11521021" cy="3168399"/>
            <a:chOff x="334433" y="1268413"/>
            <a:chExt cx="11521021" cy="3168399"/>
          </a:xfrm>
        </p:grpSpPr>
        <p:sp>
          <p:nvSpPr>
            <p:cNvPr id="6" name="MIO_AGENDA_ELEMENT_TITEL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5EAAE904-AF66-4A04-A2E0-F05A0D2B792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solidFill>
                    <a:srgbClr val="928285"/>
                  </a:solidFill>
                  <a:latin typeface="+mn-lt"/>
                </a:rPr>
                <a:t>Presentation of the company, division and department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7" name="MIO_AGENDA_ELEMENT_ELEMENT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1218631B-F6C8-4DF7-ADDF-F49FE6798D6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3" y="1268413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MIO_AGENDA_ELEMENT_PAGENUMBER_1">
              <a:hlinkClick r:id="rId19" action="ppaction://hlinksldjump"/>
              <a:extLst>
                <a:ext uri="{FF2B5EF4-FFF2-40B4-BE49-F238E27FC236}">
                  <a16:creationId xmlns:a16="http://schemas.microsoft.com/office/drawing/2014/main" id="{CB85DC80-4628-44CA-8C4D-862388B83C29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4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2" name="MIO_AGENDA_ELEMENT_TITEL_2_1">
              <a:extLst>
                <a:ext uri="{FF2B5EF4-FFF2-40B4-BE49-F238E27FC236}">
                  <a16:creationId xmlns:a16="http://schemas.microsoft.com/office/drawing/2014/main" id="{5574DF71-E62B-4BC1-951B-5662291F815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2564575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ALS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3" name="MIO_AGENDA_ELEMENT_ELEMENTNUMBER_2_1">
              <a:extLst>
                <a:ext uri="{FF2B5EF4-FFF2-40B4-BE49-F238E27FC236}">
                  <a16:creationId xmlns:a16="http://schemas.microsoft.com/office/drawing/2014/main" id="{6FDD3F27-E1F9-4520-A848-B35DA2AB97EC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3" y="2564575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1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MIO_AGENDA_ELEMENT_TITEL_2_2">
              <a:extLst>
                <a:ext uri="{FF2B5EF4-FFF2-40B4-BE49-F238E27FC236}">
                  <a16:creationId xmlns:a16="http://schemas.microsoft.com/office/drawing/2014/main" id="{8C9D3A3B-F463-49FD-A5DD-26E17F64A10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235076" y="3212657"/>
              <a:ext cx="10620377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PSS Reporting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5" name="MIO_AGENDA_ELEMENT_ELEMENTNUMBER_2_2">
              <a:extLst>
                <a:ext uri="{FF2B5EF4-FFF2-40B4-BE49-F238E27FC236}">
                  <a16:creationId xmlns:a16="http://schemas.microsoft.com/office/drawing/2014/main" id="{394AB264-81EF-4245-91CF-6FD3284605EF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334433" y="3212657"/>
              <a:ext cx="576000" cy="576072"/>
            </a:xfrm>
            <a:prstGeom prst="ellipse">
              <a:avLst/>
            </a:prstGeom>
            <a:noFill/>
            <a:ln>
              <a:noFill/>
            </a:ln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noFill/>
                  <a:latin typeface="+mn-lt"/>
                  <a:cs typeface="Arial" panose="020B0604020202020204" pitchFamily="34" charset="0"/>
                </a:rPr>
                <a:t>2.2</a:t>
              </a:r>
              <a:endParaRPr lang="de-DE" sz="2000" dirty="0">
                <a:noFill/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MIO_AGENDA_ELEMENT_TITEL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C999D868-475F-458A-B3B2-857D809073B6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235076" y="3860740"/>
              <a:ext cx="10620378" cy="576072"/>
            </a:xfrm>
            <a:prstGeom prst="rect">
              <a:avLst/>
            </a:prstGeom>
            <a:solidFill>
              <a:srgbClr val="E9E6E6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2000">
                  <a:solidFill>
                    <a:srgbClr val="928285"/>
                  </a:solidFill>
                  <a:latin typeface="+mn-lt"/>
                </a:rPr>
                <a:t>Conclusion and internship added-value</a:t>
              </a:r>
              <a:endParaRPr lang="de-DE" sz="2000" dirty="0">
                <a:solidFill>
                  <a:srgbClr val="928285"/>
                </a:solidFill>
                <a:latin typeface="+mn-lt"/>
              </a:endParaRPr>
            </a:p>
          </p:txBody>
        </p:sp>
        <p:sp>
          <p:nvSpPr>
            <p:cNvPr id="17" name="MIO_AGENDA_ELEMENT_ELEMENT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9B91ABD8-C4AE-4E63-9393-458E5ADF6F6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334433" y="3860740"/>
              <a:ext cx="576000" cy="576072"/>
            </a:xfrm>
            <a:prstGeom prst="ellipse">
              <a:avLst/>
            </a:prstGeom>
            <a:solidFill>
              <a:srgbClr val="AEC067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MIO_AGENDA_ELEMENT_PAGENUMBER_3">
              <a:hlinkClick r:id="rId20" action="ppaction://hlinksldjump"/>
              <a:extLst>
                <a:ext uri="{FF2B5EF4-FFF2-40B4-BE49-F238E27FC236}">
                  <a16:creationId xmlns:a16="http://schemas.microsoft.com/office/drawing/2014/main" id="{6F72F115-77A4-4A87-A6B3-60C725F621CE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026666" y="3860740"/>
              <a:ext cx="828786" cy="576072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lvl="1" algn="r"/>
              <a:r>
                <a:rPr lang="de-DE" sz="2000">
                  <a:solidFill>
                    <a:schemeClr val="accent2"/>
                  </a:solidFill>
                  <a:latin typeface="+mn-lt"/>
                </a:rPr>
                <a:t>19</a:t>
              </a:r>
              <a:endParaRPr lang="de-DE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9" name="MIO_AGENDA_ELEMENT_TITEL_2">
              <a:extLst>
                <a:ext uri="{FF2B5EF4-FFF2-40B4-BE49-F238E27FC236}">
                  <a16:creationId xmlns:a16="http://schemas.microsoft.com/office/drawing/2014/main" id="{F326C070-3960-4F0B-91E6-72A35CF37370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235075" y="1916493"/>
              <a:ext cx="10620378" cy="57607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336000" tIns="36000" rIns="576000" bIns="36000" rtlCol="0" anchor="ctr">
              <a:noAutofit/>
            </a:bodyPr>
            <a:lstStyle/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en-US" sz="2000">
                  <a:latin typeface="+mn-lt"/>
                </a:rPr>
                <a:t>Main Projects, Objectives and Achievements</a:t>
              </a:r>
              <a:endParaRPr lang="de-DE" sz="2000" dirty="0">
                <a:latin typeface="+mn-lt"/>
              </a:endParaRPr>
            </a:p>
          </p:txBody>
        </p:sp>
        <p:sp>
          <p:nvSpPr>
            <p:cNvPr id="20" name="MIO_AGENDA_ELEMENT_ELEMENTNUMBER_2">
              <a:extLst>
                <a:ext uri="{FF2B5EF4-FFF2-40B4-BE49-F238E27FC236}">
                  <a16:creationId xmlns:a16="http://schemas.microsoft.com/office/drawing/2014/main" id="{38F52A71-2B6D-4D0C-8FF7-2E77E5DBB2F1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334433" y="1916493"/>
              <a:ext cx="576000" cy="576072"/>
            </a:xfrm>
            <a:prstGeom prst="ellipse">
              <a:avLst/>
            </a:prstGeom>
            <a:solidFill>
              <a:schemeClr val="accent4"/>
            </a:solidFill>
          </p:spPr>
          <p:txBody>
            <a:bodyPr vert="horz" wrap="none" lIns="0" tIns="36000" rIns="0" bIns="36000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sz="200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MIO_AGENDA_ELEMENT_PAGENUMBER_2">
              <a:extLst>
                <a:ext uri="{FF2B5EF4-FFF2-40B4-BE49-F238E27FC236}">
                  <a16:creationId xmlns:a16="http://schemas.microsoft.com/office/drawing/2014/main" id="{41410B58-565F-4634-9D8A-32B16C89C335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1026666" y="1916493"/>
              <a:ext cx="828786" cy="576072"/>
            </a:xfrm>
            <a:prstGeom prst="rect">
              <a:avLst/>
            </a:prstGeom>
            <a:noFill/>
          </p:spPr>
          <p:txBody>
            <a:bodyPr wrap="none" lIns="0" tIns="36000" rIns="216000" bIns="36000" rtlCol="0" anchor="ctr" anchorCtr="0">
              <a:noAutofit/>
            </a:bodyPr>
            <a:lstStyle/>
            <a:p>
              <a:pPr algn="r"/>
              <a:r>
                <a:rPr lang="de-DE" sz="2000">
                  <a:latin typeface="+mn-lt"/>
                  <a:cs typeface="Segoe UI Semibold" panose="020B0702040204020203" pitchFamily="34" charset="0"/>
                </a:rPr>
                <a:t>8</a:t>
              </a:r>
              <a:endParaRPr lang="de-DE" sz="2000" dirty="0">
                <a:latin typeface="+mn-lt"/>
                <a:cs typeface="Segoe UI Semibold" panose="020B07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3671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A731BA-A321-46CA-9841-B42AAA823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solidFill>
            <a:srgbClr val="FFFFFF"/>
          </a:solidFill>
          <a:ln/>
        </p:spPr>
        <p:txBody>
          <a:bodyPr lIns="0" tIns="0" rIns="0" bIns="10800" anchor="b"/>
          <a:lstStyle/>
          <a:p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</a:rPr>
              <a:t>Presentation of my main project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C7065D-5B58-4193-A98F-13709B55C94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b="1"/>
              <a:t> </a:t>
            </a:r>
            <a:endParaRPr lang="en-US" b="1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B5D942-5CA6-4942-B323-177C4400B9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DE8C00-54F3-491A-ADC8-D5EBC68FBFD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aphicFrame>
        <p:nvGraphicFramePr>
          <p:cNvPr id="8" name="03 Banded Columns - Engineering">
            <a:extLst>
              <a:ext uri="{FF2B5EF4-FFF2-40B4-BE49-F238E27FC236}">
                <a16:creationId xmlns:a16="http://schemas.microsoft.com/office/drawing/2014/main" id="{7D634594-1379-4C5C-B61A-4C36F07C028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706831"/>
              </p:ext>
            </p:extLst>
          </p:nvPr>
        </p:nvGraphicFramePr>
        <p:xfrm>
          <a:off x="767408" y="3537289"/>
          <a:ext cx="4806822" cy="2844461"/>
        </p:xfrm>
        <a:graphic>
          <a:graphicData uri="http://schemas.openxmlformats.org/drawingml/2006/table">
            <a:tbl>
              <a:tblPr firstRow="1" bandCol="1">
                <a:tableStyleId>{7DF18680-E054-41AD-8BC1-D1AEF772440D}</a:tableStyleId>
              </a:tblPr>
              <a:tblGrid>
                <a:gridCol w="4806822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PSS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Bi-weekly report of the Business and SC KP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graphicFrame>
        <p:nvGraphicFramePr>
          <p:cNvPr id="9" name="03 Banded Columns - Engineering">
            <a:extLst>
              <a:ext uri="{FF2B5EF4-FFF2-40B4-BE49-F238E27FC236}">
                <a16:creationId xmlns:a16="http://schemas.microsoft.com/office/drawing/2014/main" id="{65AC7D32-0559-435F-B9B2-F730B43CC76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728198"/>
              </p:ext>
            </p:extLst>
          </p:nvPr>
        </p:nvGraphicFramePr>
        <p:xfrm>
          <a:off x="6617772" y="3543184"/>
          <a:ext cx="4806822" cy="2844461"/>
        </p:xfrm>
        <a:graphic>
          <a:graphicData uri="http://schemas.openxmlformats.org/drawingml/2006/table">
            <a:tbl>
              <a:tblPr firstRow="1" bandCol="1">
                <a:tableStyleId>{7DF18680-E054-41AD-8BC1-D1AEF772440D}</a:tableStyleId>
              </a:tblPr>
              <a:tblGrid>
                <a:gridCol w="4806822">
                  <a:extLst>
                    <a:ext uri="{9D8B030D-6E8A-4147-A177-3AD203B41FA5}">
                      <a16:colId xmlns:a16="http://schemas.microsoft.com/office/drawing/2014/main" val="2394148586"/>
                    </a:ext>
                  </a:extLst>
                </a:gridCol>
              </a:tblGrid>
              <a:tr h="575585">
                <a:tc>
                  <a:txBody>
                    <a:bodyPr/>
                    <a:lstStyle/>
                    <a:p>
                      <a:pPr algn="ctr"/>
                      <a:r>
                        <a:rPr lang="de-DE" sz="2800" dirty="0"/>
                        <a:t>PA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679053"/>
                  </a:ext>
                </a:extLst>
              </a:tr>
              <a:tr h="2268876">
                <a:tc>
                  <a:txBody>
                    <a:bodyPr/>
                    <a:lstStyle>
                      <a:lvl1pPr marL="18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›"/>
                      </a:lvl1pPr>
                      <a:lvl2pPr marL="450000" indent="-27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Verdana" panose="020B0604030504040204" pitchFamily="34" charset="0"/>
                        <a:buChar char="–"/>
                      </a:lvl2pPr>
                      <a:lvl3pPr marL="6300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3pPr>
                      <a:lvl4pPr marL="802800" indent="-1728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4pPr>
                      <a:lvl5pPr marL="982800" indent="-180000" algn="l" defTabSz="576000" rtl="0" eaLnBrk="1" fontAlgn="base" hangingPunct="1"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Char char="–"/>
                      </a:lvl5pPr>
                      <a:lvl6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6pPr>
                      <a:lvl7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7pPr>
                      <a:lvl8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8pPr>
                      <a:lvl9pPr marL="982800" indent="-180000" algn="l" defTabSz="576000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–"/>
                      </a:lvl9pPr>
                    </a:lstStyle>
                    <a:p>
                      <a:pPr algn="ctr"/>
                      <a:r>
                        <a:rPr lang="de-DE" sz="2800" dirty="0"/>
                        <a:t>Biological and Optical model of the light-skin inter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8255493"/>
                  </a:ext>
                </a:extLst>
              </a:tr>
            </a:tbl>
          </a:graphicData>
        </a:graphic>
      </p:graphicFrame>
      <p:pic>
        <p:nvPicPr>
          <p:cNvPr id="10" name="Picture 4" descr="Partenaires | Board of European Students of Technology">
            <a:extLst>
              <a:ext uri="{FF2B5EF4-FFF2-40B4-BE49-F238E27FC236}">
                <a16:creationId xmlns:a16="http://schemas.microsoft.com/office/drawing/2014/main" id="{BDA5438D-B7B7-4EF2-A78A-A8D858820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958" y="188720"/>
            <a:ext cx="1150940" cy="64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E2999B7-9902-469B-B5EB-0F5755681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9879" y="1555556"/>
            <a:ext cx="1646312" cy="16463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D05BB52-8434-4A5D-90BC-0CE94AAEA5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8047" y="1735576"/>
            <a:ext cx="1286272" cy="128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376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4 boxes with title"/>
  <p:tag name="FB-CATEGORY" val="Title slide, text and agen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IO_AGENDA_OVERVIEW_SLIDE"/>
  <p:tag name="MIO_AGENDA_CREATE_AGENDA_SLIDENUMBERS_TAG" val="True"/>
  <p:tag name="MIO_AGENDA_AUTOMATIC_UPDATE_TAG" val="True"/>
  <p:tag name="MIO_AGENDA_CREATE_SECTIONS_TAG" val="True"/>
  <p:tag name="MIO_SKIP_CDCHECK" val="true"/>
  <p:tag name="MIO_EKGUID" val="f47a1ee0-f493-4779-af51-7cedf6545323"/>
  <p:tag name="MIO_GUID" val="ce75769d-168c-44e1-8afb-8d0d3e2709e1"/>
  <p:tag name="MIO_VERSION" val="31.12.9999 23:59:59"/>
  <p:tag name="MIO_DBID" val="FDE84254-54DB-49E3-9A0E-CDE72035D530"/>
  <p:tag name="MIO_LASTDOWNLOADED" val="27.07.2021 10:05:18.534"/>
  <p:tag name="MIO_UPDATE" val="Fals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SUBELEMEN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SUBELEMENT_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SUBELEMEN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SUBELEMENT_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Presentation of the company, division and department"/>
  <p:tag name="MIO_AGENDA_NUMBER_STRING_TAG" val="1"/>
  <p:tag name="MIO_AGENDA_SHOW_SUBITEMS_LEVEL2_TAG" val="True"/>
  <p:tag name="MIO_AGENDA_SCALEMODE_MULTIPLE_SLIDES_TAG" val="True"/>
  <p:tag name="MIO_AGENDA_CREATE_AGENDA_SLIDENUMBERS_TAG" val="True"/>
  <p:tag name="MIO_AGENDA_AUTOMATIC_UPDATE_TAG" val="True"/>
  <p:tag name="MIO_AGENDA_CREATE_SECTIONS_TAG" val="True"/>
  <p:tag name="MIO_SKIP_CDCHECK" val="true"/>
  <p:tag name="MIO_EKGUID" val="f47a1ee0-f493-4779-af51-7cedf6545323"/>
  <p:tag name="MIO_GUID" val="87670e0a-dba4-4d86-b7b0-1c490849006b"/>
  <p:tag name="MIO_VERSION" val="31.12.9999 23:59:59"/>
  <p:tag name="MIO_DBID" val="FDE84254-54DB-49E3-9A0E-CDE72035D530"/>
  <p:tag name="MIO_LASTDOWNLOADED" val="27.07.2021 10:05:18.247"/>
  <p:tag name="MIO_UPDATE" val="Fals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4 boxes with title"/>
  <p:tag name="FB-CATEGORY" val="Title slide, text and agend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BErI6QfKxJmc6AzWL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2"/>
  <p:tag name="MIO_AGENDA_ELEMENTNAME" val="Main Projects, Objectives and Achievements"/>
  <p:tag name="MIO_AGENDA_NUMBER_STRING_TAG" val="2"/>
  <p:tag name="MIO_AGENDA_SHOW_SUBITEMS_LEVEL2_TAG" val="True"/>
  <p:tag name="MIO_AGENDA_SCALEMODE_MULTIPLE_SLIDES_TAG" val="True"/>
  <p:tag name="MIO_AGENDA_SUBITEMS_V2" val="&lt;?xml version=&quot;1.0&quot; encoding=&quot;utf-16&quot;?&gt;&lt;ArrayOfAgendaSerializablePoint xmlns:xsd=&quot;http://www.w3.org/2001/XMLSchema&quot; xmlns:xsi=&quot;http://www.w3.org/2001/XMLSchema-instance&quot;&gt;&lt;AgendaSerializablePoint&gt;&lt;ElementName&gt;PALS&lt;/ElementName&gt;&lt;SubItems /&gt;&lt;/AgendaSerializablePoint&gt;&lt;AgendaSerializablePoint&gt;&lt;ElementName&gt;PSS Reporting&lt;/ElementName&gt;&lt;SubItems /&gt;&lt;/AgendaSerializablePoint&gt;&lt;/ArrayOfAgendaSerializablePoint&gt;"/>
  <p:tag name="MIO_AGENDA_CREATE_AGENDA_SLIDENUMBERS_TAG" val="True"/>
  <p:tag name="MIO_AGENDA_AUTOMATIC_UPDATE_TAG" val="True"/>
  <p:tag name="MIO_AGENDA_CREATE_SECTIONS_TAG" val="True"/>
  <p:tag name="MIO_SKIP_CDCHECK" val="true"/>
  <p:tag name="MIO_EKGUID" val="f47a1ee0-f493-4779-af51-7cedf6545323"/>
  <p:tag name="MIO_GUID" val="a386b633-93e6-4071-9585-8af1e1b1cde5"/>
  <p:tag name="MIO_VERSION" val="31.12.9999 23:59:59"/>
  <p:tag name="MIO_DBID" val="FDE84254-54DB-49E3-9A0E-CDE72035D530"/>
  <p:tag name="MIO_LASTDOWNLOADED" val="27.07.2021 10:05:18.316"/>
  <p:tag name="MIO_UPDATE" val="Fals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974afe-e5f6-4b64-af26-232d7d67e08b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392b94-da25-4603-b1e7-6545a5e15bd8"/>
  <p:tag name="MIO_EKGUID" val="96dbad53-60f8-4cc3-b18d-dbd96095b3a5"/>
  <p:tag name="MIO_UPDATE" val="True"/>
  <p:tag name="MIO_VERSION" val="18.03.2021 07:18:26"/>
  <p:tag name="MIO_DBID" val="FDE84254-54DB-49E3-9A0E-CDE72035D530"/>
  <p:tag name="MIO_LASTDOWNLOADED" val="26.07.2021 22:45:52.346"/>
  <p:tag name="MIO_OBJECTNAME" val="03 Banded Columns - Engineering"/>
  <p:tag name="MIO_LASTEDITORNAME" val="Verena Kohl"/>
  <p:tag name="EMPOWERBULLETV2" val="empowerBulletV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3"/>
  <p:tag name="MIO_AGENDA_ELEMENTNAME" val="Conclusion and internship added-value"/>
  <p:tag name="MIO_AGENDA_NUMBER_STRING_TAG" val="3"/>
  <p:tag name="MIO_AGENDA_SHOW_SUBITEMS_LEVEL2_TAG" val="True"/>
  <p:tag name="MIO_AGENDA_SCALEMODE_MULTIPLE_SLIDES_TAG" val="True"/>
  <p:tag name="MIO_AGENDA_CREATE_AGENDA_SLIDENUMBERS_TAG" val="True"/>
  <p:tag name="MIO_AGENDA_AUTOMATIC_UPDATE_TAG" val="True"/>
  <p:tag name="MIO_AGENDA_CREATE_SECTIONS_TAG" val="True"/>
  <p:tag name="MIO_SKIP_CDCHECK" val="true"/>
  <p:tag name="MIO_EKGUID" val="f47a1ee0-f493-4779-af51-7cedf6545323"/>
  <p:tag name="MIO_GUID" val="4348d726-143d-4e76-94fe-124fed76b71b"/>
  <p:tag name="MIO_VERSION" val="31.12.9999 23:59:59"/>
  <p:tag name="MIO_DBID" val="FDE84254-54DB-49E3-9A0E-CDE72035D530"/>
  <p:tag name="MIO_LASTDOWNLOADED" val="27.07.2021 10:05:18.373"/>
  <p:tag name="MIO_UPDATE" val="Fals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PAGE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7c0e4f4-3bd1-48ec-907e-6bc9534c5535"/>
  <p:tag name="MIO_EKGUID" val="e59f15f2-8b7f-4f1e-8e33-122cdae6a5bc"/>
  <p:tag name="MIO_UPDATE" val="True"/>
  <p:tag name="MIO_VERSION" val="04.02.2021 09:10:31"/>
  <p:tag name="MIO_DBID" val="FDE84254-54DB-49E3-9A0E-CDE72035D530"/>
  <p:tag name="MIO_LASTDOWNLOADED" val="18.04.2021 12:29:18.755"/>
  <p:tag name="MIO_OBJECTNAME" val="ATV at a glance"/>
  <p:tag name="MIO_LASTEDITORNAME" val="Georgi Schumov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UPDATE" val="True"/>
  <p:tag name="MIO_VERSION" val="18.03.2021 07:16:48"/>
  <p:tag name="MIO_DBID" val="FDE84254-54DB-49E3-9A0E-CDE72035D530"/>
  <p:tag name="MIO_LASTDOWNLOADED" val="27.07.2021 00:13:26.284"/>
  <p:tag name="MIO_OBJECTNAME" val="01 Plain - Engineering"/>
  <p:tag name="MIO_LASTEDITORNAME" val="Verena Kohl"/>
  <p:tag name="MIO_EKGUID" val="920f05dd-e474-4169-a72a-c2f4d36a9c7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068e8bb-e0a1-4a61-9aa1-7209e796c62d"/>
  <p:tag name="MIO_EK" val="653"/>
  <p:tag name="MIO_EKGUID" val="ecfc2207-6099-4656-9718-57302465d327"/>
  <p:tag name="MIO_UPDATE" val="True"/>
  <p:tag name="MIO_VERSION" val="21.06.2021 12:28:11"/>
  <p:tag name="MIO_DBID" val="FDE84254-54DB-49E3-9A0E-CDE72035D530"/>
  <p:tag name="MIO_LASTDOWNLOADED" val="27.07.2021 00:13:45.303"/>
  <p:tag name="MIO_OBJECTNAME" val="02 Text 12pt reg"/>
  <p:tag name="MIO_LASTEDITORNAME" val="Verena Kohl"/>
  <p:tag name="EMPOWERBULLETV2" val="empowerBulletV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HDS" val="True"/>
  <p:tag name="MIO_SKIPVERSION" val="01.01.0001 00:00:00"/>
  <p:tag name="MIO_EKGUID" val="8065601e-5703-48da-bebd-d15d5a0b2647"/>
  <p:tag name="MIO_UPDATE" val="True"/>
  <p:tag name="MIO_VERSION" val="19.06.2021 06:46:20"/>
  <p:tag name="MIO_DBID" val="FDE84254-54DB-49E3-9A0E-CDE72035D530"/>
  <p:tag name="MIO_LASTDOWNLOADED" val="22.06.2021 09:33:27.022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48B83A0A-36F5-4738-8CCE-2812541EEF57}" vid="{C689A6B0-87DC-4280-BC92-B1CE60B3415C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a709603d-609a-478b-a91d-3c5e984c0e79"/>
    <ds:schemaRef ds:uri="6ef45842-284e-44e4-b2db-1749e7948b44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287</Words>
  <Application>Microsoft Office PowerPoint</Application>
  <PresentationFormat>Widescreen</PresentationFormat>
  <Paragraphs>551</Paragraphs>
  <Slides>3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8" baseType="lpstr">
      <vt:lpstr>MS PGothic</vt:lpstr>
      <vt:lpstr>Arial</vt:lpstr>
      <vt:lpstr>Arial Unicode MS</vt:lpstr>
      <vt:lpstr>Baskerville</vt:lpstr>
      <vt:lpstr>Calibri</vt:lpstr>
      <vt:lpstr>Cambria Math</vt:lpstr>
      <vt:lpstr>Josefin Sans</vt:lpstr>
      <vt:lpstr>Josefin Slab</vt:lpstr>
      <vt:lpstr>Segoe UI Semibold</vt:lpstr>
      <vt:lpstr>Symbol</vt:lpstr>
      <vt:lpstr>Times New Roman</vt:lpstr>
      <vt:lpstr>Verdana</vt:lpstr>
      <vt:lpstr>Verdana (Textkörper)</vt:lpstr>
      <vt:lpstr>Wingdings</vt:lpstr>
      <vt:lpstr>Infineon 16:9</vt:lpstr>
      <vt:lpstr>think-cell Slide</vt:lpstr>
      <vt:lpstr>Graduate Project Defense Simulation of the light-skin interaction for PPG application</vt:lpstr>
      <vt:lpstr>Brief introduction of myself</vt:lpstr>
      <vt:lpstr>Table of contents</vt:lpstr>
      <vt:lpstr>Table of contents</vt:lpstr>
      <vt:lpstr>Infineon at a glance</vt:lpstr>
      <vt:lpstr>Semiconductor market will grow strongly in 2021 and 2022  according to forecasts</vt:lpstr>
      <vt:lpstr>Supply Chain Innovation Department</vt:lpstr>
      <vt:lpstr>Table of contents</vt:lpstr>
      <vt:lpstr>Presentation of my main projects</vt:lpstr>
      <vt:lpstr>Projects and Learning Introduction</vt:lpstr>
      <vt:lpstr>Time Distribution of the different projects</vt:lpstr>
      <vt:lpstr>PALS : Proximity Ambient Light Sensor A passionate subject of multiple Master Theses in the last years</vt:lpstr>
      <vt:lpstr>PowerPoint Presentation</vt:lpstr>
      <vt:lpstr>PowerPoint Presentation</vt:lpstr>
      <vt:lpstr>PowerPoint Presentation</vt:lpstr>
      <vt:lpstr>PALS : Proximity Ambient Light Sensor  Problem Description and Value Proposal</vt:lpstr>
      <vt:lpstr>Monthly Achievements Introduction to the project and first models</vt:lpstr>
      <vt:lpstr>Monthly Achievements  Code and writing finalisation in the last two months</vt:lpstr>
      <vt:lpstr>Table of contents</vt:lpstr>
      <vt:lpstr>PALS : Proximity Ambient Light Sensor  Desktop App and Patient parameters</vt:lpstr>
      <vt:lpstr>Research</vt:lpstr>
      <vt:lpstr>PALS : Proximity Ambient Light Sensor  Results Analysis – wrist mode</vt:lpstr>
      <vt:lpstr>PALS : Proximity Ambient Light Sensor  Interpretation of the results</vt:lpstr>
      <vt:lpstr>Points of Discussion</vt:lpstr>
      <vt:lpstr>Top 5 added value</vt:lpstr>
      <vt:lpstr>PowerPoint Presentation</vt:lpstr>
      <vt:lpstr>PSS at a glance : Power &amp; Sensors Systems</vt:lpstr>
      <vt:lpstr>PSS's growth is built on many applications from different sectors in power and non-power</vt:lpstr>
      <vt:lpstr>PSS business is driven by industry trends…</vt:lpstr>
      <vt:lpstr>Main applications addressed by PSS sensors portfolio</vt:lpstr>
      <vt:lpstr>Code Velocity according to the number of photons</vt:lpstr>
      <vt:lpstr>Working principle of PPG senso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ship Defence Simulation of the light-skin interaction for PPG application</dc:title>
  <dc:creator>Benkirane Kenza (IFAG CSC E IN)</dc:creator>
  <cp:lastModifiedBy>Benkirane Kenza (IFAG CSC E IN)</cp:lastModifiedBy>
  <cp:revision>43</cp:revision>
  <dcterms:created xsi:type="dcterms:W3CDTF">2021-07-19T07:22:46Z</dcterms:created>
  <dcterms:modified xsi:type="dcterms:W3CDTF">2021-07-27T11:3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>´</vt:lpwstr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0</vt:i4>
  </property>
  <property fmtid="{D5CDD505-2E9C-101B-9397-08002B2CF9AE}" pid="14" name="empower.integration.Classification.FooterDate">
    <vt:filetime>2021-07-26T22:00:00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